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7"/>
  </p:notesMasterIdLst>
  <p:sldIdLst>
    <p:sldId id="362" r:id="rId2"/>
    <p:sldId id="258" r:id="rId3"/>
    <p:sldId id="259" r:id="rId4"/>
    <p:sldId id="263" r:id="rId5"/>
    <p:sldId id="276" r:id="rId6"/>
    <p:sldId id="264" r:id="rId7"/>
    <p:sldId id="265" r:id="rId8"/>
    <p:sldId id="277" r:id="rId9"/>
    <p:sldId id="358" r:id="rId10"/>
    <p:sldId id="268" r:id="rId11"/>
    <p:sldId id="280" r:id="rId12"/>
    <p:sldId id="271" r:id="rId13"/>
    <p:sldId id="275" r:id="rId14"/>
    <p:sldId id="359" r:id="rId15"/>
    <p:sldId id="273" r:id="rId16"/>
    <p:sldId id="270" r:id="rId17"/>
    <p:sldId id="274" r:id="rId18"/>
    <p:sldId id="360" r:id="rId19"/>
    <p:sldId id="269" r:id="rId20"/>
    <p:sldId id="278" r:id="rId21"/>
    <p:sldId id="266" r:id="rId22"/>
    <p:sldId id="279" r:id="rId23"/>
    <p:sldId id="361" r:id="rId24"/>
    <p:sldId id="267" r:id="rId25"/>
    <p:sldId id="363" r:id="rId26"/>
  </p:sldIdLst>
  <p:sldSz cx="12192000" cy="6858000"/>
  <p:notesSz cx="6858000" cy="9144000"/>
  <p:custDataLst>
    <p:tags r:id="rId28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E201A"/>
    <a:srgbClr val="FFFFFF"/>
    <a:srgbClr val="5F5F5F"/>
    <a:srgbClr val="4872DC"/>
    <a:srgbClr val="009D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2" d="100"/>
          <a:sy n="112" d="100"/>
        </p:scale>
        <p:origin x="91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思源宋体 CN Medium" panose="02020500000000000000" pitchFamily="18" charset="-122"/>
                <a:ea typeface="思源宋体 CN Medium" panose="02020500000000000000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思源宋体 CN Medium" panose="02020500000000000000" pitchFamily="18" charset="-122"/>
                <a:ea typeface="思源宋体 CN Medium" panose="02020500000000000000" pitchFamily="18" charset="-122"/>
              </a:defRPr>
            </a:lvl1pPr>
          </a:lstStyle>
          <a:p>
            <a:fld id="{7A328F29-D12B-40BE-AE92-EC314C1D10DE}" type="datetimeFigureOut">
              <a:rPr lang="zh-CN" altLang="en-US" smtClean="0"/>
              <a:t>2021/1/6</a:t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思源宋体 CN Medium" panose="02020500000000000000" pitchFamily="18" charset="-122"/>
                <a:ea typeface="思源宋体 CN Medium" panose="02020500000000000000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思源宋体 CN Medium" panose="02020500000000000000" pitchFamily="18" charset="-122"/>
                <a:ea typeface="思源宋体 CN Medium" panose="02020500000000000000" pitchFamily="18" charset="-122"/>
              </a:defRPr>
            </a:lvl1pPr>
          </a:lstStyle>
          <a:p>
            <a:fld id="{4378F772-F16C-4511-A22F-B05C6045B4B3}" type="slidenum">
              <a:rPr lang="zh-CN" altLang="en-US" smtClean="0"/>
              <a:t>‹#›</a:t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思源宋体 CN Medium" panose="02020500000000000000" pitchFamily="18" charset="-122"/>
        <a:ea typeface="思源宋体 CN Medium" panose="02020500000000000000" pitchFamily="18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2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14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18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9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0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3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1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2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7333706-BD48-46E2-B569-5EAB447BCAF9}" type="slidenum">
              <a:rPr lang="zh-CN" altLang="en-US" smtClean="0"/>
              <a:t>23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2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4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5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6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7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8</a:t>
            </a:fld>
            <a:endParaRPr lang="zh-CN" altLang="en-US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378F772-F16C-4511-A22F-B05C6045B4B3}" type="slidenum">
              <a:rPr lang="zh-CN" altLang="en-US" smtClean="0"/>
              <a:t>9</a:t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E6FDB6-6D2B-46C1-9FA1-D82906A37C3A}" type="slidenum">
              <a:rPr lang="zh-CN" altLang="en-US" smtClean="0"/>
              <a:t>10</a:t>
            </a:fld>
            <a:endParaRPr lang="zh-CN" alt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>
                <a:solidFill>
                  <a:schemeClr val="lt1">
                    <a:lumMod val="100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lt1">
                    <a:lumMod val="100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lt1">
                    <a:lumMod val="100000"/>
                    <a:tint val="75000"/>
                  </a:schemeClr>
                </a:solidFill>
              </a:defRPr>
            </a:lvl1pPr>
          </a:lstStyle>
          <a:p>
            <a:fld id="{96164A34-BAC8-433B-9F7B-827DF3A02B21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>
                    <a:lumMod val="100000"/>
                    <a:tint val="75000"/>
                  </a:schemeClr>
                </a:solidFill>
              </a:defRPr>
            </a:lvl1pPr>
          </a:lstStyle>
          <a:p>
            <a:fld id="{019165F1-D9E1-4BA2-B0B9-FF804083DCC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lt1">
                    <a:lumMod val="100000"/>
                  </a:schemeClr>
                </a:solidFill>
              </a:defRPr>
            </a:lvl1pPr>
          </a:lstStyle>
          <a:p>
            <a:r>
              <a:rPr lang="zh-CN" altLang="en-US"/>
              <a:t>单击此处编辑母版标题样式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lt1">
                    <a:lumMod val="100000"/>
                  </a:schemeClr>
                </a:solidFill>
              </a:defRPr>
            </a:lvl1pPr>
            <a:lvl2pPr>
              <a:defRPr>
                <a:solidFill>
                  <a:schemeClr val="lt1">
                    <a:lumMod val="100000"/>
                  </a:schemeClr>
                </a:solidFill>
              </a:defRPr>
            </a:lvl2pPr>
            <a:lvl3pPr>
              <a:defRPr>
                <a:solidFill>
                  <a:schemeClr val="lt1">
                    <a:lumMod val="100000"/>
                  </a:schemeClr>
                </a:solidFill>
              </a:defRPr>
            </a:lvl3pPr>
            <a:lvl4pPr>
              <a:defRPr>
                <a:solidFill>
                  <a:schemeClr val="lt1">
                    <a:lumMod val="100000"/>
                  </a:schemeClr>
                </a:solidFill>
              </a:defRPr>
            </a:lvl4pPr>
            <a:lvl5pPr>
              <a:defRPr>
                <a:solidFill>
                  <a:schemeClr val="lt1">
                    <a:lumMod val="100000"/>
                  </a:schemeClr>
                </a:solidFill>
              </a:defRPr>
            </a:lvl5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lt1">
                    <a:lumMod val="100000"/>
                    <a:tint val="75000"/>
                  </a:schemeClr>
                </a:solidFill>
              </a:defRPr>
            </a:lvl1pPr>
          </a:lstStyle>
          <a:p>
            <a:fld id="{96164A34-BAC8-433B-9F7B-827DF3A02B21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>
                    <a:lumMod val="100000"/>
                    <a:tint val="75000"/>
                  </a:schemeClr>
                </a:solidFill>
              </a:defRPr>
            </a:lvl1pPr>
          </a:lstStyle>
          <a:p>
            <a:fld id="{019165F1-D9E1-4BA2-B0B9-FF804083DCCE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12192000" cy="6857776"/>
          </a:xfrm>
          <a:prstGeom prst="rect">
            <a:avLst/>
          </a:prstGeom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F45E4F-5698-48A2-BF2A-A235F7AF1BB7}" type="datetimeFigureOut">
              <a:rPr lang="zh-CN" altLang="en-US" smtClean="0"/>
              <a:t>2021/1/6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96E6F1-E71C-431D-886F-9EC9F3A069BF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 dirty="0"/>
              <a:t>单击此处编辑母版标题样式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二级</a:t>
            </a:r>
          </a:p>
          <a:p>
            <a:pPr lvl="2"/>
            <a:r>
              <a:rPr lang="zh-CN" altLang="en-US" dirty="0"/>
              <a:t>三级</a:t>
            </a:r>
          </a:p>
          <a:p>
            <a:pPr lvl="3"/>
            <a:r>
              <a:rPr lang="zh-CN" altLang="en-US" dirty="0"/>
              <a:t>四级</a:t>
            </a:r>
          </a:p>
          <a:p>
            <a:pPr lvl="4"/>
            <a:r>
              <a:rPr lang="zh-CN" altLang="en-US" dirty="0"/>
              <a:t>五级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lt1">
                    <a:lumMod val="100000"/>
                    <a:tint val="75000"/>
                  </a:schemeClr>
                </a:solidFill>
                <a:latin typeface="思源宋体 CN Medium" panose="02020500000000000000" pitchFamily="18" charset="-122"/>
              </a:defRPr>
            </a:lvl1pPr>
          </a:lstStyle>
          <a:p>
            <a:fld id="{96164A34-BAC8-433B-9F7B-827DF3A02B21}" type="datetimeFigureOut">
              <a:rPr lang="zh-CN" altLang="en-US" smtClean="0"/>
              <a:t>2021/1/6</a:t>
            </a:fld>
            <a:endParaRPr lang="zh-CN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思源宋体 CN Medium" panose="02020500000000000000" pitchFamily="18" charset="-122"/>
              </a:defRPr>
            </a:lvl1pPr>
          </a:lstStyle>
          <a:p>
            <a:endParaRPr lang="zh-CN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lt1">
                    <a:lumMod val="100000"/>
                    <a:tint val="75000"/>
                  </a:schemeClr>
                </a:solidFill>
                <a:latin typeface="思源宋体 CN Medium" panose="02020500000000000000" pitchFamily="18" charset="-122"/>
              </a:defRPr>
            </a:lvl1pPr>
          </a:lstStyle>
          <a:p>
            <a:fld id="{019165F1-D9E1-4BA2-B0B9-FF804083DCCE}" type="slidenum">
              <a:rPr lang="zh-CN" altLang="en-US" smtClean="0"/>
              <a:t>‹#›</a:t>
            </a:fld>
            <a:endParaRPr lang="zh-CN" altLang="en-US" dirty="0"/>
          </a:p>
        </p:txBody>
      </p:sp>
      <p:pic>
        <p:nvPicPr>
          <p:cNvPr id="8" name="图片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12"/>
            <a:ext cx="12192000" cy="6857776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lt1">
              <a:lumMod val="100000"/>
            </a:schemeClr>
          </a:solidFill>
          <a:latin typeface="思源宋体 CN Medium" panose="02020500000000000000" pitchFamily="18" charset="-122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lt1">
              <a:lumMod val="100000"/>
            </a:schemeClr>
          </a:solidFill>
          <a:latin typeface="思源宋体 CN Medium" panose="02020500000000000000" pitchFamily="18" charset="-122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lt1">
              <a:lumMod val="100000"/>
            </a:schemeClr>
          </a:solidFill>
          <a:latin typeface="思源宋体 CN Medium" panose="02020500000000000000" pitchFamily="18" charset="-122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lt1">
              <a:lumMod val="100000"/>
            </a:schemeClr>
          </a:solidFill>
          <a:latin typeface="思源宋体 CN Medium" panose="02020500000000000000" pitchFamily="18" charset="-122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lt1">
              <a:lumMod val="100000"/>
            </a:schemeClr>
          </a:solidFill>
          <a:latin typeface="思源宋体 CN Medium" panose="02020500000000000000" pitchFamily="18" charset="-122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lt1">
              <a:lumMod val="100000"/>
            </a:schemeClr>
          </a:solidFill>
          <a:latin typeface="思源宋体 CN Medium" panose="02020500000000000000" pitchFamily="18" charset="-122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3.xml"/><Relationship Id="rId4" Type="http://schemas.openxmlformats.org/officeDocument/2006/relationships/tags" Target="../tags/tag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5" name="内容占位符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7777"/>
          </a:xfrm>
        </p:spPr>
      </p:pic>
      <p:sp>
        <p:nvSpPr>
          <p:cNvPr id="6" name="文本框 5"/>
          <p:cNvSpPr txBox="1"/>
          <p:nvPr/>
        </p:nvSpPr>
        <p:spPr>
          <a:xfrm>
            <a:off x="1049358" y="2180862"/>
            <a:ext cx="2076209" cy="995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865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20XX</a:t>
            </a:r>
            <a:endParaRPr lang="zh-CN" altLang="en-US" sz="5865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049358" y="3071211"/>
            <a:ext cx="510909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400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年终述职汇报</a:t>
            </a:r>
          </a:p>
        </p:txBody>
      </p:sp>
      <p:grpSp>
        <p:nvGrpSpPr>
          <p:cNvPr id="13" name="组合 12"/>
          <p:cNvGrpSpPr/>
          <p:nvPr/>
        </p:nvGrpSpPr>
        <p:grpSpPr>
          <a:xfrm>
            <a:off x="1126131" y="4332917"/>
            <a:ext cx="2316865" cy="587262"/>
            <a:chOff x="1126131" y="4332917"/>
            <a:chExt cx="2316865" cy="587262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6131" y="4332917"/>
              <a:ext cx="2316865" cy="587262"/>
            </a:xfrm>
            <a:prstGeom prst="rect">
              <a:avLst/>
            </a:prstGeom>
          </p:spPr>
        </p:pic>
        <p:sp>
          <p:nvSpPr>
            <p:cNvPr id="12" name="文本框 11"/>
            <p:cNvSpPr txBox="1"/>
            <p:nvPr/>
          </p:nvSpPr>
          <p:spPr>
            <a:xfrm>
              <a:off x="1166308" y="4426493"/>
              <a:ext cx="195598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汇报人：</a:t>
              </a:r>
              <a:r>
                <a:rPr lang="en-US" altLang="zh-CN" sz="200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xiazaii</a:t>
              </a:r>
              <a:endParaRPr lang="zh-CN" altLang="en-US" sz="2000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任意多边形 18"/>
          <p:cNvSpPr/>
          <p:nvPr/>
        </p:nvSpPr>
        <p:spPr>
          <a:xfrm>
            <a:off x="1586816" y="1796096"/>
            <a:ext cx="2287368" cy="2306004"/>
          </a:xfrm>
          <a:custGeom>
            <a:avLst/>
            <a:gdLst>
              <a:gd name="connsiteX0" fmla="*/ 306596 w 2098299"/>
              <a:gd name="connsiteY0" fmla="*/ 1416767 h 2115395"/>
              <a:gd name="connsiteX1" fmla="*/ 466447 w 2098299"/>
              <a:gd name="connsiteY1" fmla="*/ 1482979 h 2115395"/>
              <a:gd name="connsiteX2" fmla="*/ 711538 w 2098299"/>
              <a:gd name="connsiteY2" fmla="*/ 1728071 h 2115395"/>
              <a:gd name="connsiteX3" fmla="*/ 711538 w 2098299"/>
              <a:gd name="connsiteY3" fmla="*/ 2047774 h 2115395"/>
              <a:gd name="connsiteX4" fmla="*/ 711538 w 2098299"/>
              <a:gd name="connsiteY4" fmla="*/ 2047772 h 2115395"/>
              <a:gd name="connsiteX5" fmla="*/ 391835 w 2098299"/>
              <a:gd name="connsiteY5" fmla="*/ 2047772 h 2115395"/>
              <a:gd name="connsiteX6" fmla="*/ 146745 w 2098299"/>
              <a:gd name="connsiteY6" fmla="*/ 1802682 h 2115395"/>
              <a:gd name="connsiteX7" fmla="*/ 146745 w 2098299"/>
              <a:gd name="connsiteY7" fmla="*/ 1482979 h 2115395"/>
              <a:gd name="connsiteX8" fmla="*/ 306596 w 2098299"/>
              <a:gd name="connsiteY8" fmla="*/ 1416767 h 2115395"/>
              <a:gd name="connsiteX9" fmla="*/ 226064 w 2098299"/>
              <a:gd name="connsiteY9" fmla="*/ 2 h 2115395"/>
              <a:gd name="connsiteX10" fmla="*/ 385915 w 2098299"/>
              <a:gd name="connsiteY10" fmla="*/ 66214 h 2115395"/>
              <a:gd name="connsiteX11" fmla="*/ 628266 w 2098299"/>
              <a:gd name="connsiteY11" fmla="*/ 308566 h 2115395"/>
              <a:gd name="connsiteX12" fmla="*/ 625459 w 2098299"/>
              <a:gd name="connsiteY12" fmla="*/ 279277 h 2115395"/>
              <a:gd name="connsiteX13" fmla="*/ 691672 w 2098299"/>
              <a:gd name="connsiteY13" fmla="*/ 119425 h 2115395"/>
              <a:gd name="connsiteX14" fmla="*/ 1011374 w 2098299"/>
              <a:gd name="connsiteY14" fmla="*/ 119425 h 2115395"/>
              <a:gd name="connsiteX15" fmla="*/ 1968926 w 2098299"/>
              <a:gd name="connsiteY15" fmla="*/ 1076978 h 2115395"/>
              <a:gd name="connsiteX16" fmla="*/ 1968926 w 2098299"/>
              <a:gd name="connsiteY16" fmla="*/ 1396681 h 2115395"/>
              <a:gd name="connsiteX17" fmla="*/ 1968926 w 2098299"/>
              <a:gd name="connsiteY17" fmla="*/ 1396680 h 2115395"/>
              <a:gd name="connsiteX18" fmla="*/ 1809075 w 2098299"/>
              <a:gd name="connsiteY18" fmla="*/ 1462892 h 2115395"/>
              <a:gd name="connsiteX19" fmla="*/ 1779785 w 2098299"/>
              <a:gd name="connsiteY19" fmla="*/ 1460085 h 2115395"/>
              <a:gd name="connsiteX20" fmla="*/ 1934243 w 2098299"/>
              <a:gd name="connsiteY20" fmla="*/ 1614543 h 2115395"/>
              <a:gd name="connsiteX21" fmla="*/ 1934243 w 2098299"/>
              <a:gd name="connsiteY21" fmla="*/ 1934246 h 2115395"/>
              <a:gd name="connsiteX22" fmla="*/ 1934243 w 2098299"/>
              <a:gd name="connsiteY22" fmla="*/ 1934245 h 2115395"/>
              <a:gd name="connsiteX23" fmla="*/ 1614540 w 2098299"/>
              <a:gd name="connsiteY23" fmla="*/ 1934245 h 2115395"/>
              <a:gd name="connsiteX24" fmla="*/ 1487586 w 2098299"/>
              <a:gd name="connsiteY24" fmla="*/ 1807290 h 2115395"/>
              <a:gd name="connsiteX25" fmla="*/ 1499104 w 2098299"/>
              <a:gd name="connsiteY25" fmla="*/ 1846155 h 2115395"/>
              <a:gd name="connsiteX26" fmla="*/ 1437030 w 2098299"/>
              <a:gd name="connsiteY26" fmla="*/ 2049184 h 2115395"/>
              <a:gd name="connsiteX27" fmla="*/ 1437030 w 2098299"/>
              <a:gd name="connsiteY27" fmla="*/ 2049183 h 2115395"/>
              <a:gd name="connsiteX28" fmla="*/ 1117327 w 2098299"/>
              <a:gd name="connsiteY28" fmla="*/ 2049183 h 2115395"/>
              <a:gd name="connsiteX29" fmla="*/ 305750 w 2098299"/>
              <a:gd name="connsiteY29" fmla="*/ 1237606 h 2115395"/>
              <a:gd name="connsiteX30" fmla="*/ 305750 w 2098299"/>
              <a:gd name="connsiteY30" fmla="*/ 917903 h 2115395"/>
              <a:gd name="connsiteX31" fmla="*/ 465601 w 2098299"/>
              <a:gd name="connsiteY31" fmla="*/ 851691 h 2115395"/>
              <a:gd name="connsiteX32" fmla="*/ 508778 w 2098299"/>
              <a:gd name="connsiteY32" fmla="*/ 855829 h 2115395"/>
              <a:gd name="connsiteX33" fmla="*/ 547642 w 2098299"/>
              <a:gd name="connsiteY33" fmla="*/ 867347 h 2115395"/>
              <a:gd name="connsiteX34" fmla="*/ 66212 w 2098299"/>
              <a:gd name="connsiteY34" fmla="*/ 385917 h 2115395"/>
              <a:gd name="connsiteX35" fmla="*/ 66212 w 2098299"/>
              <a:gd name="connsiteY35" fmla="*/ 66214 h 2115395"/>
              <a:gd name="connsiteX36" fmla="*/ 226064 w 2098299"/>
              <a:gd name="connsiteY36" fmla="*/ 2 h 2115395"/>
              <a:gd name="connsiteX37" fmla="*/ 1525242 w 2098299"/>
              <a:gd name="connsiteY37" fmla="*/ 0 h 2115395"/>
              <a:gd name="connsiteX38" fmla="*/ 1685093 w 2098299"/>
              <a:gd name="connsiteY38" fmla="*/ 66212 h 2115395"/>
              <a:gd name="connsiteX39" fmla="*/ 2032087 w 2098299"/>
              <a:gd name="connsiteY39" fmla="*/ 413206 h 2115395"/>
              <a:gd name="connsiteX40" fmla="*/ 2032087 w 2098299"/>
              <a:gd name="connsiteY40" fmla="*/ 732909 h 2115395"/>
              <a:gd name="connsiteX41" fmla="*/ 2032087 w 2098299"/>
              <a:gd name="connsiteY41" fmla="*/ 732908 h 2115395"/>
              <a:gd name="connsiteX42" fmla="*/ 1712384 w 2098299"/>
              <a:gd name="connsiteY42" fmla="*/ 732908 h 2115395"/>
              <a:gd name="connsiteX43" fmla="*/ 1365391 w 2098299"/>
              <a:gd name="connsiteY43" fmla="*/ 385916 h 2115395"/>
              <a:gd name="connsiteX44" fmla="*/ 1365391 w 2098299"/>
              <a:gd name="connsiteY44" fmla="*/ 66212 h 2115395"/>
              <a:gd name="connsiteX45" fmla="*/ 1525242 w 2098299"/>
              <a:gd name="connsiteY45" fmla="*/ 0 h 2115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098299" h="2115395">
                <a:moveTo>
                  <a:pt x="306596" y="1416767"/>
                </a:moveTo>
                <a:cubicBezTo>
                  <a:pt x="364451" y="1416767"/>
                  <a:pt x="422306" y="1438838"/>
                  <a:pt x="466447" y="1482979"/>
                </a:cubicBezTo>
                <a:lnTo>
                  <a:pt x="711538" y="1728071"/>
                </a:lnTo>
                <a:cubicBezTo>
                  <a:pt x="799821" y="1816354"/>
                  <a:pt x="799821" y="1959490"/>
                  <a:pt x="711538" y="2047774"/>
                </a:cubicBezTo>
                <a:lnTo>
                  <a:pt x="711538" y="2047772"/>
                </a:lnTo>
                <a:cubicBezTo>
                  <a:pt x="623254" y="2136056"/>
                  <a:pt x="480119" y="2136056"/>
                  <a:pt x="391835" y="2047772"/>
                </a:cubicBezTo>
                <a:lnTo>
                  <a:pt x="146745" y="1802682"/>
                </a:lnTo>
                <a:cubicBezTo>
                  <a:pt x="58462" y="1714399"/>
                  <a:pt x="58462" y="1571263"/>
                  <a:pt x="146745" y="1482979"/>
                </a:cubicBezTo>
                <a:cubicBezTo>
                  <a:pt x="190886" y="1438838"/>
                  <a:pt x="248741" y="1416767"/>
                  <a:pt x="306596" y="1416767"/>
                </a:cubicBezTo>
                <a:close/>
                <a:moveTo>
                  <a:pt x="226064" y="2"/>
                </a:moveTo>
                <a:cubicBezTo>
                  <a:pt x="283918" y="2"/>
                  <a:pt x="341774" y="22072"/>
                  <a:pt x="385915" y="66214"/>
                </a:cubicBezTo>
                <a:lnTo>
                  <a:pt x="628266" y="308566"/>
                </a:lnTo>
                <a:lnTo>
                  <a:pt x="625459" y="279277"/>
                </a:lnTo>
                <a:cubicBezTo>
                  <a:pt x="625459" y="221422"/>
                  <a:pt x="647530" y="163567"/>
                  <a:pt x="691672" y="119425"/>
                </a:cubicBezTo>
                <a:cubicBezTo>
                  <a:pt x="779955" y="31142"/>
                  <a:pt x="923091" y="31142"/>
                  <a:pt x="1011374" y="119425"/>
                </a:cubicBezTo>
                <a:lnTo>
                  <a:pt x="1968926" y="1076978"/>
                </a:lnTo>
                <a:cubicBezTo>
                  <a:pt x="2057210" y="1165261"/>
                  <a:pt x="2057210" y="1308397"/>
                  <a:pt x="1968926" y="1396681"/>
                </a:cubicBezTo>
                <a:lnTo>
                  <a:pt x="1968926" y="1396680"/>
                </a:lnTo>
                <a:cubicBezTo>
                  <a:pt x="1924785" y="1440821"/>
                  <a:pt x="1866929" y="1462892"/>
                  <a:pt x="1809075" y="1462892"/>
                </a:cubicBezTo>
                <a:lnTo>
                  <a:pt x="1779785" y="1460085"/>
                </a:lnTo>
                <a:lnTo>
                  <a:pt x="1934243" y="1614543"/>
                </a:lnTo>
                <a:cubicBezTo>
                  <a:pt x="2022526" y="1702826"/>
                  <a:pt x="2022526" y="1845962"/>
                  <a:pt x="1934243" y="1934246"/>
                </a:cubicBezTo>
                <a:lnTo>
                  <a:pt x="1934243" y="1934245"/>
                </a:lnTo>
                <a:cubicBezTo>
                  <a:pt x="1845960" y="2022528"/>
                  <a:pt x="1702824" y="2022528"/>
                  <a:pt x="1614540" y="1934245"/>
                </a:cubicBezTo>
                <a:lnTo>
                  <a:pt x="1487586" y="1807290"/>
                </a:lnTo>
                <a:lnTo>
                  <a:pt x="1499104" y="1846155"/>
                </a:lnTo>
                <a:cubicBezTo>
                  <a:pt x="1512898" y="1917403"/>
                  <a:pt x="1492207" y="1994006"/>
                  <a:pt x="1437030" y="2049184"/>
                </a:cubicBezTo>
                <a:lnTo>
                  <a:pt x="1437030" y="2049183"/>
                </a:lnTo>
                <a:cubicBezTo>
                  <a:pt x="1348747" y="2137466"/>
                  <a:pt x="1205610" y="2137466"/>
                  <a:pt x="1117327" y="2049183"/>
                </a:cubicBezTo>
                <a:lnTo>
                  <a:pt x="305750" y="1237606"/>
                </a:lnTo>
                <a:cubicBezTo>
                  <a:pt x="217466" y="1149322"/>
                  <a:pt x="217466" y="1006187"/>
                  <a:pt x="305750" y="917903"/>
                </a:cubicBezTo>
                <a:cubicBezTo>
                  <a:pt x="349892" y="873761"/>
                  <a:pt x="407747" y="851691"/>
                  <a:pt x="465601" y="851691"/>
                </a:cubicBezTo>
                <a:cubicBezTo>
                  <a:pt x="480065" y="851691"/>
                  <a:pt x="494529" y="853070"/>
                  <a:pt x="508778" y="855829"/>
                </a:cubicBezTo>
                <a:lnTo>
                  <a:pt x="547642" y="867347"/>
                </a:lnTo>
                <a:lnTo>
                  <a:pt x="66212" y="385917"/>
                </a:lnTo>
                <a:cubicBezTo>
                  <a:pt x="-22071" y="297633"/>
                  <a:pt x="-22071" y="154498"/>
                  <a:pt x="66212" y="66214"/>
                </a:cubicBezTo>
                <a:cubicBezTo>
                  <a:pt x="110354" y="22072"/>
                  <a:pt x="168209" y="2"/>
                  <a:pt x="226064" y="2"/>
                </a:cubicBezTo>
                <a:close/>
                <a:moveTo>
                  <a:pt x="1525242" y="0"/>
                </a:moveTo>
                <a:cubicBezTo>
                  <a:pt x="1583097" y="0"/>
                  <a:pt x="1640952" y="22071"/>
                  <a:pt x="1685093" y="66212"/>
                </a:cubicBezTo>
                <a:lnTo>
                  <a:pt x="2032087" y="413206"/>
                </a:lnTo>
                <a:cubicBezTo>
                  <a:pt x="2120370" y="501489"/>
                  <a:pt x="2120370" y="644626"/>
                  <a:pt x="2032087" y="732909"/>
                </a:cubicBezTo>
                <a:lnTo>
                  <a:pt x="2032087" y="732908"/>
                </a:lnTo>
                <a:cubicBezTo>
                  <a:pt x="1943804" y="821191"/>
                  <a:pt x="1800667" y="821191"/>
                  <a:pt x="1712384" y="732908"/>
                </a:cubicBezTo>
                <a:lnTo>
                  <a:pt x="1365391" y="385916"/>
                </a:lnTo>
                <a:cubicBezTo>
                  <a:pt x="1277108" y="297632"/>
                  <a:pt x="1277108" y="154496"/>
                  <a:pt x="1365391" y="66212"/>
                </a:cubicBezTo>
                <a:cubicBezTo>
                  <a:pt x="1409533" y="22071"/>
                  <a:pt x="1467388" y="0"/>
                  <a:pt x="1525242" y="0"/>
                </a:cubicBezTo>
                <a:close/>
              </a:path>
            </a:pathLst>
          </a:custGeom>
          <a:blipFill dpi="0" rotWithShape="0">
            <a:blip r:embed="rId3"/>
            <a:srcRect/>
            <a:tile tx="0" ty="0" sx="100000" sy="100000" flip="none" algn="ctr"/>
          </a:blip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3" name="任意多边形 19"/>
          <p:cNvSpPr/>
          <p:nvPr/>
        </p:nvSpPr>
        <p:spPr>
          <a:xfrm>
            <a:off x="4952316" y="1796096"/>
            <a:ext cx="2287368" cy="2306004"/>
          </a:xfrm>
          <a:custGeom>
            <a:avLst/>
            <a:gdLst>
              <a:gd name="connsiteX0" fmla="*/ 306596 w 2098299"/>
              <a:gd name="connsiteY0" fmla="*/ 1416767 h 2115395"/>
              <a:gd name="connsiteX1" fmla="*/ 466447 w 2098299"/>
              <a:gd name="connsiteY1" fmla="*/ 1482979 h 2115395"/>
              <a:gd name="connsiteX2" fmla="*/ 711538 w 2098299"/>
              <a:gd name="connsiteY2" fmla="*/ 1728071 h 2115395"/>
              <a:gd name="connsiteX3" fmla="*/ 711538 w 2098299"/>
              <a:gd name="connsiteY3" fmla="*/ 2047774 h 2115395"/>
              <a:gd name="connsiteX4" fmla="*/ 711538 w 2098299"/>
              <a:gd name="connsiteY4" fmla="*/ 2047772 h 2115395"/>
              <a:gd name="connsiteX5" fmla="*/ 391835 w 2098299"/>
              <a:gd name="connsiteY5" fmla="*/ 2047772 h 2115395"/>
              <a:gd name="connsiteX6" fmla="*/ 146745 w 2098299"/>
              <a:gd name="connsiteY6" fmla="*/ 1802682 h 2115395"/>
              <a:gd name="connsiteX7" fmla="*/ 146745 w 2098299"/>
              <a:gd name="connsiteY7" fmla="*/ 1482979 h 2115395"/>
              <a:gd name="connsiteX8" fmla="*/ 306596 w 2098299"/>
              <a:gd name="connsiteY8" fmla="*/ 1416767 h 2115395"/>
              <a:gd name="connsiteX9" fmla="*/ 226064 w 2098299"/>
              <a:gd name="connsiteY9" fmla="*/ 2 h 2115395"/>
              <a:gd name="connsiteX10" fmla="*/ 385915 w 2098299"/>
              <a:gd name="connsiteY10" fmla="*/ 66214 h 2115395"/>
              <a:gd name="connsiteX11" fmla="*/ 628266 w 2098299"/>
              <a:gd name="connsiteY11" fmla="*/ 308566 h 2115395"/>
              <a:gd name="connsiteX12" fmla="*/ 625459 w 2098299"/>
              <a:gd name="connsiteY12" fmla="*/ 279277 h 2115395"/>
              <a:gd name="connsiteX13" fmla="*/ 691672 w 2098299"/>
              <a:gd name="connsiteY13" fmla="*/ 119425 h 2115395"/>
              <a:gd name="connsiteX14" fmla="*/ 1011374 w 2098299"/>
              <a:gd name="connsiteY14" fmla="*/ 119425 h 2115395"/>
              <a:gd name="connsiteX15" fmla="*/ 1968926 w 2098299"/>
              <a:gd name="connsiteY15" fmla="*/ 1076978 h 2115395"/>
              <a:gd name="connsiteX16" fmla="*/ 1968926 w 2098299"/>
              <a:gd name="connsiteY16" fmla="*/ 1396681 h 2115395"/>
              <a:gd name="connsiteX17" fmla="*/ 1968926 w 2098299"/>
              <a:gd name="connsiteY17" fmla="*/ 1396680 h 2115395"/>
              <a:gd name="connsiteX18" fmla="*/ 1809075 w 2098299"/>
              <a:gd name="connsiteY18" fmla="*/ 1462892 h 2115395"/>
              <a:gd name="connsiteX19" fmla="*/ 1779785 w 2098299"/>
              <a:gd name="connsiteY19" fmla="*/ 1460085 h 2115395"/>
              <a:gd name="connsiteX20" fmla="*/ 1934243 w 2098299"/>
              <a:gd name="connsiteY20" fmla="*/ 1614543 h 2115395"/>
              <a:gd name="connsiteX21" fmla="*/ 1934243 w 2098299"/>
              <a:gd name="connsiteY21" fmla="*/ 1934246 h 2115395"/>
              <a:gd name="connsiteX22" fmla="*/ 1934243 w 2098299"/>
              <a:gd name="connsiteY22" fmla="*/ 1934245 h 2115395"/>
              <a:gd name="connsiteX23" fmla="*/ 1614540 w 2098299"/>
              <a:gd name="connsiteY23" fmla="*/ 1934245 h 2115395"/>
              <a:gd name="connsiteX24" fmla="*/ 1487586 w 2098299"/>
              <a:gd name="connsiteY24" fmla="*/ 1807290 h 2115395"/>
              <a:gd name="connsiteX25" fmla="*/ 1499104 w 2098299"/>
              <a:gd name="connsiteY25" fmla="*/ 1846155 h 2115395"/>
              <a:gd name="connsiteX26" fmla="*/ 1437030 w 2098299"/>
              <a:gd name="connsiteY26" fmla="*/ 2049184 h 2115395"/>
              <a:gd name="connsiteX27" fmla="*/ 1437030 w 2098299"/>
              <a:gd name="connsiteY27" fmla="*/ 2049183 h 2115395"/>
              <a:gd name="connsiteX28" fmla="*/ 1117327 w 2098299"/>
              <a:gd name="connsiteY28" fmla="*/ 2049183 h 2115395"/>
              <a:gd name="connsiteX29" fmla="*/ 305750 w 2098299"/>
              <a:gd name="connsiteY29" fmla="*/ 1237606 h 2115395"/>
              <a:gd name="connsiteX30" fmla="*/ 305750 w 2098299"/>
              <a:gd name="connsiteY30" fmla="*/ 917903 h 2115395"/>
              <a:gd name="connsiteX31" fmla="*/ 465601 w 2098299"/>
              <a:gd name="connsiteY31" fmla="*/ 851691 h 2115395"/>
              <a:gd name="connsiteX32" fmla="*/ 508778 w 2098299"/>
              <a:gd name="connsiteY32" fmla="*/ 855829 h 2115395"/>
              <a:gd name="connsiteX33" fmla="*/ 547642 w 2098299"/>
              <a:gd name="connsiteY33" fmla="*/ 867347 h 2115395"/>
              <a:gd name="connsiteX34" fmla="*/ 66212 w 2098299"/>
              <a:gd name="connsiteY34" fmla="*/ 385917 h 2115395"/>
              <a:gd name="connsiteX35" fmla="*/ 66212 w 2098299"/>
              <a:gd name="connsiteY35" fmla="*/ 66214 h 2115395"/>
              <a:gd name="connsiteX36" fmla="*/ 226064 w 2098299"/>
              <a:gd name="connsiteY36" fmla="*/ 2 h 2115395"/>
              <a:gd name="connsiteX37" fmla="*/ 1525242 w 2098299"/>
              <a:gd name="connsiteY37" fmla="*/ 0 h 2115395"/>
              <a:gd name="connsiteX38" fmla="*/ 1685093 w 2098299"/>
              <a:gd name="connsiteY38" fmla="*/ 66212 h 2115395"/>
              <a:gd name="connsiteX39" fmla="*/ 2032087 w 2098299"/>
              <a:gd name="connsiteY39" fmla="*/ 413206 h 2115395"/>
              <a:gd name="connsiteX40" fmla="*/ 2032087 w 2098299"/>
              <a:gd name="connsiteY40" fmla="*/ 732909 h 2115395"/>
              <a:gd name="connsiteX41" fmla="*/ 2032087 w 2098299"/>
              <a:gd name="connsiteY41" fmla="*/ 732908 h 2115395"/>
              <a:gd name="connsiteX42" fmla="*/ 1712384 w 2098299"/>
              <a:gd name="connsiteY42" fmla="*/ 732908 h 2115395"/>
              <a:gd name="connsiteX43" fmla="*/ 1365391 w 2098299"/>
              <a:gd name="connsiteY43" fmla="*/ 385916 h 2115395"/>
              <a:gd name="connsiteX44" fmla="*/ 1365391 w 2098299"/>
              <a:gd name="connsiteY44" fmla="*/ 66212 h 2115395"/>
              <a:gd name="connsiteX45" fmla="*/ 1525242 w 2098299"/>
              <a:gd name="connsiteY45" fmla="*/ 0 h 2115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098299" h="2115395">
                <a:moveTo>
                  <a:pt x="306596" y="1416767"/>
                </a:moveTo>
                <a:cubicBezTo>
                  <a:pt x="364451" y="1416767"/>
                  <a:pt x="422306" y="1438838"/>
                  <a:pt x="466447" y="1482979"/>
                </a:cubicBezTo>
                <a:lnTo>
                  <a:pt x="711538" y="1728071"/>
                </a:lnTo>
                <a:cubicBezTo>
                  <a:pt x="799821" y="1816354"/>
                  <a:pt x="799821" y="1959490"/>
                  <a:pt x="711538" y="2047774"/>
                </a:cubicBezTo>
                <a:lnTo>
                  <a:pt x="711538" y="2047772"/>
                </a:lnTo>
                <a:cubicBezTo>
                  <a:pt x="623254" y="2136056"/>
                  <a:pt x="480119" y="2136056"/>
                  <a:pt x="391835" y="2047772"/>
                </a:cubicBezTo>
                <a:lnTo>
                  <a:pt x="146745" y="1802682"/>
                </a:lnTo>
                <a:cubicBezTo>
                  <a:pt x="58462" y="1714399"/>
                  <a:pt x="58462" y="1571263"/>
                  <a:pt x="146745" y="1482979"/>
                </a:cubicBezTo>
                <a:cubicBezTo>
                  <a:pt x="190886" y="1438838"/>
                  <a:pt x="248741" y="1416767"/>
                  <a:pt x="306596" y="1416767"/>
                </a:cubicBezTo>
                <a:close/>
                <a:moveTo>
                  <a:pt x="226064" y="2"/>
                </a:moveTo>
                <a:cubicBezTo>
                  <a:pt x="283918" y="2"/>
                  <a:pt x="341774" y="22072"/>
                  <a:pt x="385915" y="66214"/>
                </a:cubicBezTo>
                <a:lnTo>
                  <a:pt x="628266" y="308566"/>
                </a:lnTo>
                <a:lnTo>
                  <a:pt x="625459" y="279277"/>
                </a:lnTo>
                <a:cubicBezTo>
                  <a:pt x="625459" y="221422"/>
                  <a:pt x="647530" y="163567"/>
                  <a:pt x="691672" y="119425"/>
                </a:cubicBezTo>
                <a:cubicBezTo>
                  <a:pt x="779955" y="31142"/>
                  <a:pt x="923091" y="31142"/>
                  <a:pt x="1011374" y="119425"/>
                </a:cubicBezTo>
                <a:lnTo>
                  <a:pt x="1968926" y="1076978"/>
                </a:lnTo>
                <a:cubicBezTo>
                  <a:pt x="2057210" y="1165261"/>
                  <a:pt x="2057210" y="1308397"/>
                  <a:pt x="1968926" y="1396681"/>
                </a:cubicBezTo>
                <a:lnTo>
                  <a:pt x="1968926" y="1396680"/>
                </a:lnTo>
                <a:cubicBezTo>
                  <a:pt x="1924785" y="1440821"/>
                  <a:pt x="1866929" y="1462892"/>
                  <a:pt x="1809075" y="1462892"/>
                </a:cubicBezTo>
                <a:lnTo>
                  <a:pt x="1779785" y="1460085"/>
                </a:lnTo>
                <a:lnTo>
                  <a:pt x="1934243" y="1614543"/>
                </a:lnTo>
                <a:cubicBezTo>
                  <a:pt x="2022526" y="1702826"/>
                  <a:pt x="2022526" y="1845962"/>
                  <a:pt x="1934243" y="1934246"/>
                </a:cubicBezTo>
                <a:lnTo>
                  <a:pt x="1934243" y="1934245"/>
                </a:lnTo>
                <a:cubicBezTo>
                  <a:pt x="1845960" y="2022528"/>
                  <a:pt x="1702824" y="2022528"/>
                  <a:pt x="1614540" y="1934245"/>
                </a:cubicBezTo>
                <a:lnTo>
                  <a:pt x="1487586" y="1807290"/>
                </a:lnTo>
                <a:lnTo>
                  <a:pt x="1499104" y="1846155"/>
                </a:lnTo>
                <a:cubicBezTo>
                  <a:pt x="1512898" y="1917403"/>
                  <a:pt x="1492207" y="1994006"/>
                  <a:pt x="1437030" y="2049184"/>
                </a:cubicBezTo>
                <a:lnTo>
                  <a:pt x="1437030" y="2049183"/>
                </a:lnTo>
                <a:cubicBezTo>
                  <a:pt x="1348747" y="2137466"/>
                  <a:pt x="1205610" y="2137466"/>
                  <a:pt x="1117327" y="2049183"/>
                </a:cubicBezTo>
                <a:lnTo>
                  <a:pt x="305750" y="1237606"/>
                </a:lnTo>
                <a:cubicBezTo>
                  <a:pt x="217466" y="1149322"/>
                  <a:pt x="217466" y="1006187"/>
                  <a:pt x="305750" y="917903"/>
                </a:cubicBezTo>
                <a:cubicBezTo>
                  <a:pt x="349892" y="873761"/>
                  <a:pt x="407747" y="851691"/>
                  <a:pt x="465601" y="851691"/>
                </a:cubicBezTo>
                <a:cubicBezTo>
                  <a:pt x="480065" y="851691"/>
                  <a:pt x="494529" y="853070"/>
                  <a:pt x="508778" y="855829"/>
                </a:cubicBezTo>
                <a:lnTo>
                  <a:pt x="547642" y="867347"/>
                </a:lnTo>
                <a:lnTo>
                  <a:pt x="66212" y="385917"/>
                </a:lnTo>
                <a:cubicBezTo>
                  <a:pt x="-22071" y="297633"/>
                  <a:pt x="-22071" y="154498"/>
                  <a:pt x="66212" y="66214"/>
                </a:cubicBezTo>
                <a:cubicBezTo>
                  <a:pt x="110354" y="22072"/>
                  <a:pt x="168209" y="2"/>
                  <a:pt x="226064" y="2"/>
                </a:cubicBezTo>
                <a:close/>
                <a:moveTo>
                  <a:pt x="1525242" y="0"/>
                </a:moveTo>
                <a:cubicBezTo>
                  <a:pt x="1583097" y="0"/>
                  <a:pt x="1640952" y="22071"/>
                  <a:pt x="1685093" y="66212"/>
                </a:cubicBezTo>
                <a:lnTo>
                  <a:pt x="2032087" y="413206"/>
                </a:lnTo>
                <a:cubicBezTo>
                  <a:pt x="2120370" y="501489"/>
                  <a:pt x="2120370" y="644626"/>
                  <a:pt x="2032087" y="732909"/>
                </a:cubicBezTo>
                <a:lnTo>
                  <a:pt x="2032087" y="732908"/>
                </a:lnTo>
                <a:cubicBezTo>
                  <a:pt x="1943804" y="821191"/>
                  <a:pt x="1800667" y="821191"/>
                  <a:pt x="1712384" y="732908"/>
                </a:cubicBezTo>
                <a:lnTo>
                  <a:pt x="1365391" y="385916"/>
                </a:lnTo>
                <a:cubicBezTo>
                  <a:pt x="1277108" y="297632"/>
                  <a:pt x="1277108" y="154496"/>
                  <a:pt x="1365391" y="66212"/>
                </a:cubicBezTo>
                <a:cubicBezTo>
                  <a:pt x="1409533" y="22071"/>
                  <a:pt x="1467388" y="0"/>
                  <a:pt x="1525242" y="0"/>
                </a:cubicBezTo>
                <a:close/>
              </a:path>
            </a:pathLst>
          </a:custGeom>
          <a:blipFill dpi="0" rotWithShape="1">
            <a:blip r:embed="rId4"/>
            <a:srcRect/>
            <a:tile tx="0" ty="0" sx="100000" sy="100000" flip="none" algn="ctr"/>
          </a:blip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4" name="任意多边形 20"/>
          <p:cNvSpPr/>
          <p:nvPr/>
        </p:nvSpPr>
        <p:spPr>
          <a:xfrm>
            <a:off x="8317816" y="1796096"/>
            <a:ext cx="2287368" cy="2306004"/>
          </a:xfrm>
          <a:custGeom>
            <a:avLst/>
            <a:gdLst>
              <a:gd name="connsiteX0" fmla="*/ 306596 w 2098299"/>
              <a:gd name="connsiteY0" fmla="*/ 1416767 h 2115395"/>
              <a:gd name="connsiteX1" fmla="*/ 466447 w 2098299"/>
              <a:gd name="connsiteY1" fmla="*/ 1482979 h 2115395"/>
              <a:gd name="connsiteX2" fmla="*/ 711538 w 2098299"/>
              <a:gd name="connsiteY2" fmla="*/ 1728071 h 2115395"/>
              <a:gd name="connsiteX3" fmla="*/ 711538 w 2098299"/>
              <a:gd name="connsiteY3" fmla="*/ 2047774 h 2115395"/>
              <a:gd name="connsiteX4" fmla="*/ 711538 w 2098299"/>
              <a:gd name="connsiteY4" fmla="*/ 2047772 h 2115395"/>
              <a:gd name="connsiteX5" fmla="*/ 391835 w 2098299"/>
              <a:gd name="connsiteY5" fmla="*/ 2047772 h 2115395"/>
              <a:gd name="connsiteX6" fmla="*/ 146745 w 2098299"/>
              <a:gd name="connsiteY6" fmla="*/ 1802682 h 2115395"/>
              <a:gd name="connsiteX7" fmla="*/ 146745 w 2098299"/>
              <a:gd name="connsiteY7" fmla="*/ 1482979 h 2115395"/>
              <a:gd name="connsiteX8" fmla="*/ 306596 w 2098299"/>
              <a:gd name="connsiteY8" fmla="*/ 1416767 h 2115395"/>
              <a:gd name="connsiteX9" fmla="*/ 226064 w 2098299"/>
              <a:gd name="connsiteY9" fmla="*/ 2 h 2115395"/>
              <a:gd name="connsiteX10" fmla="*/ 385915 w 2098299"/>
              <a:gd name="connsiteY10" fmla="*/ 66214 h 2115395"/>
              <a:gd name="connsiteX11" fmla="*/ 628266 w 2098299"/>
              <a:gd name="connsiteY11" fmla="*/ 308566 h 2115395"/>
              <a:gd name="connsiteX12" fmla="*/ 625459 w 2098299"/>
              <a:gd name="connsiteY12" fmla="*/ 279277 h 2115395"/>
              <a:gd name="connsiteX13" fmla="*/ 691672 w 2098299"/>
              <a:gd name="connsiteY13" fmla="*/ 119425 h 2115395"/>
              <a:gd name="connsiteX14" fmla="*/ 1011374 w 2098299"/>
              <a:gd name="connsiteY14" fmla="*/ 119425 h 2115395"/>
              <a:gd name="connsiteX15" fmla="*/ 1968926 w 2098299"/>
              <a:gd name="connsiteY15" fmla="*/ 1076978 h 2115395"/>
              <a:gd name="connsiteX16" fmla="*/ 1968926 w 2098299"/>
              <a:gd name="connsiteY16" fmla="*/ 1396681 h 2115395"/>
              <a:gd name="connsiteX17" fmla="*/ 1968926 w 2098299"/>
              <a:gd name="connsiteY17" fmla="*/ 1396680 h 2115395"/>
              <a:gd name="connsiteX18" fmla="*/ 1809075 w 2098299"/>
              <a:gd name="connsiteY18" fmla="*/ 1462892 h 2115395"/>
              <a:gd name="connsiteX19" fmla="*/ 1779785 w 2098299"/>
              <a:gd name="connsiteY19" fmla="*/ 1460085 h 2115395"/>
              <a:gd name="connsiteX20" fmla="*/ 1934243 w 2098299"/>
              <a:gd name="connsiteY20" fmla="*/ 1614543 h 2115395"/>
              <a:gd name="connsiteX21" fmla="*/ 1934243 w 2098299"/>
              <a:gd name="connsiteY21" fmla="*/ 1934246 h 2115395"/>
              <a:gd name="connsiteX22" fmla="*/ 1934243 w 2098299"/>
              <a:gd name="connsiteY22" fmla="*/ 1934245 h 2115395"/>
              <a:gd name="connsiteX23" fmla="*/ 1614540 w 2098299"/>
              <a:gd name="connsiteY23" fmla="*/ 1934245 h 2115395"/>
              <a:gd name="connsiteX24" fmla="*/ 1487586 w 2098299"/>
              <a:gd name="connsiteY24" fmla="*/ 1807290 h 2115395"/>
              <a:gd name="connsiteX25" fmla="*/ 1499104 w 2098299"/>
              <a:gd name="connsiteY25" fmla="*/ 1846155 h 2115395"/>
              <a:gd name="connsiteX26" fmla="*/ 1437030 w 2098299"/>
              <a:gd name="connsiteY26" fmla="*/ 2049184 h 2115395"/>
              <a:gd name="connsiteX27" fmla="*/ 1437030 w 2098299"/>
              <a:gd name="connsiteY27" fmla="*/ 2049183 h 2115395"/>
              <a:gd name="connsiteX28" fmla="*/ 1117327 w 2098299"/>
              <a:gd name="connsiteY28" fmla="*/ 2049183 h 2115395"/>
              <a:gd name="connsiteX29" fmla="*/ 305750 w 2098299"/>
              <a:gd name="connsiteY29" fmla="*/ 1237606 h 2115395"/>
              <a:gd name="connsiteX30" fmla="*/ 305750 w 2098299"/>
              <a:gd name="connsiteY30" fmla="*/ 917903 h 2115395"/>
              <a:gd name="connsiteX31" fmla="*/ 465601 w 2098299"/>
              <a:gd name="connsiteY31" fmla="*/ 851691 h 2115395"/>
              <a:gd name="connsiteX32" fmla="*/ 508778 w 2098299"/>
              <a:gd name="connsiteY32" fmla="*/ 855829 h 2115395"/>
              <a:gd name="connsiteX33" fmla="*/ 547642 w 2098299"/>
              <a:gd name="connsiteY33" fmla="*/ 867347 h 2115395"/>
              <a:gd name="connsiteX34" fmla="*/ 66212 w 2098299"/>
              <a:gd name="connsiteY34" fmla="*/ 385917 h 2115395"/>
              <a:gd name="connsiteX35" fmla="*/ 66212 w 2098299"/>
              <a:gd name="connsiteY35" fmla="*/ 66214 h 2115395"/>
              <a:gd name="connsiteX36" fmla="*/ 226064 w 2098299"/>
              <a:gd name="connsiteY36" fmla="*/ 2 h 2115395"/>
              <a:gd name="connsiteX37" fmla="*/ 1525242 w 2098299"/>
              <a:gd name="connsiteY37" fmla="*/ 0 h 2115395"/>
              <a:gd name="connsiteX38" fmla="*/ 1685093 w 2098299"/>
              <a:gd name="connsiteY38" fmla="*/ 66212 h 2115395"/>
              <a:gd name="connsiteX39" fmla="*/ 2032087 w 2098299"/>
              <a:gd name="connsiteY39" fmla="*/ 413206 h 2115395"/>
              <a:gd name="connsiteX40" fmla="*/ 2032087 w 2098299"/>
              <a:gd name="connsiteY40" fmla="*/ 732909 h 2115395"/>
              <a:gd name="connsiteX41" fmla="*/ 2032087 w 2098299"/>
              <a:gd name="connsiteY41" fmla="*/ 732908 h 2115395"/>
              <a:gd name="connsiteX42" fmla="*/ 1712384 w 2098299"/>
              <a:gd name="connsiteY42" fmla="*/ 732908 h 2115395"/>
              <a:gd name="connsiteX43" fmla="*/ 1365391 w 2098299"/>
              <a:gd name="connsiteY43" fmla="*/ 385916 h 2115395"/>
              <a:gd name="connsiteX44" fmla="*/ 1365391 w 2098299"/>
              <a:gd name="connsiteY44" fmla="*/ 66212 h 2115395"/>
              <a:gd name="connsiteX45" fmla="*/ 1525242 w 2098299"/>
              <a:gd name="connsiteY45" fmla="*/ 0 h 2115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</a:cxnLst>
            <a:rect l="l" t="t" r="r" b="b"/>
            <a:pathLst>
              <a:path w="2098299" h="2115395">
                <a:moveTo>
                  <a:pt x="306596" y="1416767"/>
                </a:moveTo>
                <a:cubicBezTo>
                  <a:pt x="364451" y="1416767"/>
                  <a:pt x="422306" y="1438838"/>
                  <a:pt x="466447" y="1482979"/>
                </a:cubicBezTo>
                <a:lnTo>
                  <a:pt x="711538" y="1728071"/>
                </a:lnTo>
                <a:cubicBezTo>
                  <a:pt x="799821" y="1816354"/>
                  <a:pt x="799821" y="1959490"/>
                  <a:pt x="711538" y="2047774"/>
                </a:cubicBezTo>
                <a:lnTo>
                  <a:pt x="711538" y="2047772"/>
                </a:lnTo>
                <a:cubicBezTo>
                  <a:pt x="623254" y="2136056"/>
                  <a:pt x="480119" y="2136056"/>
                  <a:pt x="391835" y="2047772"/>
                </a:cubicBezTo>
                <a:lnTo>
                  <a:pt x="146745" y="1802682"/>
                </a:lnTo>
                <a:cubicBezTo>
                  <a:pt x="58462" y="1714399"/>
                  <a:pt x="58462" y="1571263"/>
                  <a:pt x="146745" y="1482979"/>
                </a:cubicBezTo>
                <a:cubicBezTo>
                  <a:pt x="190886" y="1438838"/>
                  <a:pt x="248741" y="1416767"/>
                  <a:pt x="306596" y="1416767"/>
                </a:cubicBezTo>
                <a:close/>
                <a:moveTo>
                  <a:pt x="226064" y="2"/>
                </a:moveTo>
                <a:cubicBezTo>
                  <a:pt x="283918" y="2"/>
                  <a:pt x="341774" y="22072"/>
                  <a:pt x="385915" y="66214"/>
                </a:cubicBezTo>
                <a:lnTo>
                  <a:pt x="628266" y="308566"/>
                </a:lnTo>
                <a:lnTo>
                  <a:pt x="625459" y="279277"/>
                </a:lnTo>
                <a:cubicBezTo>
                  <a:pt x="625459" y="221422"/>
                  <a:pt x="647530" y="163567"/>
                  <a:pt x="691672" y="119425"/>
                </a:cubicBezTo>
                <a:cubicBezTo>
                  <a:pt x="779955" y="31142"/>
                  <a:pt x="923091" y="31142"/>
                  <a:pt x="1011374" y="119425"/>
                </a:cubicBezTo>
                <a:lnTo>
                  <a:pt x="1968926" y="1076978"/>
                </a:lnTo>
                <a:cubicBezTo>
                  <a:pt x="2057210" y="1165261"/>
                  <a:pt x="2057210" y="1308397"/>
                  <a:pt x="1968926" y="1396681"/>
                </a:cubicBezTo>
                <a:lnTo>
                  <a:pt x="1968926" y="1396680"/>
                </a:lnTo>
                <a:cubicBezTo>
                  <a:pt x="1924785" y="1440821"/>
                  <a:pt x="1866929" y="1462892"/>
                  <a:pt x="1809075" y="1462892"/>
                </a:cubicBezTo>
                <a:lnTo>
                  <a:pt x="1779785" y="1460085"/>
                </a:lnTo>
                <a:lnTo>
                  <a:pt x="1934243" y="1614543"/>
                </a:lnTo>
                <a:cubicBezTo>
                  <a:pt x="2022526" y="1702826"/>
                  <a:pt x="2022526" y="1845962"/>
                  <a:pt x="1934243" y="1934246"/>
                </a:cubicBezTo>
                <a:lnTo>
                  <a:pt x="1934243" y="1934245"/>
                </a:lnTo>
                <a:cubicBezTo>
                  <a:pt x="1845960" y="2022528"/>
                  <a:pt x="1702824" y="2022528"/>
                  <a:pt x="1614540" y="1934245"/>
                </a:cubicBezTo>
                <a:lnTo>
                  <a:pt x="1487586" y="1807290"/>
                </a:lnTo>
                <a:lnTo>
                  <a:pt x="1499104" y="1846155"/>
                </a:lnTo>
                <a:cubicBezTo>
                  <a:pt x="1512898" y="1917403"/>
                  <a:pt x="1492207" y="1994006"/>
                  <a:pt x="1437030" y="2049184"/>
                </a:cubicBezTo>
                <a:lnTo>
                  <a:pt x="1437030" y="2049183"/>
                </a:lnTo>
                <a:cubicBezTo>
                  <a:pt x="1348747" y="2137466"/>
                  <a:pt x="1205610" y="2137466"/>
                  <a:pt x="1117327" y="2049183"/>
                </a:cubicBezTo>
                <a:lnTo>
                  <a:pt x="305750" y="1237606"/>
                </a:lnTo>
                <a:cubicBezTo>
                  <a:pt x="217466" y="1149322"/>
                  <a:pt x="217466" y="1006187"/>
                  <a:pt x="305750" y="917903"/>
                </a:cubicBezTo>
                <a:cubicBezTo>
                  <a:pt x="349892" y="873761"/>
                  <a:pt x="407747" y="851691"/>
                  <a:pt x="465601" y="851691"/>
                </a:cubicBezTo>
                <a:cubicBezTo>
                  <a:pt x="480065" y="851691"/>
                  <a:pt x="494529" y="853070"/>
                  <a:pt x="508778" y="855829"/>
                </a:cubicBezTo>
                <a:lnTo>
                  <a:pt x="547642" y="867347"/>
                </a:lnTo>
                <a:lnTo>
                  <a:pt x="66212" y="385917"/>
                </a:lnTo>
                <a:cubicBezTo>
                  <a:pt x="-22071" y="297633"/>
                  <a:pt x="-22071" y="154498"/>
                  <a:pt x="66212" y="66214"/>
                </a:cubicBezTo>
                <a:cubicBezTo>
                  <a:pt x="110354" y="22072"/>
                  <a:pt x="168209" y="2"/>
                  <a:pt x="226064" y="2"/>
                </a:cubicBezTo>
                <a:close/>
                <a:moveTo>
                  <a:pt x="1525242" y="0"/>
                </a:moveTo>
                <a:cubicBezTo>
                  <a:pt x="1583097" y="0"/>
                  <a:pt x="1640952" y="22071"/>
                  <a:pt x="1685093" y="66212"/>
                </a:cubicBezTo>
                <a:lnTo>
                  <a:pt x="2032087" y="413206"/>
                </a:lnTo>
                <a:cubicBezTo>
                  <a:pt x="2120370" y="501489"/>
                  <a:pt x="2120370" y="644626"/>
                  <a:pt x="2032087" y="732909"/>
                </a:cubicBezTo>
                <a:lnTo>
                  <a:pt x="2032087" y="732908"/>
                </a:lnTo>
                <a:cubicBezTo>
                  <a:pt x="1943804" y="821191"/>
                  <a:pt x="1800667" y="821191"/>
                  <a:pt x="1712384" y="732908"/>
                </a:cubicBezTo>
                <a:lnTo>
                  <a:pt x="1365391" y="385916"/>
                </a:lnTo>
                <a:cubicBezTo>
                  <a:pt x="1277108" y="297632"/>
                  <a:pt x="1277108" y="154496"/>
                  <a:pt x="1365391" y="66212"/>
                </a:cubicBezTo>
                <a:cubicBezTo>
                  <a:pt x="1409533" y="22071"/>
                  <a:pt x="1467388" y="0"/>
                  <a:pt x="1525242" y="0"/>
                </a:cubicBezTo>
                <a:close/>
              </a:path>
            </a:pathLst>
          </a:custGeom>
          <a:blipFill dpi="0" rotWithShape="1">
            <a:blip r:embed="rId5"/>
            <a:srcRect/>
            <a:tile tx="0" ty="0" sx="100000" sy="100000" flip="none" algn="ctr"/>
          </a:blip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1392990" y="4663976"/>
            <a:ext cx="2713780" cy="1054930"/>
            <a:chOff x="2676067" y="1799802"/>
            <a:chExt cx="2713780" cy="1054930"/>
          </a:xfrm>
        </p:grpSpPr>
        <p:sp>
          <p:nvSpPr>
            <p:cNvPr id="16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7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4739110" y="4663976"/>
            <a:ext cx="2713780" cy="1054930"/>
            <a:chOff x="2676067" y="1799802"/>
            <a:chExt cx="2713780" cy="1054930"/>
          </a:xfrm>
        </p:grpSpPr>
        <p:sp>
          <p:nvSpPr>
            <p:cNvPr id="19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0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8104610" y="4663976"/>
            <a:ext cx="2713780" cy="1054930"/>
            <a:chOff x="2676067" y="1799802"/>
            <a:chExt cx="2713780" cy="1054930"/>
          </a:xfrm>
        </p:grpSpPr>
        <p:sp>
          <p:nvSpPr>
            <p:cNvPr id="22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3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24" name="文本框 23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完成情况</a:t>
            </a:r>
          </a:p>
        </p:txBody>
      </p:sp>
      <p:sp>
        <p:nvSpPr>
          <p:cNvPr id="25" name="文本框 24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COMPLE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14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Arc 2"/>
          <p:cNvSpPr/>
          <p:nvPr/>
        </p:nvSpPr>
        <p:spPr>
          <a:xfrm>
            <a:off x="569423" y="2052189"/>
            <a:ext cx="2749385" cy="2749385"/>
          </a:xfrm>
          <a:prstGeom prst="arc">
            <a:avLst>
              <a:gd name="adj1" fmla="val 16200000"/>
              <a:gd name="adj2" fmla="val 5380469"/>
            </a:avLst>
          </a:prstGeom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black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63" name="组合 62"/>
          <p:cNvGrpSpPr/>
          <p:nvPr/>
        </p:nvGrpSpPr>
        <p:grpSpPr>
          <a:xfrm>
            <a:off x="1105943" y="2479503"/>
            <a:ext cx="1999442" cy="1999440"/>
            <a:chOff x="1105943" y="2479503"/>
            <a:chExt cx="1999442" cy="1999440"/>
          </a:xfrm>
        </p:grpSpPr>
        <p:sp>
          <p:nvSpPr>
            <p:cNvPr id="31" name="Oval 14"/>
            <p:cNvSpPr/>
            <p:nvPr/>
          </p:nvSpPr>
          <p:spPr>
            <a:xfrm>
              <a:off x="1105943" y="2479503"/>
              <a:ext cx="1999442" cy="1999440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 dirty="0">
                <a:solidFill>
                  <a:prstClr val="white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3" name="Freeform 245"/>
            <p:cNvSpPr/>
            <p:nvPr/>
          </p:nvSpPr>
          <p:spPr bwMode="auto">
            <a:xfrm>
              <a:off x="1716847" y="2853690"/>
              <a:ext cx="736386" cy="736386"/>
            </a:xfrm>
            <a:custGeom>
              <a:avLst/>
              <a:gdLst/>
              <a:ahLst/>
              <a:cxnLst>
                <a:cxn ang="0">
                  <a:pos x="68" y="3"/>
                </a:cxn>
                <a:cxn ang="0">
                  <a:pos x="58" y="61"/>
                </a:cxn>
                <a:cxn ang="0">
                  <a:pos x="57" y="63"/>
                </a:cxn>
                <a:cxn ang="0">
                  <a:pos x="56" y="63"/>
                </a:cxn>
                <a:cxn ang="0">
                  <a:pos x="55" y="63"/>
                </a:cxn>
                <a:cxn ang="0">
                  <a:pos x="38" y="56"/>
                </a:cxn>
                <a:cxn ang="0">
                  <a:pos x="28" y="67"/>
                </a:cxn>
                <a:cxn ang="0">
                  <a:pos x="26" y="68"/>
                </a:cxn>
                <a:cxn ang="0">
                  <a:pos x="26" y="68"/>
                </a:cxn>
                <a:cxn ang="0">
                  <a:pos x="24" y="65"/>
                </a:cxn>
                <a:cxn ang="0">
                  <a:pos x="24" y="52"/>
                </a:cxn>
                <a:cxn ang="0">
                  <a:pos x="57" y="12"/>
                </a:cxn>
                <a:cxn ang="0">
                  <a:pos x="16" y="47"/>
                </a:cxn>
                <a:cxn ang="0">
                  <a:pos x="1" y="41"/>
                </a:cxn>
                <a:cxn ang="0">
                  <a:pos x="0" y="39"/>
                </a:cxn>
                <a:cxn ang="0">
                  <a:pos x="1" y="36"/>
                </a:cxn>
                <a:cxn ang="0">
                  <a:pos x="64" y="0"/>
                </a:cxn>
                <a:cxn ang="0">
                  <a:pos x="65" y="0"/>
                </a:cxn>
                <a:cxn ang="0">
                  <a:pos x="67" y="0"/>
                </a:cxn>
                <a:cxn ang="0">
                  <a:pos x="68" y="3"/>
                </a:cxn>
              </a:cxnLst>
              <a:rect l="0" t="0" r="r" b="b"/>
              <a:pathLst>
                <a:path w="68" h="68">
                  <a:moveTo>
                    <a:pt x="68" y="3"/>
                  </a:moveTo>
                  <a:cubicBezTo>
                    <a:pt x="58" y="61"/>
                    <a:pt x="58" y="61"/>
                    <a:pt x="58" y="61"/>
                  </a:cubicBezTo>
                  <a:cubicBezTo>
                    <a:pt x="58" y="62"/>
                    <a:pt x="57" y="62"/>
                    <a:pt x="57" y="63"/>
                  </a:cubicBezTo>
                  <a:cubicBezTo>
                    <a:pt x="56" y="63"/>
                    <a:pt x="56" y="63"/>
                    <a:pt x="56" y="63"/>
                  </a:cubicBezTo>
                  <a:cubicBezTo>
                    <a:pt x="55" y="63"/>
                    <a:pt x="55" y="63"/>
                    <a:pt x="55" y="63"/>
                  </a:cubicBezTo>
                  <a:cubicBezTo>
                    <a:pt x="38" y="56"/>
                    <a:pt x="38" y="56"/>
                    <a:pt x="38" y="56"/>
                  </a:cubicBezTo>
                  <a:cubicBezTo>
                    <a:pt x="28" y="67"/>
                    <a:pt x="28" y="67"/>
                    <a:pt x="28" y="67"/>
                  </a:cubicBezTo>
                  <a:cubicBezTo>
                    <a:pt x="28" y="67"/>
                    <a:pt x="27" y="68"/>
                    <a:pt x="26" y="68"/>
                  </a:cubicBezTo>
                  <a:cubicBezTo>
                    <a:pt x="26" y="68"/>
                    <a:pt x="26" y="68"/>
                    <a:pt x="26" y="68"/>
                  </a:cubicBezTo>
                  <a:cubicBezTo>
                    <a:pt x="25" y="67"/>
                    <a:pt x="24" y="66"/>
                    <a:pt x="24" y="65"/>
                  </a:cubicBezTo>
                  <a:cubicBezTo>
                    <a:pt x="24" y="52"/>
                    <a:pt x="24" y="52"/>
                    <a:pt x="24" y="52"/>
                  </a:cubicBezTo>
                  <a:cubicBezTo>
                    <a:pt x="57" y="12"/>
                    <a:pt x="57" y="12"/>
                    <a:pt x="57" y="12"/>
                  </a:cubicBezTo>
                  <a:cubicBezTo>
                    <a:pt x="16" y="47"/>
                    <a:pt x="16" y="47"/>
                    <a:pt x="16" y="47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0"/>
                    <a:pt x="0" y="40"/>
                    <a:pt x="0" y="39"/>
                  </a:cubicBezTo>
                  <a:cubicBezTo>
                    <a:pt x="0" y="38"/>
                    <a:pt x="0" y="37"/>
                    <a:pt x="1" y="36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5" y="0"/>
                    <a:pt x="65" y="0"/>
                    <a:pt x="65" y="0"/>
                  </a:cubicBezTo>
                  <a:cubicBezTo>
                    <a:pt x="66" y="0"/>
                    <a:pt x="66" y="0"/>
                    <a:pt x="67" y="0"/>
                  </a:cubicBezTo>
                  <a:cubicBezTo>
                    <a:pt x="68" y="1"/>
                    <a:pt x="68" y="2"/>
                    <a:pt x="68" y="3"/>
                  </a:cubicBezTo>
                  <a:close/>
                </a:path>
              </a:pathLst>
            </a:custGeom>
            <a:solidFill>
              <a:srgbClr val="7030A0"/>
            </a:solidFill>
            <a:ln w="9525">
              <a:solidFill>
                <a:schemeClr val="lt1">
                  <a:lumMod val="100000"/>
                </a:schemeClr>
              </a:solidFill>
              <a:round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35" name="Oval 6"/>
          <p:cNvSpPr/>
          <p:nvPr/>
        </p:nvSpPr>
        <p:spPr>
          <a:xfrm>
            <a:off x="2759142" y="2336082"/>
            <a:ext cx="182637" cy="182637"/>
          </a:xfrm>
          <a:prstGeom prst="ellipse">
            <a:avLst/>
          </a:prstGeom>
          <a:solidFill>
            <a:schemeClr val="lt1">
              <a:lumMod val="100000"/>
            </a:schemeClr>
          </a:solidFill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black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36" name="Oval 39"/>
          <p:cNvSpPr/>
          <p:nvPr/>
        </p:nvSpPr>
        <p:spPr>
          <a:xfrm>
            <a:off x="3200291" y="3387483"/>
            <a:ext cx="182637" cy="182637"/>
          </a:xfrm>
          <a:prstGeom prst="ellipse">
            <a:avLst/>
          </a:prstGeom>
          <a:solidFill>
            <a:schemeClr val="lt1">
              <a:lumMod val="100000"/>
            </a:schemeClr>
          </a:solidFill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black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37" name="Oval 40"/>
          <p:cNvSpPr/>
          <p:nvPr/>
        </p:nvSpPr>
        <p:spPr>
          <a:xfrm>
            <a:off x="2655232" y="4428494"/>
            <a:ext cx="182637" cy="182637"/>
          </a:xfrm>
          <a:prstGeom prst="ellipse">
            <a:avLst/>
          </a:prstGeom>
          <a:solidFill>
            <a:schemeClr val="lt1">
              <a:lumMod val="100000"/>
            </a:schemeClr>
          </a:solidFill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black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cxnSp>
        <p:nvCxnSpPr>
          <p:cNvPr id="38" name="Straight Connector 19"/>
          <p:cNvCxnSpPr>
            <a:stCxn id="35" idx="6"/>
          </p:cNvCxnSpPr>
          <p:nvPr/>
        </p:nvCxnSpPr>
        <p:spPr>
          <a:xfrm flipV="1">
            <a:off x="2941779" y="2424733"/>
            <a:ext cx="1511663" cy="2668"/>
          </a:xfrm>
          <a:prstGeom prst="line">
            <a:avLst/>
          </a:prstGeom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44"/>
          <p:cNvCxnSpPr>
            <a:stCxn id="36" idx="6"/>
          </p:cNvCxnSpPr>
          <p:nvPr/>
        </p:nvCxnSpPr>
        <p:spPr>
          <a:xfrm>
            <a:off x="3382928" y="3478802"/>
            <a:ext cx="2932050" cy="0"/>
          </a:xfrm>
          <a:prstGeom prst="line">
            <a:avLst/>
          </a:prstGeom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45"/>
          <p:cNvCxnSpPr>
            <a:stCxn id="37" idx="6"/>
          </p:cNvCxnSpPr>
          <p:nvPr/>
        </p:nvCxnSpPr>
        <p:spPr>
          <a:xfrm>
            <a:off x="2837869" y="4519813"/>
            <a:ext cx="1499950" cy="0"/>
          </a:xfrm>
          <a:prstGeom prst="line">
            <a:avLst/>
          </a:prstGeom>
          <a:ln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4" name="组合 63"/>
          <p:cNvGrpSpPr/>
          <p:nvPr/>
        </p:nvGrpSpPr>
        <p:grpSpPr>
          <a:xfrm>
            <a:off x="4436389" y="2052189"/>
            <a:ext cx="864298" cy="745085"/>
            <a:chOff x="4436389" y="2052189"/>
            <a:chExt cx="864298" cy="745085"/>
          </a:xfrm>
        </p:grpSpPr>
        <p:sp>
          <p:nvSpPr>
            <p:cNvPr id="42" name="Hexagon 26"/>
            <p:cNvSpPr/>
            <p:nvPr/>
          </p:nvSpPr>
          <p:spPr>
            <a:xfrm>
              <a:off x="4436389" y="2052189"/>
              <a:ext cx="864298" cy="745085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100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3" name="Freeform 171"/>
            <p:cNvSpPr/>
            <p:nvPr/>
          </p:nvSpPr>
          <p:spPr bwMode="auto">
            <a:xfrm>
              <a:off x="4685709" y="2303525"/>
              <a:ext cx="365659" cy="231246"/>
            </a:xfrm>
            <a:custGeom>
              <a:avLst/>
              <a:gdLst>
                <a:gd name="T0" fmla="*/ 826 w 1011"/>
                <a:gd name="T1" fmla="*/ 261 h 640"/>
                <a:gd name="T2" fmla="*/ 823 w 1011"/>
                <a:gd name="T3" fmla="*/ 221 h 640"/>
                <a:gd name="T4" fmla="*/ 814 w 1011"/>
                <a:gd name="T5" fmla="*/ 184 h 640"/>
                <a:gd name="T6" fmla="*/ 800 w 1011"/>
                <a:gd name="T7" fmla="*/ 148 h 640"/>
                <a:gd name="T8" fmla="*/ 782 w 1011"/>
                <a:gd name="T9" fmla="*/ 116 h 640"/>
                <a:gd name="T10" fmla="*/ 758 w 1011"/>
                <a:gd name="T11" fmla="*/ 85 h 640"/>
                <a:gd name="T12" fmla="*/ 731 w 1011"/>
                <a:gd name="T13" fmla="*/ 59 h 640"/>
                <a:gd name="T14" fmla="*/ 701 w 1011"/>
                <a:gd name="T15" fmla="*/ 38 h 640"/>
                <a:gd name="T16" fmla="*/ 666 w 1011"/>
                <a:gd name="T17" fmla="*/ 21 h 640"/>
                <a:gd name="T18" fmla="*/ 631 w 1011"/>
                <a:gd name="T19" fmla="*/ 9 h 640"/>
                <a:gd name="T20" fmla="*/ 592 w 1011"/>
                <a:gd name="T21" fmla="*/ 1 h 640"/>
                <a:gd name="T22" fmla="*/ 545 w 1011"/>
                <a:gd name="T23" fmla="*/ 1 h 640"/>
                <a:gd name="T24" fmla="*/ 490 w 1011"/>
                <a:gd name="T25" fmla="*/ 11 h 640"/>
                <a:gd name="T26" fmla="*/ 440 w 1011"/>
                <a:gd name="T27" fmla="*/ 32 h 640"/>
                <a:gd name="T28" fmla="*/ 395 w 1011"/>
                <a:gd name="T29" fmla="*/ 64 h 640"/>
                <a:gd name="T30" fmla="*/ 357 w 1011"/>
                <a:gd name="T31" fmla="*/ 103 h 640"/>
                <a:gd name="T32" fmla="*/ 329 w 1011"/>
                <a:gd name="T33" fmla="*/ 149 h 640"/>
                <a:gd name="T34" fmla="*/ 285 w 1011"/>
                <a:gd name="T35" fmla="*/ 136 h 640"/>
                <a:gd name="T36" fmla="*/ 244 w 1011"/>
                <a:gd name="T37" fmla="*/ 137 h 640"/>
                <a:gd name="T38" fmla="*/ 211 w 1011"/>
                <a:gd name="T39" fmla="*/ 148 h 640"/>
                <a:gd name="T40" fmla="*/ 181 w 1011"/>
                <a:gd name="T41" fmla="*/ 166 h 640"/>
                <a:gd name="T42" fmla="*/ 159 w 1011"/>
                <a:gd name="T43" fmla="*/ 192 h 640"/>
                <a:gd name="T44" fmla="*/ 142 w 1011"/>
                <a:gd name="T45" fmla="*/ 224 h 640"/>
                <a:gd name="T46" fmla="*/ 122 w 1011"/>
                <a:gd name="T47" fmla="*/ 253 h 640"/>
                <a:gd name="T48" fmla="*/ 81 w 1011"/>
                <a:gd name="T49" fmla="*/ 275 h 640"/>
                <a:gd name="T50" fmla="*/ 47 w 1011"/>
                <a:gd name="T51" fmla="*/ 308 h 640"/>
                <a:gd name="T52" fmla="*/ 21 w 1011"/>
                <a:gd name="T53" fmla="*/ 346 h 640"/>
                <a:gd name="T54" fmla="*/ 5 w 1011"/>
                <a:gd name="T55" fmla="*/ 390 h 640"/>
                <a:gd name="T56" fmla="*/ 0 w 1011"/>
                <a:gd name="T57" fmla="*/ 439 h 640"/>
                <a:gd name="T58" fmla="*/ 9 w 1011"/>
                <a:gd name="T59" fmla="*/ 498 h 640"/>
                <a:gd name="T60" fmla="*/ 33 w 1011"/>
                <a:gd name="T61" fmla="*/ 551 h 640"/>
                <a:gd name="T62" fmla="*/ 73 w 1011"/>
                <a:gd name="T63" fmla="*/ 594 h 640"/>
                <a:gd name="T64" fmla="*/ 123 w 1011"/>
                <a:gd name="T65" fmla="*/ 624 h 640"/>
                <a:gd name="T66" fmla="*/ 181 w 1011"/>
                <a:gd name="T67" fmla="*/ 639 h 640"/>
                <a:gd name="T68" fmla="*/ 404 w 1011"/>
                <a:gd name="T69" fmla="*/ 640 h 640"/>
                <a:gd name="T70" fmla="*/ 383 w 1011"/>
                <a:gd name="T71" fmla="*/ 470 h 640"/>
                <a:gd name="T72" fmla="*/ 685 w 1011"/>
                <a:gd name="T73" fmla="*/ 446 h 640"/>
                <a:gd name="T74" fmla="*/ 539 w 1011"/>
                <a:gd name="T75" fmla="*/ 640 h 640"/>
                <a:gd name="T76" fmla="*/ 826 w 1011"/>
                <a:gd name="T77" fmla="*/ 640 h 640"/>
                <a:gd name="T78" fmla="*/ 881 w 1011"/>
                <a:gd name="T79" fmla="*/ 632 h 640"/>
                <a:gd name="T80" fmla="*/ 930 w 1011"/>
                <a:gd name="T81" fmla="*/ 608 h 640"/>
                <a:gd name="T82" fmla="*/ 969 w 1011"/>
                <a:gd name="T83" fmla="*/ 572 h 640"/>
                <a:gd name="T84" fmla="*/ 997 w 1011"/>
                <a:gd name="T85" fmla="*/ 527 h 640"/>
                <a:gd name="T86" fmla="*/ 1010 w 1011"/>
                <a:gd name="T87" fmla="*/ 474 h 640"/>
                <a:gd name="T88" fmla="*/ 1008 w 1011"/>
                <a:gd name="T89" fmla="*/ 418 h 640"/>
                <a:gd name="T90" fmla="*/ 988 w 1011"/>
                <a:gd name="T91" fmla="*/ 367 h 640"/>
                <a:gd name="T92" fmla="*/ 957 w 1011"/>
                <a:gd name="T93" fmla="*/ 324 h 640"/>
                <a:gd name="T94" fmla="*/ 914 w 1011"/>
                <a:gd name="T95" fmla="*/ 293 h 640"/>
                <a:gd name="T96" fmla="*/ 863 w 1011"/>
                <a:gd name="T97" fmla="*/ 273 h 6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11" h="640">
                  <a:moveTo>
                    <a:pt x="826" y="270"/>
                  </a:moveTo>
                  <a:lnTo>
                    <a:pt x="826" y="266"/>
                  </a:lnTo>
                  <a:lnTo>
                    <a:pt x="826" y="261"/>
                  </a:lnTo>
                  <a:lnTo>
                    <a:pt x="826" y="248"/>
                  </a:lnTo>
                  <a:lnTo>
                    <a:pt x="825" y="234"/>
                  </a:lnTo>
                  <a:lnTo>
                    <a:pt x="823" y="221"/>
                  </a:lnTo>
                  <a:lnTo>
                    <a:pt x="821" y="208"/>
                  </a:lnTo>
                  <a:lnTo>
                    <a:pt x="819" y="197"/>
                  </a:lnTo>
                  <a:lnTo>
                    <a:pt x="814" y="184"/>
                  </a:lnTo>
                  <a:lnTo>
                    <a:pt x="810" y="172"/>
                  </a:lnTo>
                  <a:lnTo>
                    <a:pt x="806" y="160"/>
                  </a:lnTo>
                  <a:lnTo>
                    <a:pt x="800" y="148"/>
                  </a:lnTo>
                  <a:lnTo>
                    <a:pt x="795" y="137"/>
                  </a:lnTo>
                  <a:lnTo>
                    <a:pt x="788" y="126"/>
                  </a:lnTo>
                  <a:lnTo>
                    <a:pt x="782" y="116"/>
                  </a:lnTo>
                  <a:lnTo>
                    <a:pt x="774" y="105"/>
                  </a:lnTo>
                  <a:lnTo>
                    <a:pt x="767" y="95"/>
                  </a:lnTo>
                  <a:lnTo>
                    <a:pt x="758" y="85"/>
                  </a:lnTo>
                  <a:lnTo>
                    <a:pt x="750" y="77"/>
                  </a:lnTo>
                  <a:lnTo>
                    <a:pt x="741" y="68"/>
                  </a:lnTo>
                  <a:lnTo>
                    <a:pt x="731" y="59"/>
                  </a:lnTo>
                  <a:lnTo>
                    <a:pt x="721" y="52"/>
                  </a:lnTo>
                  <a:lnTo>
                    <a:pt x="711" y="45"/>
                  </a:lnTo>
                  <a:lnTo>
                    <a:pt x="701" y="38"/>
                  </a:lnTo>
                  <a:lnTo>
                    <a:pt x="690" y="31"/>
                  </a:lnTo>
                  <a:lnTo>
                    <a:pt x="678" y="26"/>
                  </a:lnTo>
                  <a:lnTo>
                    <a:pt x="666" y="21"/>
                  </a:lnTo>
                  <a:lnTo>
                    <a:pt x="655" y="16"/>
                  </a:lnTo>
                  <a:lnTo>
                    <a:pt x="643" y="12"/>
                  </a:lnTo>
                  <a:lnTo>
                    <a:pt x="631" y="9"/>
                  </a:lnTo>
                  <a:lnTo>
                    <a:pt x="618" y="5"/>
                  </a:lnTo>
                  <a:lnTo>
                    <a:pt x="605" y="3"/>
                  </a:lnTo>
                  <a:lnTo>
                    <a:pt x="592" y="1"/>
                  </a:lnTo>
                  <a:lnTo>
                    <a:pt x="579" y="1"/>
                  </a:lnTo>
                  <a:lnTo>
                    <a:pt x="565" y="0"/>
                  </a:lnTo>
                  <a:lnTo>
                    <a:pt x="545" y="1"/>
                  </a:lnTo>
                  <a:lnTo>
                    <a:pt x="527" y="3"/>
                  </a:lnTo>
                  <a:lnTo>
                    <a:pt x="509" y="7"/>
                  </a:lnTo>
                  <a:lnTo>
                    <a:pt x="490" y="11"/>
                  </a:lnTo>
                  <a:lnTo>
                    <a:pt x="473" y="17"/>
                  </a:lnTo>
                  <a:lnTo>
                    <a:pt x="456" y="24"/>
                  </a:lnTo>
                  <a:lnTo>
                    <a:pt x="440" y="32"/>
                  </a:lnTo>
                  <a:lnTo>
                    <a:pt x="424" y="42"/>
                  </a:lnTo>
                  <a:lnTo>
                    <a:pt x="409" y="52"/>
                  </a:lnTo>
                  <a:lnTo>
                    <a:pt x="395" y="64"/>
                  </a:lnTo>
                  <a:lnTo>
                    <a:pt x="382" y="76"/>
                  </a:lnTo>
                  <a:lnTo>
                    <a:pt x="369" y="89"/>
                  </a:lnTo>
                  <a:lnTo>
                    <a:pt x="357" y="103"/>
                  </a:lnTo>
                  <a:lnTo>
                    <a:pt x="348" y="118"/>
                  </a:lnTo>
                  <a:lnTo>
                    <a:pt x="338" y="133"/>
                  </a:lnTo>
                  <a:lnTo>
                    <a:pt x="329" y="149"/>
                  </a:lnTo>
                  <a:lnTo>
                    <a:pt x="315" y="143"/>
                  </a:lnTo>
                  <a:lnTo>
                    <a:pt x="300" y="138"/>
                  </a:lnTo>
                  <a:lnTo>
                    <a:pt x="285" y="136"/>
                  </a:lnTo>
                  <a:lnTo>
                    <a:pt x="269" y="135"/>
                  </a:lnTo>
                  <a:lnTo>
                    <a:pt x="257" y="135"/>
                  </a:lnTo>
                  <a:lnTo>
                    <a:pt x="244" y="137"/>
                  </a:lnTo>
                  <a:lnTo>
                    <a:pt x="233" y="139"/>
                  </a:lnTo>
                  <a:lnTo>
                    <a:pt x="221" y="144"/>
                  </a:lnTo>
                  <a:lnTo>
                    <a:pt x="211" y="148"/>
                  </a:lnTo>
                  <a:lnTo>
                    <a:pt x="201" y="153"/>
                  </a:lnTo>
                  <a:lnTo>
                    <a:pt x="191" y="160"/>
                  </a:lnTo>
                  <a:lnTo>
                    <a:pt x="181" y="166"/>
                  </a:lnTo>
                  <a:lnTo>
                    <a:pt x="173" y="175"/>
                  </a:lnTo>
                  <a:lnTo>
                    <a:pt x="165" y="184"/>
                  </a:lnTo>
                  <a:lnTo>
                    <a:pt x="159" y="192"/>
                  </a:lnTo>
                  <a:lnTo>
                    <a:pt x="152" y="202"/>
                  </a:lnTo>
                  <a:lnTo>
                    <a:pt x="147" y="213"/>
                  </a:lnTo>
                  <a:lnTo>
                    <a:pt x="142" y="224"/>
                  </a:lnTo>
                  <a:lnTo>
                    <a:pt x="138" y="235"/>
                  </a:lnTo>
                  <a:lnTo>
                    <a:pt x="136" y="247"/>
                  </a:lnTo>
                  <a:lnTo>
                    <a:pt x="122" y="253"/>
                  </a:lnTo>
                  <a:lnTo>
                    <a:pt x="108" y="259"/>
                  </a:lnTo>
                  <a:lnTo>
                    <a:pt x="94" y="267"/>
                  </a:lnTo>
                  <a:lnTo>
                    <a:pt x="81" y="275"/>
                  </a:lnTo>
                  <a:lnTo>
                    <a:pt x="69" y="285"/>
                  </a:lnTo>
                  <a:lnTo>
                    <a:pt x="58" y="296"/>
                  </a:lnTo>
                  <a:lnTo>
                    <a:pt x="47" y="308"/>
                  </a:lnTo>
                  <a:lnTo>
                    <a:pt x="38" y="320"/>
                  </a:lnTo>
                  <a:lnTo>
                    <a:pt x="29" y="333"/>
                  </a:lnTo>
                  <a:lnTo>
                    <a:pt x="21" y="346"/>
                  </a:lnTo>
                  <a:lnTo>
                    <a:pt x="15" y="360"/>
                  </a:lnTo>
                  <a:lnTo>
                    <a:pt x="10" y="375"/>
                  </a:lnTo>
                  <a:lnTo>
                    <a:pt x="5" y="390"/>
                  </a:lnTo>
                  <a:lnTo>
                    <a:pt x="2" y="406"/>
                  </a:lnTo>
                  <a:lnTo>
                    <a:pt x="0" y="421"/>
                  </a:lnTo>
                  <a:lnTo>
                    <a:pt x="0" y="439"/>
                  </a:lnTo>
                  <a:lnTo>
                    <a:pt x="0" y="459"/>
                  </a:lnTo>
                  <a:lnTo>
                    <a:pt x="3" y="478"/>
                  </a:lnTo>
                  <a:lnTo>
                    <a:pt x="9" y="498"/>
                  </a:lnTo>
                  <a:lnTo>
                    <a:pt x="15" y="517"/>
                  </a:lnTo>
                  <a:lnTo>
                    <a:pt x="24" y="535"/>
                  </a:lnTo>
                  <a:lnTo>
                    <a:pt x="33" y="551"/>
                  </a:lnTo>
                  <a:lnTo>
                    <a:pt x="45" y="567"/>
                  </a:lnTo>
                  <a:lnTo>
                    <a:pt x="58" y="581"/>
                  </a:lnTo>
                  <a:lnTo>
                    <a:pt x="73" y="594"/>
                  </a:lnTo>
                  <a:lnTo>
                    <a:pt x="88" y="606"/>
                  </a:lnTo>
                  <a:lnTo>
                    <a:pt x="105" y="616"/>
                  </a:lnTo>
                  <a:lnTo>
                    <a:pt x="123" y="624"/>
                  </a:lnTo>
                  <a:lnTo>
                    <a:pt x="141" y="632"/>
                  </a:lnTo>
                  <a:lnTo>
                    <a:pt x="161" y="636"/>
                  </a:lnTo>
                  <a:lnTo>
                    <a:pt x="181" y="639"/>
                  </a:lnTo>
                  <a:lnTo>
                    <a:pt x="202" y="640"/>
                  </a:lnTo>
                  <a:lnTo>
                    <a:pt x="338" y="640"/>
                  </a:lnTo>
                  <a:lnTo>
                    <a:pt x="404" y="640"/>
                  </a:lnTo>
                  <a:lnTo>
                    <a:pt x="505" y="640"/>
                  </a:lnTo>
                  <a:lnTo>
                    <a:pt x="505" y="349"/>
                  </a:lnTo>
                  <a:lnTo>
                    <a:pt x="383" y="470"/>
                  </a:lnTo>
                  <a:lnTo>
                    <a:pt x="360" y="446"/>
                  </a:lnTo>
                  <a:lnTo>
                    <a:pt x="522" y="284"/>
                  </a:lnTo>
                  <a:lnTo>
                    <a:pt x="685" y="446"/>
                  </a:lnTo>
                  <a:lnTo>
                    <a:pt x="660" y="470"/>
                  </a:lnTo>
                  <a:lnTo>
                    <a:pt x="539" y="349"/>
                  </a:lnTo>
                  <a:lnTo>
                    <a:pt x="539" y="640"/>
                  </a:lnTo>
                  <a:lnTo>
                    <a:pt x="640" y="640"/>
                  </a:lnTo>
                  <a:lnTo>
                    <a:pt x="685" y="640"/>
                  </a:lnTo>
                  <a:lnTo>
                    <a:pt x="826" y="640"/>
                  </a:lnTo>
                  <a:lnTo>
                    <a:pt x="846" y="639"/>
                  </a:lnTo>
                  <a:lnTo>
                    <a:pt x="864" y="636"/>
                  </a:lnTo>
                  <a:lnTo>
                    <a:pt x="881" y="632"/>
                  </a:lnTo>
                  <a:lnTo>
                    <a:pt x="899" y="625"/>
                  </a:lnTo>
                  <a:lnTo>
                    <a:pt x="915" y="618"/>
                  </a:lnTo>
                  <a:lnTo>
                    <a:pt x="930" y="608"/>
                  </a:lnTo>
                  <a:lnTo>
                    <a:pt x="944" y="597"/>
                  </a:lnTo>
                  <a:lnTo>
                    <a:pt x="957" y="585"/>
                  </a:lnTo>
                  <a:lnTo>
                    <a:pt x="969" y="572"/>
                  </a:lnTo>
                  <a:lnTo>
                    <a:pt x="980" y="558"/>
                  </a:lnTo>
                  <a:lnTo>
                    <a:pt x="988" y="543"/>
                  </a:lnTo>
                  <a:lnTo>
                    <a:pt x="997" y="527"/>
                  </a:lnTo>
                  <a:lnTo>
                    <a:pt x="1002" y="510"/>
                  </a:lnTo>
                  <a:lnTo>
                    <a:pt x="1008" y="493"/>
                  </a:lnTo>
                  <a:lnTo>
                    <a:pt x="1010" y="474"/>
                  </a:lnTo>
                  <a:lnTo>
                    <a:pt x="1011" y="455"/>
                  </a:lnTo>
                  <a:lnTo>
                    <a:pt x="1010" y="436"/>
                  </a:lnTo>
                  <a:lnTo>
                    <a:pt x="1008" y="418"/>
                  </a:lnTo>
                  <a:lnTo>
                    <a:pt x="1002" y="400"/>
                  </a:lnTo>
                  <a:lnTo>
                    <a:pt x="997" y="383"/>
                  </a:lnTo>
                  <a:lnTo>
                    <a:pt x="988" y="367"/>
                  </a:lnTo>
                  <a:lnTo>
                    <a:pt x="980" y="351"/>
                  </a:lnTo>
                  <a:lnTo>
                    <a:pt x="969" y="337"/>
                  </a:lnTo>
                  <a:lnTo>
                    <a:pt x="957" y="324"/>
                  </a:lnTo>
                  <a:lnTo>
                    <a:pt x="944" y="312"/>
                  </a:lnTo>
                  <a:lnTo>
                    <a:pt x="930" y="301"/>
                  </a:lnTo>
                  <a:lnTo>
                    <a:pt x="914" y="293"/>
                  </a:lnTo>
                  <a:lnTo>
                    <a:pt x="898" y="284"/>
                  </a:lnTo>
                  <a:lnTo>
                    <a:pt x="881" y="279"/>
                  </a:lnTo>
                  <a:lnTo>
                    <a:pt x="863" y="273"/>
                  </a:lnTo>
                  <a:lnTo>
                    <a:pt x="845" y="271"/>
                  </a:lnTo>
                  <a:lnTo>
                    <a:pt x="826" y="270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66" name="组合 65"/>
          <p:cNvGrpSpPr/>
          <p:nvPr/>
        </p:nvGrpSpPr>
        <p:grpSpPr>
          <a:xfrm>
            <a:off x="4324260" y="4159424"/>
            <a:ext cx="864298" cy="745085"/>
            <a:chOff x="4324260" y="4159424"/>
            <a:chExt cx="864298" cy="745085"/>
          </a:xfrm>
        </p:grpSpPr>
        <p:sp>
          <p:nvSpPr>
            <p:cNvPr id="41" name="Hexagon 31"/>
            <p:cNvSpPr/>
            <p:nvPr/>
          </p:nvSpPr>
          <p:spPr>
            <a:xfrm>
              <a:off x="4324260" y="4159424"/>
              <a:ext cx="864298" cy="745085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100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4" name="Freeform 335"/>
            <p:cNvSpPr>
              <a:spLocks noEditPoints="1"/>
            </p:cNvSpPr>
            <p:nvPr/>
          </p:nvSpPr>
          <p:spPr bwMode="auto">
            <a:xfrm>
              <a:off x="4571018" y="4375152"/>
              <a:ext cx="364214" cy="313628"/>
            </a:xfrm>
            <a:custGeom>
              <a:avLst/>
              <a:gdLst>
                <a:gd name="T0" fmla="*/ 692 w 1008"/>
                <a:gd name="T1" fmla="*/ 831 h 867"/>
                <a:gd name="T2" fmla="*/ 586 w 1008"/>
                <a:gd name="T3" fmla="*/ 831 h 867"/>
                <a:gd name="T4" fmla="*/ 586 w 1008"/>
                <a:gd name="T5" fmla="*/ 302 h 867"/>
                <a:gd name="T6" fmla="*/ 692 w 1008"/>
                <a:gd name="T7" fmla="*/ 302 h 867"/>
                <a:gd name="T8" fmla="*/ 692 w 1008"/>
                <a:gd name="T9" fmla="*/ 831 h 867"/>
                <a:gd name="T10" fmla="*/ 410 w 1008"/>
                <a:gd name="T11" fmla="*/ 831 h 867"/>
                <a:gd name="T12" fmla="*/ 304 w 1008"/>
                <a:gd name="T13" fmla="*/ 831 h 867"/>
                <a:gd name="T14" fmla="*/ 304 w 1008"/>
                <a:gd name="T15" fmla="*/ 302 h 867"/>
                <a:gd name="T16" fmla="*/ 410 w 1008"/>
                <a:gd name="T17" fmla="*/ 302 h 867"/>
                <a:gd name="T18" fmla="*/ 410 w 1008"/>
                <a:gd name="T19" fmla="*/ 831 h 867"/>
                <a:gd name="T20" fmla="*/ 868 w 1008"/>
                <a:gd name="T21" fmla="*/ 302 h 867"/>
                <a:gd name="T22" fmla="*/ 1008 w 1008"/>
                <a:gd name="T23" fmla="*/ 302 h 867"/>
                <a:gd name="T24" fmla="*/ 497 w 1008"/>
                <a:gd name="T25" fmla="*/ 0 h 867"/>
                <a:gd name="T26" fmla="*/ 0 w 1008"/>
                <a:gd name="T27" fmla="*/ 302 h 867"/>
                <a:gd name="T28" fmla="*/ 127 w 1008"/>
                <a:gd name="T29" fmla="*/ 302 h 867"/>
                <a:gd name="T30" fmla="*/ 127 w 1008"/>
                <a:gd name="T31" fmla="*/ 831 h 867"/>
                <a:gd name="T32" fmla="*/ 57 w 1008"/>
                <a:gd name="T33" fmla="*/ 831 h 867"/>
                <a:gd name="T34" fmla="*/ 57 w 1008"/>
                <a:gd name="T35" fmla="*/ 867 h 867"/>
                <a:gd name="T36" fmla="*/ 127 w 1008"/>
                <a:gd name="T37" fmla="*/ 867 h 867"/>
                <a:gd name="T38" fmla="*/ 304 w 1008"/>
                <a:gd name="T39" fmla="*/ 867 h 867"/>
                <a:gd name="T40" fmla="*/ 410 w 1008"/>
                <a:gd name="T41" fmla="*/ 867 h 867"/>
                <a:gd name="T42" fmla="*/ 586 w 1008"/>
                <a:gd name="T43" fmla="*/ 867 h 867"/>
                <a:gd name="T44" fmla="*/ 692 w 1008"/>
                <a:gd name="T45" fmla="*/ 867 h 867"/>
                <a:gd name="T46" fmla="*/ 868 w 1008"/>
                <a:gd name="T47" fmla="*/ 867 h 867"/>
                <a:gd name="T48" fmla="*/ 938 w 1008"/>
                <a:gd name="T49" fmla="*/ 867 h 867"/>
                <a:gd name="T50" fmla="*/ 938 w 1008"/>
                <a:gd name="T51" fmla="*/ 831 h 867"/>
                <a:gd name="T52" fmla="*/ 868 w 1008"/>
                <a:gd name="T53" fmla="*/ 831 h 867"/>
                <a:gd name="T54" fmla="*/ 868 w 1008"/>
                <a:gd name="T55" fmla="*/ 302 h 8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008" h="867">
                  <a:moveTo>
                    <a:pt x="692" y="831"/>
                  </a:moveTo>
                  <a:lnTo>
                    <a:pt x="586" y="831"/>
                  </a:lnTo>
                  <a:lnTo>
                    <a:pt x="586" y="302"/>
                  </a:lnTo>
                  <a:lnTo>
                    <a:pt x="692" y="302"/>
                  </a:lnTo>
                  <a:lnTo>
                    <a:pt x="692" y="831"/>
                  </a:lnTo>
                  <a:close/>
                  <a:moveTo>
                    <a:pt x="410" y="831"/>
                  </a:moveTo>
                  <a:lnTo>
                    <a:pt x="304" y="831"/>
                  </a:lnTo>
                  <a:lnTo>
                    <a:pt x="304" y="302"/>
                  </a:lnTo>
                  <a:lnTo>
                    <a:pt x="410" y="302"/>
                  </a:lnTo>
                  <a:lnTo>
                    <a:pt x="410" y="831"/>
                  </a:lnTo>
                  <a:close/>
                  <a:moveTo>
                    <a:pt x="868" y="302"/>
                  </a:moveTo>
                  <a:lnTo>
                    <a:pt x="1008" y="302"/>
                  </a:lnTo>
                  <a:lnTo>
                    <a:pt x="497" y="0"/>
                  </a:lnTo>
                  <a:lnTo>
                    <a:pt x="0" y="302"/>
                  </a:lnTo>
                  <a:lnTo>
                    <a:pt x="127" y="302"/>
                  </a:lnTo>
                  <a:lnTo>
                    <a:pt x="127" y="831"/>
                  </a:lnTo>
                  <a:lnTo>
                    <a:pt x="57" y="831"/>
                  </a:lnTo>
                  <a:lnTo>
                    <a:pt x="57" y="867"/>
                  </a:lnTo>
                  <a:lnTo>
                    <a:pt x="127" y="867"/>
                  </a:lnTo>
                  <a:lnTo>
                    <a:pt x="304" y="867"/>
                  </a:lnTo>
                  <a:lnTo>
                    <a:pt x="410" y="867"/>
                  </a:lnTo>
                  <a:lnTo>
                    <a:pt x="586" y="867"/>
                  </a:lnTo>
                  <a:lnTo>
                    <a:pt x="692" y="867"/>
                  </a:lnTo>
                  <a:lnTo>
                    <a:pt x="868" y="867"/>
                  </a:lnTo>
                  <a:lnTo>
                    <a:pt x="938" y="867"/>
                  </a:lnTo>
                  <a:lnTo>
                    <a:pt x="938" y="831"/>
                  </a:lnTo>
                  <a:lnTo>
                    <a:pt x="868" y="831"/>
                  </a:lnTo>
                  <a:lnTo>
                    <a:pt x="868" y="302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65" name="组合 64"/>
          <p:cNvGrpSpPr/>
          <p:nvPr/>
        </p:nvGrpSpPr>
        <p:grpSpPr>
          <a:xfrm>
            <a:off x="6314978" y="3106259"/>
            <a:ext cx="864298" cy="745085"/>
            <a:chOff x="6314978" y="3106259"/>
            <a:chExt cx="864298" cy="745085"/>
          </a:xfrm>
        </p:grpSpPr>
        <p:sp>
          <p:nvSpPr>
            <p:cNvPr id="45" name="Hexagon 28"/>
            <p:cNvSpPr/>
            <p:nvPr/>
          </p:nvSpPr>
          <p:spPr>
            <a:xfrm>
              <a:off x="6314978" y="3106259"/>
              <a:ext cx="864298" cy="745085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100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grpSp>
          <p:nvGrpSpPr>
            <p:cNvPr id="46" name="Group 47"/>
            <p:cNvGrpSpPr/>
            <p:nvPr/>
          </p:nvGrpSpPr>
          <p:grpSpPr>
            <a:xfrm>
              <a:off x="6601152" y="3328012"/>
              <a:ext cx="291949" cy="335308"/>
              <a:chOff x="4132489" y="4029075"/>
              <a:chExt cx="320675" cy="368300"/>
            </a:xfrm>
            <a:solidFill>
              <a:srgbClr val="00ABF1"/>
            </a:solidFill>
          </p:grpSpPr>
          <p:sp>
            <p:nvSpPr>
              <p:cNvPr id="47" name="Freeform 133"/>
              <p:cNvSpPr/>
              <p:nvPr/>
            </p:nvSpPr>
            <p:spPr bwMode="auto">
              <a:xfrm>
                <a:off x="4230914" y="4029075"/>
                <a:ext cx="123825" cy="87313"/>
              </a:xfrm>
              <a:custGeom>
                <a:avLst/>
                <a:gdLst>
                  <a:gd name="T0" fmla="*/ 0 w 315"/>
                  <a:gd name="T1" fmla="*/ 219 h 219"/>
                  <a:gd name="T2" fmla="*/ 315 w 315"/>
                  <a:gd name="T3" fmla="*/ 219 h 219"/>
                  <a:gd name="T4" fmla="*/ 309 w 315"/>
                  <a:gd name="T5" fmla="*/ 206 h 219"/>
                  <a:gd name="T6" fmla="*/ 302 w 315"/>
                  <a:gd name="T7" fmla="*/ 194 h 219"/>
                  <a:gd name="T8" fmla="*/ 295 w 315"/>
                  <a:gd name="T9" fmla="*/ 183 h 219"/>
                  <a:gd name="T10" fmla="*/ 286 w 315"/>
                  <a:gd name="T11" fmla="*/ 173 h 219"/>
                  <a:gd name="T12" fmla="*/ 277 w 315"/>
                  <a:gd name="T13" fmla="*/ 162 h 219"/>
                  <a:gd name="T14" fmla="*/ 266 w 315"/>
                  <a:gd name="T15" fmla="*/ 153 h 219"/>
                  <a:gd name="T16" fmla="*/ 254 w 315"/>
                  <a:gd name="T17" fmla="*/ 145 h 219"/>
                  <a:gd name="T18" fmla="*/ 242 w 315"/>
                  <a:gd name="T19" fmla="*/ 137 h 219"/>
                  <a:gd name="T20" fmla="*/ 226 w 315"/>
                  <a:gd name="T21" fmla="*/ 127 h 219"/>
                  <a:gd name="T22" fmla="*/ 226 w 315"/>
                  <a:gd name="T23" fmla="*/ 108 h 219"/>
                  <a:gd name="T24" fmla="*/ 226 w 315"/>
                  <a:gd name="T25" fmla="*/ 67 h 219"/>
                  <a:gd name="T26" fmla="*/ 225 w 315"/>
                  <a:gd name="T27" fmla="*/ 60 h 219"/>
                  <a:gd name="T28" fmla="*/ 224 w 315"/>
                  <a:gd name="T29" fmla="*/ 53 h 219"/>
                  <a:gd name="T30" fmla="*/ 223 w 315"/>
                  <a:gd name="T31" fmla="*/ 46 h 219"/>
                  <a:gd name="T32" fmla="*/ 220 w 315"/>
                  <a:gd name="T33" fmla="*/ 41 h 219"/>
                  <a:gd name="T34" fmla="*/ 217 w 315"/>
                  <a:gd name="T35" fmla="*/ 35 h 219"/>
                  <a:gd name="T36" fmla="*/ 214 w 315"/>
                  <a:gd name="T37" fmla="*/ 29 h 219"/>
                  <a:gd name="T38" fmla="*/ 210 w 315"/>
                  <a:gd name="T39" fmla="*/ 24 h 219"/>
                  <a:gd name="T40" fmla="*/ 205 w 315"/>
                  <a:gd name="T41" fmla="*/ 19 h 219"/>
                  <a:gd name="T42" fmla="*/ 201 w 315"/>
                  <a:gd name="T43" fmla="*/ 15 h 219"/>
                  <a:gd name="T44" fmla="*/ 196 w 315"/>
                  <a:gd name="T45" fmla="*/ 11 h 219"/>
                  <a:gd name="T46" fmla="*/ 190 w 315"/>
                  <a:gd name="T47" fmla="*/ 8 h 219"/>
                  <a:gd name="T48" fmla="*/ 184 w 315"/>
                  <a:gd name="T49" fmla="*/ 4 h 219"/>
                  <a:gd name="T50" fmla="*/ 178 w 315"/>
                  <a:gd name="T51" fmla="*/ 2 h 219"/>
                  <a:gd name="T52" fmla="*/ 172 w 315"/>
                  <a:gd name="T53" fmla="*/ 1 h 219"/>
                  <a:gd name="T54" fmla="*/ 164 w 315"/>
                  <a:gd name="T55" fmla="*/ 0 h 219"/>
                  <a:gd name="T56" fmla="*/ 158 w 315"/>
                  <a:gd name="T57" fmla="*/ 0 h 219"/>
                  <a:gd name="T58" fmla="*/ 151 w 315"/>
                  <a:gd name="T59" fmla="*/ 0 h 219"/>
                  <a:gd name="T60" fmla="*/ 144 w 315"/>
                  <a:gd name="T61" fmla="*/ 1 h 219"/>
                  <a:gd name="T62" fmla="*/ 138 w 315"/>
                  <a:gd name="T63" fmla="*/ 2 h 219"/>
                  <a:gd name="T64" fmla="*/ 132 w 315"/>
                  <a:gd name="T65" fmla="*/ 4 h 219"/>
                  <a:gd name="T66" fmla="*/ 125 w 315"/>
                  <a:gd name="T67" fmla="*/ 8 h 219"/>
                  <a:gd name="T68" fmla="*/ 120 w 315"/>
                  <a:gd name="T69" fmla="*/ 11 h 219"/>
                  <a:gd name="T70" fmla="*/ 115 w 315"/>
                  <a:gd name="T71" fmla="*/ 15 h 219"/>
                  <a:gd name="T72" fmla="*/ 110 w 315"/>
                  <a:gd name="T73" fmla="*/ 19 h 219"/>
                  <a:gd name="T74" fmla="*/ 106 w 315"/>
                  <a:gd name="T75" fmla="*/ 24 h 219"/>
                  <a:gd name="T76" fmla="*/ 102 w 315"/>
                  <a:gd name="T77" fmla="*/ 29 h 219"/>
                  <a:gd name="T78" fmla="*/ 98 w 315"/>
                  <a:gd name="T79" fmla="*/ 35 h 219"/>
                  <a:gd name="T80" fmla="*/ 96 w 315"/>
                  <a:gd name="T81" fmla="*/ 41 h 219"/>
                  <a:gd name="T82" fmla="*/ 93 w 315"/>
                  <a:gd name="T83" fmla="*/ 46 h 219"/>
                  <a:gd name="T84" fmla="*/ 92 w 315"/>
                  <a:gd name="T85" fmla="*/ 53 h 219"/>
                  <a:gd name="T86" fmla="*/ 91 w 315"/>
                  <a:gd name="T87" fmla="*/ 60 h 219"/>
                  <a:gd name="T88" fmla="*/ 91 w 315"/>
                  <a:gd name="T89" fmla="*/ 67 h 219"/>
                  <a:gd name="T90" fmla="*/ 91 w 315"/>
                  <a:gd name="T91" fmla="*/ 108 h 219"/>
                  <a:gd name="T92" fmla="*/ 91 w 315"/>
                  <a:gd name="T93" fmla="*/ 127 h 219"/>
                  <a:gd name="T94" fmla="*/ 73 w 315"/>
                  <a:gd name="T95" fmla="*/ 137 h 219"/>
                  <a:gd name="T96" fmla="*/ 62 w 315"/>
                  <a:gd name="T97" fmla="*/ 145 h 219"/>
                  <a:gd name="T98" fmla="*/ 50 w 315"/>
                  <a:gd name="T99" fmla="*/ 153 h 219"/>
                  <a:gd name="T100" fmla="*/ 40 w 315"/>
                  <a:gd name="T101" fmla="*/ 162 h 219"/>
                  <a:gd name="T102" fmla="*/ 30 w 315"/>
                  <a:gd name="T103" fmla="*/ 173 h 219"/>
                  <a:gd name="T104" fmla="*/ 21 w 315"/>
                  <a:gd name="T105" fmla="*/ 183 h 219"/>
                  <a:gd name="T106" fmla="*/ 13 w 315"/>
                  <a:gd name="T107" fmla="*/ 194 h 219"/>
                  <a:gd name="T108" fmla="*/ 6 w 315"/>
                  <a:gd name="T109" fmla="*/ 206 h 219"/>
                  <a:gd name="T110" fmla="*/ 0 w 315"/>
                  <a:gd name="T111" fmla="*/ 219 h 2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15" h="219">
                    <a:moveTo>
                      <a:pt x="0" y="219"/>
                    </a:moveTo>
                    <a:lnTo>
                      <a:pt x="315" y="219"/>
                    </a:lnTo>
                    <a:lnTo>
                      <a:pt x="309" y="206"/>
                    </a:lnTo>
                    <a:lnTo>
                      <a:pt x="302" y="194"/>
                    </a:lnTo>
                    <a:lnTo>
                      <a:pt x="295" y="183"/>
                    </a:lnTo>
                    <a:lnTo>
                      <a:pt x="286" y="173"/>
                    </a:lnTo>
                    <a:lnTo>
                      <a:pt x="277" y="162"/>
                    </a:lnTo>
                    <a:lnTo>
                      <a:pt x="266" y="153"/>
                    </a:lnTo>
                    <a:lnTo>
                      <a:pt x="254" y="145"/>
                    </a:lnTo>
                    <a:lnTo>
                      <a:pt x="242" y="137"/>
                    </a:lnTo>
                    <a:lnTo>
                      <a:pt x="226" y="127"/>
                    </a:lnTo>
                    <a:lnTo>
                      <a:pt x="226" y="108"/>
                    </a:lnTo>
                    <a:lnTo>
                      <a:pt x="226" y="67"/>
                    </a:lnTo>
                    <a:lnTo>
                      <a:pt x="225" y="60"/>
                    </a:lnTo>
                    <a:lnTo>
                      <a:pt x="224" y="53"/>
                    </a:lnTo>
                    <a:lnTo>
                      <a:pt x="223" y="46"/>
                    </a:lnTo>
                    <a:lnTo>
                      <a:pt x="220" y="41"/>
                    </a:lnTo>
                    <a:lnTo>
                      <a:pt x="217" y="35"/>
                    </a:lnTo>
                    <a:lnTo>
                      <a:pt x="214" y="29"/>
                    </a:lnTo>
                    <a:lnTo>
                      <a:pt x="210" y="24"/>
                    </a:lnTo>
                    <a:lnTo>
                      <a:pt x="205" y="19"/>
                    </a:lnTo>
                    <a:lnTo>
                      <a:pt x="201" y="15"/>
                    </a:lnTo>
                    <a:lnTo>
                      <a:pt x="196" y="11"/>
                    </a:lnTo>
                    <a:lnTo>
                      <a:pt x="190" y="8"/>
                    </a:lnTo>
                    <a:lnTo>
                      <a:pt x="184" y="4"/>
                    </a:lnTo>
                    <a:lnTo>
                      <a:pt x="178" y="2"/>
                    </a:lnTo>
                    <a:lnTo>
                      <a:pt x="172" y="1"/>
                    </a:lnTo>
                    <a:lnTo>
                      <a:pt x="164" y="0"/>
                    </a:lnTo>
                    <a:lnTo>
                      <a:pt x="158" y="0"/>
                    </a:lnTo>
                    <a:lnTo>
                      <a:pt x="151" y="0"/>
                    </a:lnTo>
                    <a:lnTo>
                      <a:pt x="144" y="1"/>
                    </a:lnTo>
                    <a:lnTo>
                      <a:pt x="138" y="2"/>
                    </a:lnTo>
                    <a:lnTo>
                      <a:pt x="132" y="4"/>
                    </a:lnTo>
                    <a:lnTo>
                      <a:pt x="125" y="8"/>
                    </a:lnTo>
                    <a:lnTo>
                      <a:pt x="120" y="11"/>
                    </a:lnTo>
                    <a:lnTo>
                      <a:pt x="115" y="15"/>
                    </a:lnTo>
                    <a:lnTo>
                      <a:pt x="110" y="19"/>
                    </a:lnTo>
                    <a:lnTo>
                      <a:pt x="106" y="24"/>
                    </a:lnTo>
                    <a:lnTo>
                      <a:pt x="102" y="29"/>
                    </a:lnTo>
                    <a:lnTo>
                      <a:pt x="98" y="35"/>
                    </a:lnTo>
                    <a:lnTo>
                      <a:pt x="96" y="41"/>
                    </a:lnTo>
                    <a:lnTo>
                      <a:pt x="93" y="46"/>
                    </a:lnTo>
                    <a:lnTo>
                      <a:pt x="92" y="53"/>
                    </a:lnTo>
                    <a:lnTo>
                      <a:pt x="91" y="60"/>
                    </a:lnTo>
                    <a:lnTo>
                      <a:pt x="91" y="67"/>
                    </a:lnTo>
                    <a:lnTo>
                      <a:pt x="91" y="108"/>
                    </a:lnTo>
                    <a:lnTo>
                      <a:pt x="91" y="127"/>
                    </a:lnTo>
                    <a:lnTo>
                      <a:pt x="73" y="137"/>
                    </a:lnTo>
                    <a:lnTo>
                      <a:pt x="62" y="145"/>
                    </a:lnTo>
                    <a:lnTo>
                      <a:pt x="50" y="153"/>
                    </a:lnTo>
                    <a:lnTo>
                      <a:pt x="40" y="162"/>
                    </a:lnTo>
                    <a:lnTo>
                      <a:pt x="30" y="173"/>
                    </a:lnTo>
                    <a:lnTo>
                      <a:pt x="21" y="183"/>
                    </a:lnTo>
                    <a:lnTo>
                      <a:pt x="13" y="194"/>
                    </a:lnTo>
                    <a:lnTo>
                      <a:pt x="6" y="206"/>
                    </a:lnTo>
                    <a:lnTo>
                      <a:pt x="0" y="219"/>
                    </a:ln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48" name="Freeform 134"/>
              <p:cNvSpPr>
                <a:spLocks noEditPoints="1"/>
              </p:cNvSpPr>
              <p:nvPr/>
            </p:nvSpPr>
            <p:spPr bwMode="auto">
              <a:xfrm>
                <a:off x="4132489" y="4048125"/>
                <a:ext cx="320675" cy="349250"/>
              </a:xfrm>
              <a:custGeom>
                <a:avLst/>
                <a:gdLst>
                  <a:gd name="T0" fmla="*/ 607 w 810"/>
                  <a:gd name="T1" fmla="*/ 371 h 877"/>
                  <a:gd name="T2" fmla="*/ 203 w 810"/>
                  <a:gd name="T3" fmla="*/ 371 h 877"/>
                  <a:gd name="T4" fmla="*/ 203 w 810"/>
                  <a:gd name="T5" fmla="*/ 338 h 877"/>
                  <a:gd name="T6" fmla="*/ 607 w 810"/>
                  <a:gd name="T7" fmla="*/ 338 h 877"/>
                  <a:gd name="T8" fmla="*/ 607 w 810"/>
                  <a:gd name="T9" fmla="*/ 371 h 877"/>
                  <a:gd name="T10" fmla="*/ 607 w 810"/>
                  <a:gd name="T11" fmla="*/ 506 h 877"/>
                  <a:gd name="T12" fmla="*/ 203 w 810"/>
                  <a:gd name="T13" fmla="*/ 506 h 877"/>
                  <a:gd name="T14" fmla="*/ 203 w 810"/>
                  <a:gd name="T15" fmla="*/ 473 h 877"/>
                  <a:gd name="T16" fmla="*/ 607 w 810"/>
                  <a:gd name="T17" fmla="*/ 473 h 877"/>
                  <a:gd name="T18" fmla="*/ 607 w 810"/>
                  <a:gd name="T19" fmla="*/ 506 h 877"/>
                  <a:gd name="T20" fmla="*/ 473 w 810"/>
                  <a:gd name="T21" fmla="*/ 641 h 877"/>
                  <a:gd name="T22" fmla="*/ 203 w 810"/>
                  <a:gd name="T23" fmla="*/ 641 h 877"/>
                  <a:gd name="T24" fmla="*/ 203 w 810"/>
                  <a:gd name="T25" fmla="*/ 607 h 877"/>
                  <a:gd name="T26" fmla="*/ 473 w 810"/>
                  <a:gd name="T27" fmla="*/ 607 h 877"/>
                  <a:gd name="T28" fmla="*/ 473 w 810"/>
                  <a:gd name="T29" fmla="*/ 641 h 877"/>
                  <a:gd name="T30" fmla="*/ 504 w 810"/>
                  <a:gd name="T31" fmla="*/ 0 h 877"/>
                  <a:gd name="T32" fmla="*/ 506 w 810"/>
                  <a:gd name="T33" fmla="*/ 34 h 877"/>
                  <a:gd name="T34" fmla="*/ 506 w 810"/>
                  <a:gd name="T35" fmla="*/ 58 h 877"/>
                  <a:gd name="T36" fmla="*/ 516 w 810"/>
                  <a:gd name="T37" fmla="*/ 63 h 877"/>
                  <a:gd name="T38" fmla="*/ 525 w 810"/>
                  <a:gd name="T39" fmla="*/ 70 h 877"/>
                  <a:gd name="T40" fmla="*/ 534 w 810"/>
                  <a:gd name="T41" fmla="*/ 77 h 877"/>
                  <a:gd name="T42" fmla="*/ 543 w 810"/>
                  <a:gd name="T43" fmla="*/ 84 h 877"/>
                  <a:gd name="T44" fmla="*/ 551 w 810"/>
                  <a:gd name="T45" fmla="*/ 93 h 877"/>
                  <a:gd name="T46" fmla="*/ 558 w 810"/>
                  <a:gd name="T47" fmla="*/ 100 h 877"/>
                  <a:gd name="T48" fmla="*/ 566 w 810"/>
                  <a:gd name="T49" fmla="*/ 109 h 877"/>
                  <a:gd name="T50" fmla="*/ 572 w 810"/>
                  <a:gd name="T51" fmla="*/ 118 h 877"/>
                  <a:gd name="T52" fmla="*/ 579 w 810"/>
                  <a:gd name="T53" fmla="*/ 127 h 877"/>
                  <a:gd name="T54" fmla="*/ 584 w 810"/>
                  <a:gd name="T55" fmla="*/ 137 h 877"/>
                  <a:gd name="T56" fmla="*/ 589 w 810"/>
                  <a:gd name="T57" fmla="*/ 148 h 877"/>
                  <a:gd name="T58" fmla="*/ 595 w 810"/>
                  <a:gd name="T59" fmla="*/ 157 h 877"/>
                  <a:gd name="T60" fmla="*/ 598 w 810"/>
                  <a:gd name="T61" fmla="*/ 168 h 877"/>
                  <a:gd name="T62" fmla="*/ 602 w 810"/>
                  <a:gd name="T63" fmla="*/ 180 h 877"/>
                  <a:gd name="T64" fmla="*/ 605 w 810"/>
                  <a:gd name="T65" fmla="*/ 191 h 877"/>
                  <a:gd name="T66" fmla="*/ 607 w 810"/>
                  <a:gd name="T67" fmla="*/ 203 h 877"/>
                  <a:gd name="T68" fmla="*/ 203 w 810"/>
                  <a:gd name="T69" fmla="*/ 203 h 877"/>
                  <a:gd name="T70" fmla="*/ 205 w 810"/>
                  <a:gd name="T71" fmla="*/ 191 h 877"/>
                  <a:gd name="T72" fmla="*/ 208 w 810"/>
                  <a:gd name="T73" fmla="*/ 180 h 877"/>
                  <a:gd name="T74" fmla="*/ 211 w 810"/>
                  <a:gd name="T75" fmla="*/ 168 h 877"/>
                  <a:gd name="T76" fmla="*/ 216 w 810"/>
                  <a:gd name="T77" fmla="*/ 158 h 877"/>
                  <a:gd name="T78" fmla="*/ 220 w 810"/>
                  <a:gd name="T79" fmla="*/ 148 h 877"/>
                  <a:gd name="T80" fmla="*/ 225 w 810"/>
                  <a:gd name="T81" fmla="*/ 137 h 877"/>
                  <a:gd name="T82" fmla="*/ 231 w 810"/>
                  <a:gd name="T83" fmla="*/ 127 h 877"/>
                  <a:gd name="T84" fmla="*/ 237 w 810"/>
                  <a:gd name="T85" fmla="*/ 118 h 877"/>
                  <a:gd name="T86" fmla="*/ 244 w 810"/>
                  <a:gd name="T87" fmla="*/ 109 h 877"/>
                  <a:gd name="T88" fmla="*/ 251 w 810"/>
                  <a:gd name="T89" fmla="*/ 100 h 877"/>
                  <a:gd name="T90" fmla="*/ 259 w 810"/>
                  <a:gd name="T91" fmla="*/ 93 h 877"/>
                  <a:gd name="T92" fmla="*/ 268 w 810"/>
                  <a:gd name="T93" fmla="*/ 84 h 877"/>
                  <a:gd name="T94" fmla="*/ 275 w 810"/>
                  <a:gd name="T95" fmla="*/ 77 h 877"/>
                  <a:gd name="T96" fmla="*/ 285 w 810"/>
                  <a:gd name="T97" fmla="*/ 70 h 877"/>
                  <a:gd name="T98" fmla="*/ 293 w 810"/>
                  <a:gd name="T99" fmla="*/ 63 h 877"/>
                  <a:gd name="T100" fmla="*/ 303 w 810"/>
                  <a:gd name="T101" fmla="*/ 58 h 877"/>
                  <a:gd name="T102" fmla="*/ 303 w 810"/>
                  <a:gd name="T103" fmla="*/ 34 h 877"/>
                  <a:gd name="T104" fmla="*/ 305 w 810"/>
                  <a:gd name="T105" fmla="*/ 0 h 877"/>
                  <a:gd name="T106" fmla="*/ 0 w 810"/>
                  <a:gd name="T107" fmla="*/ 0 h 877"/>
                  <a:gd name="T108" fmla="*/ 0 w 810"/>
                  <a:gd name="T109" fmla="*/ 877 h 877"/>
                  <a:gd name="T110" fmla="*/ 810 w 810"/>
                  <a:gd name="T111" fmla="*/ 877 h 877"/>
                  <a:gd name="T112" fmla="*/ 810 w 810"/>
                  <a:gd name="T113" fmla="*/ 0 h 877"/>
                  <a:gd name="T114" fmla="*/ 504 w 810"/>
                  <a:gd name="T115" fmla="*/ 0 h 8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810" h="877">
                    <a:moveTo>
                      <a:pt x="607" y="371"/>
                    </a:moveTo>
                    <a:lnTo>
                      <a:pt x="203" y="371"/>
                    </a:lnTo>
                    <a:lnTo>
                      <a:pt x="203" y="338"/>
                    </a:lnTo>
                    <a:lnTo>
                      <a:pt x="607" y="338"/>
                    </a:lnTo>
                    <a:lnTo>
                      <a:pt x="607" y="371"/>
                    </a:lnTo>
                    <a:close/>
                    <a:moveTo>
                      <a:pt x="607" y="506"/>
                    </a:moveTo>
                    <a:lnTo>
                      <a:pt x="203" y="506"/>
                    </a:lnTo>
                    <a:lnTo>
                      <a:pt x="203" y="473"/>
                    </a:lnTo>
                    <a:lnTo>
                      <a:pt x="607" y="473"/>
                    </a:lnTo>
                    <a:lnTo>
                      <a:pt x="607" y="506"/>
                    </a:lnTo>
                    <a:close/>
                    <a:moveTo>
                      <a:pt x="473" y="641"/>
                    </a:moveTo>
                    <a:lnTo>
                      <a:pt x="203" y="641"/>
                    </a:lnTo>
                    <a:lnTo>
                      <a:pt x="203" y="607"/>
                    </a:lnTo>
                    <a:lnTo>
                      <a:pt x="473" y="607"/>
                    </a:lnTo>
                    <a:lnTo>
                      <a:pt x="473" y="641"/>
                    </a:lnTo>
                    <a:close/>
                    <a:moveTo>
                      <a:pt x="504" y="0"/>
                    </a:moveTo>
                    <a:lnTo>
                      <a:pt x="506" y="34"/>
                    </a:lnTo>
                    <a:lnTo>
                      <a:pt x="506" y="58"/>
                    </a:lnTo>
                    <a:lnTo>
                      <a:pt x="516" y="63"/>
                    </a:lnTo>
                    <a:lnTo>
                      <a:pt x="525" y="70"/>
                    </a:lnTo>
                    <a:lnTo>
                      <a:pt x="534" y="77"/>
                    </a:lnTo>
                    <a:lnTo>
                      <a:pt x="543" y="84"/>
                    </a:lnTo>
                    <a:lnTo>
                      <a:pt x="551" y="93"/>
                    </a:lnTo>
                    <a:lnTo>
                      <a:pt x="558" y="100"/>
                    </a:lnTo>
                    <a:lnTo>
                      <a:pt x="566" y="109"/>
                    </a:lnTo>
                    <a:lnTo>
                      <a:pt x="572" y="118"/>
                    </a:lnTo>
                    <a:lnTo>
                      <a:pt x="579" y="127"/>
                    </a:lnTo>
                    <a:lnTo>
                      <a:pt x="584" y="137"/>
                    </a:lnTo>
                    <a:lnTo>
                      <a:pt x="589" y="148"/>
                    </a:lnTo>
                    <a:lnTo>
                      <a:pt x="595" y="157"/>
                    </a:lnTo>
                    <a:lnTo>
                      <a:pt x="598" y="168"/>
                    </a:lnTo>
                    <a:lnTo>
                      <a:pt x="602" y="180"/>
                    </a:lnTo>
                    <a:lnTo>
                      <a:pt x="605" y="191"/>
                    </a:lnTo>
                    <a:lnTo>
                      <a:pt x="607" y="203"/>
                    </a:lnTo>
                    <a:lnTo>
                      <a:pt x="203" y="203"/>
                    </a:lnTo>
                    <a:lnTo>
                      <a:pt x="205" y="191"/>
                    </a:lnTo>
                    <a:lnTo>
                      <a:pt x="208" y="180"/>
                    </a:lnTo>
                    <a:lnTo>
                      <a:pt x="211" y="168"/>
                    </a:lnTo>
                    <a:lnTo>
                      <a:pt x="216" y="158"/>
                    </a:lnTo>
                    <a:lnTo>
                      <a:pt x="220" y="148"/>
                    </a:lnTo>
                    <a:lnTo>
                      <a:pt x="225" y="137"/>
                    </a:lnTo>
                    <a:lnTo>
                      <a:pt x="231" y="127"/>
                    </a:lnTo>
                    <a:lnTo>
                      <a:pt x="237" y="118"/>
                    </a:lnTo>
                    <a:lnTo>
                      <a:pt x="244" y="109"/>
                    </a:lnTo>
                    <a:lnTo>
                      <a:pt x="251" y="100"/>
                    </a:lnTo>
                    <a:lnTo>
                      <a:pt x="259" y="93"/>
                    </a:lnTo>
                    <a:lnTo>
                      <a:pt x="268" y="84"/>
                    </a:lnTo>
                    <a:lnTo>
                      <a:pt x="275" y="77"/>
                    </a:lnTo>
                    <a:lnTo>
                      <a:pt x="285" y="70"/>
                    </a:lnTo>
                    <a:lnTo>
                      <a:pt x="293" y="63"/>
                    </a:lnTo>
                    <a:lnTo>
                      <a:pt x="303" y="58"/>
                    </a:lnTo>
                    <a:lnTo>
                      <a:pt x="303" y="34"/>
                    </a:lnTo>
                    <a:lnTo>
                      <a:pt x="305" y="0"/>
                    </a:lnTo>
                    <a:lnTo>
                      <a:pt x="0" y="0"/>
                    </a:lnTo>
                    <a:lnTo>
                      <a:pt x="0" y="877"/>
                    </a:lnTo>
                    <a:lnTo>
                      <a:pt x="810" y="877"/>
                    </a:lnTo>
                    <a:lnTo>
                      <a:pt x="810" y="0"/>
                    </a:lnTo>
                    <a:lnTo>
                      <a:pt x="504" y="0"/>
                    </a:ln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</p:grpSp>
      <p:sp>
        <p:nvSpPr>
          <p:cNvPr id="51" name="TextBox 42"/>
          <p:cNvSpPr txBox="1"/>
          <p:nvPr/>
        </p:nvSpPr>
        <p:spPr>
          <a:xfrm>
            <a:off x="1235871" y="3697175"/>
            <a:ext cx="1739587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添加标题</a:t>
            </a:r>
          </a:p>
        </p:txBody>
      </p:sp>
      <p:sp>
        <p:nvSpPr>
          <p:cNvPr id="53" name="TextBox 53"/>
          <p:cNvSpPr txBox="1"/>
          <p:nvPr/>
        </p:nvSpPr>
        <p:spPr>
          <a:xfrm>
            <a:off x="5582430" y="2120032"/>
            <a:ext cx="3636741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55" name="TextBox 53"/>
          <p:cNvSpPr txBox="1"/>
          <p:nvPr/>
        </p:nvSpPr>
        <p:spPr>
          <a:xfrm>
            <a:off x="7449316" y="3173649"/>
            <a:ext cx="3636741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56" name="TextBox 53"/>
          <p:cNvSpPr txBox="1"/>
          <p:nvPr/>
        </p:nvSpPr>
        <p:spPr>
          <a:xfrm>
            <a:off x="5582429" y="4227267"/>
            <a:ext cx="3636741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49" name="文本框 48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完成情况</a:t>
            </a:r>
          </a:p>
        </p:txBody>
      </p:sp>
      <p:sp>
        <p:nvSpPr>
          <p:cNvPr id="50" name="文本框 49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COMPLE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6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2000"/>
                            </p:stCondLst>
                            <p:childTnLst>
                              <p:par>
                                <p:cTn id="3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500"/>
                            </p:stCondLst>
                            <p:childTnLst>
                              <p:par>
                                <p:cTn id="45" presetID="53" presetClass="entr" presetSubtype="52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53" presetClass="entr" presetSubtype="52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53" presetClass="entr" presetSubtype="52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6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>
                            <p:stCondLst>
                              <p:cond delay="3000"/>
                            </p:stCondLst>
                            <p:childTnLst>
                              <p:par>
                                <p:cTn id="6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5" grpId="0" animBg="1"/>
      <p:bldP spid="36" grpId="0" animBg="1"/>
      <p:bldP spid="37" grpId="0" animBg="1"/>
      <p:bldP spid="51" grpId="0"/>
      <p:bldP spid="53" grpId="0"/>
      <p:bldP spid="55" grpId="0"/>
      <p:bldP spid="5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774593" y="1602118"/>
            <a:ext cx="6654609" cy="4414049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en-US" altLang="zh-CN" sz="1350" dirty="0">
              <a:solidFill>
                <a:srgbClr val="262626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4" name="Rectangle 22"/>
          <p:cNvSpPr>
            <a:spLocks noChangeArrowheads="1"/>
          </p:cNvSpPr>
          <p:nvPr/>
        </p:nvSpPr>
        <p:spPr bwMode="auto">
          <a:xfrm>
            <a:off x="5530963" y="2550422"/>
            <a:ext cx="5989525" cy="1547744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txBody>
          <a:bodyPr anchor="ctr"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zh-CN" sz="1350">
              <a:solidFill>
                <a:srgbClr val="FFFFFF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5892966" y="2923687"/>
            <a:ext cx="5427073" cy="730803"/>
            <a:chOff x="2676066" y="1799802"/>
            <a:chExt cx="5427073" cy="730803"/>
          </a:xfrm>
        </p:grpSpPr>
        <p:sp>
          <p:nvSpPr>
            <p:cNvPr id="19" name="TextBox 53"/>
            <p:cNvSpPr txBox="1"/>
            <p:nvPr/>
          </p:nvSpPr>
          <p:spPr>
            <a:xfrm>
              <a:off x="2676066" y="2245334"/>
              <a:ext cx="5427073" cy="28527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0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22" name="TextBox 53"/>
          <p:cNvSpPr txBox="1"/>
          <p:nvPr/>
        </p:nvSpPr>
        <p:spPr>
          <a:xfrm>
            <a:off x="7694395" y="4451098"/>
            <a:ext cx="3560899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6" name="文本框 25"/>
          <p:cNvSpPr txBox="1"/>
          <p:nvPr/>
        </p:nvSpPr>
        <p:spPr>
          <a:xfrm>
            <a:off x="7694395" y="5623685"/>
            <a:ext cx="857927" cy="3693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63.6%</a:t>
            </a:r>
            <a:endParaRPr lang="zh-CN" altLang="en-US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9203629" y="5623685"/>
            <a:ext cx="857927" cy="369332"/>
          </a:xfrm>
          <a:prstGeom prst="rect">
            <a:avLst/>
          </a:prstGeom>
          <a:noFill/>
          <a:ln>
            <a:solidFill>
              <a:schemeClr val="accent2"/>
            </a:solidFill>
          </a:ln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56.7%</a:t>
            </a:r>
            <a:endParaRPr lang="zh-CN" altLang="en-US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cxnSp>
        <p:nvCxnSpPr>
          <p:cNvPr id="30" name="直接连接符 29"/>
          <p:cNvCxnSpPr/>
          <p:nvPr/>
        </p:nvCxnSpPr>
        <p:spPr>
          <a:xfrm>
            <a:off x="7694395" y="5222240"/>
            <a:ext cx="1073685" cy="0"/>
          </a:xfrm>
          <a:prstGeom prst="line">
            <a:avLst/>
          </a:prstGeom>
          <a:ln w="12700">
            <a:solidFill>
              <a:schemeClr val="lt1">
                <a:lumMod val="10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文本框 2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完成情况</a:t>
            </a:r>
          </a:p>
        </p:txBody>
      </p:sp>
      <p:sp>
        <p:nvSpPr>
          <p:cNvPr id="23" name="文本框 22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COMPLE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500"/>
                            </p:stCondLst>
                            <p:childTnLst>
                              <p:par>
                                <p:cTn id="26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8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4" grpId="0" animBg="1"/>
      <p:bldP spid="22" grpId="0"/>
      <p:bldP spid="26" grpId="0" animBg="1"/>
      <p:bldP spid="28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ounded Rectangle 40"/>
          <p:cNvSpPr/>
          <p:nvPr/>
        </p:nvSpPr>
        <p:spPr>
          <a:xfrm>
            <a:off x="3902330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4" name="Rounded Rectangle 41"/>
          <p:cNvSpPr/>
          <p:nvPr/>
        </p:nvSpPr>
        <p:spPr>
          <a:xfrm>
            <a:off x="5396265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5" name="Rounded Rectangle 42"/>
          <p:cNvSpPr/>
          <p:nvPr/>
        </p:nvSpPr>
        <p:spPr>
          <a:xfrm>
            <a:off x="6890201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6" name="Rounded Rectangle 51"/>
          <p:cNvSpPr/>
          <p:nvPr/>
        </p:nvSpPr>
        <p:spPr>
          <a:xfrm>
            <a:off x="8384136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7" name="Rounded Rectangle 52"/>
          <p:cNvSpPr/>
          <p:nvPr/>
        </p:nvSpPr>
        <p:spPr>
          <a:xfrm>
            <a:off x="9878068" y="3388119"/>
            <a:ext cx="1445774" cy="7551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4000" kern="1200">
              <a:solidFill>
                <a:prstClr val="white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76" name="组合 75"/>
          <p:cNvGrpSpPr/>
          <p:nvPr/>
        </p:nvGrpSpPr>
        <p:grpSpPr>
          <a:xfrm>
            <a:off x="800066" y="2144606"/>
            <a:ext cx="2651776" cy="3025988"/>
            <a:chOff x="800066" y="2144606"/>
            <a:chExt cx="2651776" cy="3025988"/>
          </a:xfrm>
        </p:grpSpPr>
        <p:sp>
          <p:nvSpPr>
            <p:cNvPr id="10" name="Freeform 36"/>
            <p:cNvSpPr/>
            <p:nvPr/>
          </p:nvSpPr>
          <p:spPr>
            <a:xfrm>
              <a:off x="800066" y="2144606"/>
              <a:ext cx="2651776" cy="3025988"/>
            </a:xfrm>
            <a:custGeom>
              <a:avLst/>
              <a:gdLst>
                <a:gd name="connsiteX0" fmla="*/ 1021691 w 2336780"/>
                <a:gd name="connsiteY0" fmla="*/ 26076 h 2666541"/>
                <a:gd name="connsiteX1" fmla="*/ 44173 w 2336780"/>
                <a:gd name="connsiteY1" fmla="*/ 845866 h 2666541"/>
                <a:gd name="connsiteX2" fmla="*/ 845865 w 2336780"/>
                <a:gd name="connsiteY2" fmla="*/ 2027048 h 2666541"/>
                <a:gd name="connsiteX3" fmla="*/ 1432592 w 2336780"/>
                <a:gd name="connsiteY3" fmla="*/ 1963815 h 2666541"/>
                <a:gd name="connsiteX4" fmla="*/ 1488842 w 2336780"/>
                <a:gd name="connsiteY4" fmla="*/ 1933031 h 2666541"/>
                <a:gd name="connsiteX5" fmla="*/ 1377325 w 2336780"/>
                <a:gd name="connsiteY5" fmla="*/ 1789209 h 2666541"/>
                <a:gd name="connsiteX6" fmla="*/ 1353182 w 2336780"/>
                <a:gd name="connsiteY6" fmla="*/ 1802314 h 2666541"/>
                <a:gd name="connsiteX7" fmla="*/ 1029613 w 2336780"/>
                <a:gd name="connsiteY7" fmla="*/ 1867639 h 2666541"/>
                <a:gd name="connsiteX8" fmla="*/ 198340 w 2336780"/>
                <a:gd name="connsiteY8" fmla="*/ 1036366 h 2666541"/>
                <a:gd name="connsiteX9" fmla="*/ 1029613 w 2336780"/>
                <a:gd name="connsiteY9" fmla="*/ 205093 h 2666541"/>
                <a:gd name="connsiteX10" fmla="*/ 1860886 w 2336780"/>
                <a:gd name="connsiteY10" fmla="*/ 1036366 h 2666541"/>
                <a:gd name="connsiteX11" fmla="*/ 1718918 w 2336780"/>
                <a:gd name="connsiteY11" fmla="*/ 1501139 h 2666541"/>
                <a:gd name="connsiteX12" fmla="*/ 1657810 w 2336780"/>
                <a:gd name="connsiteY12" fmla="*/ 1575202 h 2666541"/>
                <a:gd name="connsiteX13" fmla="*/ 1772950 w 2336780"/>
                <a:gd name="connsiteY13" fmla="*/ 1723697 h 2666541"/>
                <a:gd name="connsiteX14" fmla="*/ 1816942 w 2336780"/>
                <a:gd name="connsiteY14" fmla="*/ 1675033 h 2666541"/>
                <a:gd name="connsiteX15" fmla="*/ 2027047 w 2336780"/>
                <a:gd name="connsiteY15" fmla="*/ 1225356 h 2666541"/>
                <a:gd name="connsiteX16" fmla="*/ 1225355 w 2336780"/>
                <a:gd name="connsiteY16" fmla="*/ 44174 h 2666541"/>
                <a:gd name="connsiteX17" fmla="*/ 1021691 w 2336780"/>
                <a:gd name="connsiteY17" fmla="*/ 26076 h 2666541"/>
                <a:gd name="connsiteX18" fmla="*/ 1021333 w 2336780"/>
                <a:gd name="connsiteY18" fmla="*/ 83 h 2666541"/>
                <a:gd name="connsiteX19" fmla="*/ 1230241 w 2336780"/>
                <a:gd name="connsiteY19" fmla="*/ 18647 h 2666541"/>
                <a:gd name="connsiteX20" fmla="*/ 2052573 w 2336780"/>
                <a:gd name="connsiteY20" fmla="*/ 1230242 h 2666541"/>
                <a:gd name="connsiteX21" fmla="*/ 1837059 w 2336780"/>
                <a:gd name="connsiteY21" fmla="*/ 1691496 h 2666541"/>
                <a:gd name="connsiteX22" fmla="*/ 1789109 w 2336780"/>
                <a:gd name="connsiteY22" fmla="*/ 1744538 h 2666541"/>
                <a:gd name="connsiteX23" fmla="*/ 1799912 w 2336780"/>
                <a:gd name="connsiteY23" fmla="*/ 1758471 h 2666541"/>
                <a:gd name="connsiteX24" fmla="*/ 1837134 w 2336780"/>
                <a:gd name="connsiteY24" fmla="*/ 1748296 h 2666541"/>
                <a:gd name="connsiteX25" fmla="*/ 1871986 w 2336780"/>
                <a:gd name="connsiteY25" fmla="*/ 1768184 h 2666541"/>
                <a:gd name="connsiteX26" fmla="*/ 1893085 w 2336780"/>
                <a:gd name="connsiteY26" fmla="*/ 1795394 h 2666541"/>
                <a:gd name="connsiteX27" fmla="*/ 1897381 w 2336780"/>
                <a:gd name="connsiteY27" fmla="*/ 1853193 h 2666541"/>
                <a:gd name="connsiteX28" fmla="*/ 1884726 w 2336780"/>
                <a:gd name="connsiteY28" fmla="*/ 1867855 h 2666541"/>
                <a:gd name="connsiteX29" fmla="*/ 2267534 w 2336780"/>
                <a:gd name="connsiteY29" fmla="*/ 2361560 h 2666541"/>
                <a:gd name="connsiteX30" fmla="*/ 2282312 w 2336780"/>
                <a:gd name="connsiteY30" fmla="*/ 2357520 h 2666541"/>
                <a:gd name="connsiteX31" fmla="*/ 2310667 w 2336780"/>
                <a:gd name="connsiteY31" fmla="*/ 2373701 h 2666541"/>
                <a:gd name="connsiteX32" fmla="*/ 2327833 w 2336780"/>
                <a:gd name="connsiteY32" fmla="*/ 2395840 h 2666541"/>
                <a:gd name="connsiteX33" fmla="*/ 2320261 w 2336780"/>
                <a:gd name="connsiteY33" fmla="*/ 2455686 h 2666541"/>
                <a:gd name="connsiteX34" fmla="*/ 2059862 w 2336780"/>
                <a:gd name="connsiteY34" fmla="*/ 2657593 h 2666541"/>
                <a:gd name="connsiteX35" fmla="*/ 2000016 w 2336780"/>
                <a:gd name="connsiteY35" fmla="*/ 2650021 h 2666541"/>
                <a:gd name="connsiteX36" fmla="*/ 1982850 w 2336780"/>
                <a:gd name="connsiteY36" fmla="*/ 2627883 h 2666541"/>
                <a:gd name="connsiteX37" fmla="*/ 1974241 w 2336780"/>
                <a:gd name="connsiteY37" fmla="*/ 2596392 h 2666541"/>
                <a:gd name="connsiteX38" fmla="*/ 1986516 w 2336780"/>
                <a:gd name="connsiteY38" fmla="*/ 2574880 h 2666541"/>
                <a:gd name="connsiteX39" fmla="*/ 1606100 w 2336780"/>
                <a:gd name="connsiteY39" fmla="*/ 2084259 h 2666541"/>
                <a:gd name="connsiteX40" fmla="*/ 1606044 w 2336780"/>
                <a:gd name="connsiteY40" fmla="*/ 2084302 h 2666541"/>
                <a:gd name="connsiteX41" fmla="*/ 1532485 w 2336780"/>
                <a:gd name="connsiteY41" fmla="*/ 2074995 h 2666541"/>
                <a:gd name="connsiteX42" fmla="*/ 1511387 w 2336780"/>
                <a:gd name="connsiteY42" fmla="*/ 2047784 h 2666541"/>
                <a:gd name="connsiteX43" fmla="*/ 1520693 w 2336780"/>
                <a:gd name="connsiteY43" fmla="*/ 1974225 h 2666541"/>
                <a:gd name="connsiteX44" fmla="*/ 1520749 w 2336780"/>
                <a:gd name="connsiteY44" fmla="*/ 1974182 h 2666541"/>
                <a:gd name="connsiteX45" fmla="*/ 1507012 w 2336780"/>
                <a:gd name="connsiteY45" fmla="*/ 1956465 h 2666541"/>
                <a:gd name="connsiteX46" fmla="*/ 1442813 w 2336780"/>
                <a:gd name="connsiteY46" fmla="*/ 1987714 h 2666541"/>
                <a:gd name="connsiteX47" fmla="*/ 840980 w 2336780"/>
                <a:gd name="connsiteY47" fmla="*/ 2052575 h 2666541"/>
                <a:gd name="connsiteX48" fmla="*/ 18647 w 2336780"/>
                <a:gd name="connsiteY48" fmla="*/ 840981 h 2666541"/>
                <a:gd name="connsiteX49" fmla="*/ 1021333 w 2336780"/>
                <a:gd name="connsiteY49" fmla="*/ 83 h 26665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</a:cxnLst>
              <a:rect l="l" t="t" r="r" b="b"/>
              <a:pathLst>
                <a:path w="2336780" h="2666541">
                  <a:moveTo>
                    <a:pt x="1021691" y="26076"/>
                  </a:moveTo>
                  <a:cubicBezTo>
                    <a:pt x="552217" y="32060"/>
                    <a:pt x="135867" y="366755"/>
                    <a:pt x="44173" y="845866"/>
                  </a:cubicBezTo>
                  <a:cubicBezTo>
                    <a:pt x="-60621" y="1393421"/>
                    <a:pt x="298309" y="1922255"/>
                    <a:pt x="845865" y="2027048"/>
                  </a:cubicBezTo>
                  <a:cubicBezTo>
                    <a:pt x="1051198" y="2066346"/>
                    <a:pt x="1253899" y="2040432"/>
                    <a:pt x="1432592" y="1963815"/>
                  </a:cubicBezTo>
                  <a:lnTo>
                    <a:pt x="1488842" y="1933031"/>
                  </a:lnTo>
                  <a:lnTo>
                    <a:pt x="1377325" y="1789209"/>
                  </a:lnTo>
                  <a:lnTo>
                    <a:pt x="1353182" y="1802314"/>
                  </a:lnTo>
                  <a:cubicBezTo>
                    <a:pt x="1253730" y="1844378"/>
                    <a:pt x="1144388" y="1867639"/>
                    <a:pt x="1029613" y="1867639"/>
                  </a:cubicBezTo>
                  <a:cubicBezTo>
                    <a:pt x="570514" y="1867639"/>
                    <a:pt x="198340" y="1495465"/>
                    <a:pt x="198340" y="1036366"/>
                  </a:cubicBezTo>
                  <a:cubicBezTo>
                    <a:pt x="198340" y="577267"/>
                    <a:pt x="570514" y="205093"/>
                    <a:pt x="1029613" y="205093"/>
                  </a:cubicBezTo>
                  <a:cubicBezTo>
                    <a:pt x="1488712" y="205093"/>
                    <a:pt x="1860886" y="577267"/>
                    <a:pt x="1860886" y="1036366"/>
                  </a:cubicBezTo>
                  <a:cubicBezTo>
                    <a:pt x="1860886" y="1208528"/>
                    <a:pt x="1808549" y="1368467"/>
                    <a:pt x="1718918" y="1501139"/>
                  </a:cubicBezTo>
                  <a:lnTo>
                    <a:pt x="1657810" y="1575202"/>
                  </a:lnTo>
                  <a:lnTo>
                    <a:pt x="1772950" y="1723697"/>
                  </a:lnTo>
                  <a:lnTo>
                    <a:pt x="1816942" y="1675033"/>
                  </a:lnTo>
                  <a:cubicBezTo>
                    <a:pt x="1920141" y="1549158"/>
                    <a:pt x="1994299" y="1396467"/>
                    <a:pt x="2027047" y="1225356"/>
                  </a:cubicBezTo>
                  <a:cubicBezTo>
                    <a:pt x="2131841" y="677801"/>
                    <a:pt x="1772911" y="148967"/>
                    <a:pt x="1225355" y="44174"/>
                  </a:cubicBezTo>
                  <a:cubicBezTo>
                    <a:pt x="1156911" y="31074"/>
                    <a:pt x="1088759" y="25221"/>
                    <a:pt x="1021691" y="26076"/>
                  </a:cubicBezTo>
                  <a:close/>
                  <a:moveTo>
                    <a:pt x="1021333" y="83"/>
                  </a:moveTo>
                  <a:cubicBezTo>
                    <a:pt x="1090127" y="-794"/>
                    <a:pt x="1160034" y="5210"/>
                    <a:pt x="1230241" y="18647"/>
                  </a:cubicBezTo>
                  <a:cubicBezTo>
                    <a:pt x="1791894" y="126138"/>
                    <a:pt x="2160065" y="668588"/>
                    <a:pt x="2052573" y="1230242"/>
                  </a:cubicBezTo>
                  <a:cubicBezTo>
                    <a:pt x="2018982" y="1405758"/>
                    <a:pt x="1942915" y="1562380"/>
                    <a:pt x="1837059" y="1691496"/>
                  </a:cubicBezTo>
                  <a:lnTo>
                    <a:pt x="1789109" y="1744538"/>
                  </a:lnTo>
                  <a:lnTo>
                    <a:pt x="1799912" y="1758471"/>
                  </a:lnTo>
                  <a:lnTo>
                    <a:pt x="1837134" y="1748296"/>
                  </a:lnTo>
                  <a:cubicBezTo>
                    <a:pt x="1850446" y="1749980"/>
                    <a:pt x="1863115" y="1756742"/>
                    <a:pt x="1871986" y="1768184"/>
                  </a:cubicBezTo>
                  <a:lnTo>
                    <a:pt x="1893085" y="1795394"/>
                  </a:lnTo>
                  <a:cubicBezTo>
                    <a:pt x="1906392" y="1812556"/>
                    <a:pt x="1907375" y="1835372"/>
                    <a:pt x="1897381" y="1853193"/>
                  </a:cubicBezTo>
                  <a:lnTo>
                    <a:pt x="1884726" y="1867855"/>
                  </a:lnTo>
                  <a:lnTo>
                    <a:pt x="2267534" y="2361560"/>
                  </a:lnTo>
                  <a:lnTo>
                    <a:pt x="2282312" y="2357520"/>
                  </a:lnTo>
                  <a:cubicBezTo>
                    <a:pt x="2293142" y="2358891"/>
                    <a:pt x="2303449" y="2364393"/>
                    <a:pt x="2310667" y="2373701"/>
                  </a:cubicBezTo>
                  <a:lnTo>
                    <a:pt x="2327833" y="2395840"/>
                  </a:lnTo>
                  <a:cubicBezTo>
                    <a:pt x="2342268" y="2414457"/>
                    <a:pt x="2338878" y="2441251"/>
                    <a:pt x="2320261" y="2455686"/>
                  </a:cubicBezTo>
                  <a:lnTo>
                    <a:pt x="2059862" y="2657593"/>
                  </a:lnTo>
                  <a:cubicBezTo>
                    <a:pt x="2041245" y="2672029"/>
                    <a:pt x="2014451" y="2668639"/>
                    <a:pt x="2000016" y="2650021"/>
                  </a:cubicBezTo>
                  <a:lnTo>
                    <a:pt x="1982850" y="2627883"/>
                  </a:lnTo>
                  <a:cubicBezTo>
                    <a:pt x="1975632" y="2618574"/>
                    <a:pt x="1972871" y="2607221"/>
                    <a:pt x="1974241" y="2596392"/>
                  </a:cubicBezTo>
                  <a:lnTo>
                    <a:pt x="1986516" y="2574880"/>
                  </a:lnTo>
                  <a:lnTo>
                    <a:pt x="1606100" y="2084259"/>
                  </a:lnTo>
                  <a:lnTo>
                    <a:pt x="1606044" y="2084302"/>
                  </a:lnTo>
                  <a:cubicBezTo>
                    <a:pt x="1583161" y="2102045"/>
                    <a:pt x="1550228" y="2097878"/>
                    <a:pt x="1532485" y="2074995"/>
                  </a:cubicBezTo>
                  <a:lnTo>
                    <a:pt x="1511387" y="2047784"/>
                  </a:lnTo>
                  <a:cubicBezTo>
                    <a:pt x="1493644" y="2024901"/>
                    <a:pt x="1497810" y="1991968"/>
                    <a:pt x="1520693" y="1974225"/>
                  </a:cubicBezTo>
                  <a:lnTo>
                    <a:pt x="1520749" y="1974182"/>
                  </a:lnTo>
                  <a:lnTo>
                    <a:pt x="1507012" y="1956465"/>
                  </a:lnTo>
                  <a:lnTo>
                    <a:pt x="1442813" y="1987714"/>
                  </a:lnTo>
                  <a:cubicBezTo>
                    <a:pt x="1259519" y="2066304"/>
                    <a:pt x="1051600" y="2092885"/>
                    <a:pt x="840980" y="2052575"/>
                  </a:cubicBezTo>
                  <a:cubicBezTo>
                    <a:pt x="279326" y="1945084"/>
                    <a:pt x="-88845" y="1402634"/>
                    <a:pt x="18647" y="840981"/>
                  </a:cubicBezTo>
                  <a:cubicBezTo>
                    <a:pt x="112702" y="349534"/>
                    <a:pt x="539771" y="6221"/>
                    <a:pt x="1021333" y="83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 w="28575">
              <a:noFill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1828800" rtl="0"/>
              <a:endParaRPr lang="en-US" sz="3600" kern="1200" dirty="0">
                <a:solidFill>
                  <a:prstClr val="white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grpSp>
          <p:nvGrpSpPr>
            <p:cNvPr id="18" name="Group 31"/>
            <p:cNvGrpSpPr/>
            <p:nvPr/>
          </p:nvGrpSpPr>
          <p:grpSpPr>
            <a:xfrm>
              <a:off x="1352790" y="2771580"/>
              <a:ext cx="1270185" cy="1118522"/>
              <a:chOff x="9024937" y="1390650"/>
              <a:chExt cx="744538" cy="655638"/>
            </a:xfrm>
            <a:solidFill>
              <a:schemeClr val="bg1"/>
            </a:solidFill>
          </p:grpSpPr>
          <p:sp>
            <p:nvSpPr>
              <p:cNvPr id="19" name="Freeform 690"/>
              <p:cNvSpPr>
                <a:spLocks noEditPoints="1"/>
              </p:cNvSpPr>
              <p:nvPr/>
            </p:nvSpPr>
            <p:spPr bwMode="auto">
              <a:xfrm>
                <a:off x="9024937" y="1492250"/>
                <a:ext cx="744538" cy="307975"/>
              </a:xfrm>
              <a:custGeom>
                <a:avLst/>
                <a:gdLst>
                  <a:gd name="T0" fmla="*/ 1097 w 1407"/>
                  <a:gd name="T1" fmla="*/ 417 h 583"/>
                  <a:gd name="T2" fmla="*/ 1084 w 1407"/>
                  <a:gd name="T3" fmla="*/ 418 h 583"/>
                  <a:gd name="T4" fmla="*/ 1067 w 1407"/>
                  <a:gd name="T5" fmla="*/ 412 h 583"/>
                  <a:gd name="T6" fmla="*/ 1053 w 1407"/>
                  <a:gd name="T7" fmla="*/ 398 h 583"/>
                  <a:gd name="T8" fmla="*/ 1042 w 1407"/>
                  <a:gd name="T9" fmla="*/ 371 h 583"/>
                  <a:gd name="T10" fmla="*/ 1012 w 1407"/>
                  <a:gd name="T11" fmla="*/ 251 h 583"/>
                  <a:gd name="T12" fmla="*/ 988 w 1407"/>
                  <a:gd name="T13" fmla="*/ 190 h 583"/>
                  <a:gd name="T14" fmla="*/ 961 w 1407"/>
                  <a:gd name="T15" fmla="*/ 252 h 583"/>
                  <a:gd name="T16" fmla="*/ 946 w 1407"/>
                  <a:gd name="T17" fmla="*/ 305 h 583"/>
                  <a:gd name="T18" fmla="*/ 944 w 1407"/>
                  <a:gd name="T19" fmla="*/ 331 h 583"/>
                  <a:gd name="T20" fmla="*/ 838 w 1407"/>
                  <a:gd name="T21" fmla="*/ 497 h 583"/>
                  <a:gd name="T22" fmla="*/ 464 w 1407"/>
                  <a:gd name="T23" fmla="*/ 368 h 583"/>
                  <a:gd name="T24" fmla="*/ 462 w 1407"/>
                  <a:gd name="T25" fmla="*/ 319 h 583"/>
                  <a:gd name="T26" fmla="*/ 455 w 1407"/>
                  <a:gd name="T27" fmla="*/ 279 h 583"/>
                  <a:gd name="T28" fmla="*/ 428 w 1407"/>
                  <a:gd name="T29" fmla="*/ 207 h 583"/>
                  <a:gd name="T30" fmla="*/ 411 w 1407"/>
                  <a:gd name="T31" fmla="*/ 175 h 583"/>
                  <a:gd name="T32" fmla="*/ 365 w 1407"/>
                  <a:gd name="T33" fmla="*/ 371 h 583"/>
                  <a:gd name="T34" fmla="*/ 358 w 1407"/>
                  <a:gd name="T35" fmla="*/ 390 h 583"/>
                  <a:gd name="T36" fmla="*/ 346 w 1407"/>
                  <a:gd name="T37" fmla="*/ 408 h 583"/>
                  <a:gd name="T38" fmla="*/ 331 w 1407"/>
                  <a:gd name="T39" fmla="*/ 417 h 583"/>
                  <a:gd name="T40" fmla="*/ 311 w 1407"/>
                  <a:gd name="T41" fmla="*/ 417 h 583"/>
                  <a:gd name="T42" fmla="*/ 277 w 1407"/>
                  <a:gd name="T43" fmla="*/ 319 h 583"/>
                  <a:gd name="T44" fmla="*/ 300 w 1407"/>
                  <a:gd name="T45" fmla="*/ 209 h 583"/>
                  <a:gd name="T46" fmla="*/ 323 w 1407"/>
                  <a:gd name="T47" fmla="*/ 111 h 583"/>
                  <a:gd name="T48" fmla="*/ 336 w 1407"/>
                  <a:gd name="T49" fmla="*/ 80 h 583"/>
                  <a:gd name="T50" fmla="*/ 360 w 1407"/>
                  <a:gd name="T51" fmla="*/ 48 h 583"/>
                  <a:gd name="T52" fmla="*/ 403 w 1407"/>
                  <a:gd name="T53" fmla="*/ 18 h 583"/>
                  <a:gd name="T54" fmla="*/ 445 w 1407"/>
                  <a:gd name="T55" fmla="*/ 3 h 583"/>
                  <a:gd name="T56" fmla="*/ 485 w 1407"/>
                  <a:gd name="T57" fmla="*/ 0 h 583"/>
                  <a:gd name="T58" fmla="*/ 522 w 1407"/>
                  <a:gd name="T59" fmla="*/ 0 h 583"/>
                  <a:gd name="T60" fmla="*/ 535 w 1407"/>
                  <a:gd name="T61" fmla="*/ 47 h 583"/>
                  <a:gd name="T62" fmla="*/ 561 w 1407"/>
                  <a:gd name="T63" fmla="*/ 89 h 583"/>
                  <a:gd name="T64" fmla="*/ 595 w 1407"/>
                  <a:gd name="T65" fmla="*/ 123 h 583"/>
                  <a:gd name="T66" fmla="*/ 638 w 1407"/>
                  <a:gd name="T67" fmla="*/ 146 h 583"/>
                  <a:gd name="T68" fmla="*/ 687 w 1407"/>
                  <a:gd name="T69" fmla="*/ 157 h 583"/>
                  <a:gd name="T70" fmla="*/ 721 w 1407"/>
                  <a:gd name="T71" fmla="*/ 157 h 583"/>
                  <a:gd name="T72" fmla="*/ 769 w 1407"/>
                  <a:gd name="T73" fmla="*/ 146 h 583"/>
                  <a:gd name="T74" fmla="*/ 813 w 1407"/>
                  <a:gd name="T75" fmla="*/ 123 h 583"/>
                  <a:gd name="T76" fmla="*/ 847 w 1407"/>
                  <a:gd name="T77" fmla="*/ 89 h 583"/>
                  <a:gd name="T78" fmla="*/ 872 w 1407"/>
                  <a:gd name="T79" fmla="*/ 47 h 583"/>
                  <a:gd name="T80" fmla="*/ 886 w 1407"/>
                  <a:gd name="T81" fmla="*/ 0 h 583"/>
                  <a:gd name="T82" fmla="*/ 922 w 1407"/>
                  <a:gd name="T83" fmla="*/ 0 h 583"/>
                  <a:gd name="T84" fmla="*/ 962 w 1407"/>
                  <a:gd name="T85" fmla="*/ 3 h 583"/>
                  <a:gd name="T86" fmla="*/ 1005 w 1407"/>
                  <a:gd name="T87" fmla="*/ 18 h 583"/>
                  <a:gd name="T88" fmla="*/ 1048 w 1407"/>
                  <a:gd name="T89" fmla="*/ 48 h 583"/>
                  <a:gd name="T90" fmla="*/ 1071 w 1407"/>
                  <a:gd name="T91" fmla="*/ 80 h 583"/>
                  <a:gd name="T92" fmla="*/ 1085 w 1407"/>
                  <a:gd name="T93" fmla="*/ 111 h 583"/>
                  <a:gd name="T94" fmla="*/ 1108 w 1407"/>
                  <a:gd name="T95" fmla="*/ 209 h 583"/>
                  <a:gd name="T96" fmla="*/ 1407 w 1407"/>
                  <a:gd name="T97" fmla="*/ 319 h 583"/>
                  <a:gd name="T98" fmla="*/ 616 w 1407"/>
                  <a:gd name="T99" fmla="*/ 456 h 5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407" h="583">
                    <a:moveTo>
                      <a:pt x="1407" y="319"/>
                    </a:moveTo>
                    <a:lnTo>
                      <a:pt x="1407" y="417"/>
                    </a:lnTo>
                    <a:lnTo>
                      <a:pt x="1097" y="417"/>
                    </a:lnTo>
                    <a:lnTo>
                      <a:pt x="1097" y="417"/>
                    </a:lnTo>
                    <a:lnTo>
                      <a:pt x="1091" y="418"/>
                    </a:lnTo>
                    <a:lnTo>
                      <a:pt x="1084" y="418"/>
                    </a:lnTo>
                    <a:lnTo>
                      <a:pt x="1076" y="417"/>
                    </a:lnTo>
                    <a:lnTo>
                      <a:pt x="1071" y="415"/>
                    </a:lnTo>
                    <a:lnTo>
                      <a:pt x="1067" y="412"/>
                    </a:lnTo>
                    <a:lnTo>
                      <a:pt x="1062" y="408"/>
                    </a:lnTo>
                    <a:lnTo>
                      <a:pt x="1058" y="404"/>
                    </a:lnTo>
                    <a:lnTo>
                      <a:pt x="1053" y="398"/>
                    </a:lnTo>
                    <a:lnTo>
                      <a:pt x="1050" y="390"/>
                    </a:lnTo>
                    <a:lnTo>
                      <a:pt x="1046" y="382"/>
                    </a:lnTo>
                    <a:lnTo>
                      <a:pt x="1042" y="371"/>
                    </a:lnTo>
                    <a:lnTo>
                      <a:pt x="1042" y="371"/>
                    </a:lnTo>
                    <a:lnTo>
                      <a:pt x="1028" y="315"/>
                    </a:lnTo>
                    <a:lnTo>
                      <a:pt x="1012" y="251"/>
                    </a:lnTo>
                    <a:lnTo>
                      <a:pt x="996" y="175"/>
                    </a:lnTo>
                    <a:lnTo>
                      <a:pt x="996" y="175"/>
                    </a:lnTo>
                    <a:lnTo>
                      <a:pt x="988" y="190"/>
                    </a:lnTo>
                    <a:lnTo>
                      <a:pt x="979" y="207"/>
                    </a:lnTo>
                    <a:lnTo>
                      <a:pt x="969" y="228"/>
                    </a:lnTo>
                    <a:lnTo>
                      <a:pt x="961" y="252"/>
                    </a:lnTo>
                    <a:lnTo>
                      <a:pt x="952" y="279"/>
                    </a:lnTo>
                    <a:lnTo>
                      <a:pt x="949" y="292"/>
                    </a:lnTo>
                    <a:lnTo>
                      <a:pt x="946" y="305"/>
                    </a:lnTo>
                    <a:lnTo>
                      <a:pt x="945" y="319"/>
                    </a:lnTo>
                    <a:lnTo>
                      <a:pt x="944" y="331"/>
                    </a:lnTo>
                    <a:lnTo>
                      <a:pt x="944" y="331"/>
                    </a:lnTo>
                    <a:lnTo>
                      <a:pt x="944" y="413"/>
                    </a:lnTo>
                    <a:lnTo>
                      <a:pt x="838" y="413"/>
                    </a:lnTo>
                    <a:lnTo>
                      <a:pt x="838" y="497"/>
                    </a:lnTo>
                    <a:lnTo>
                      <a:pt x="701" y="583"/>
                    </a:lnTo>
                    <a:lnTo>
                      <a:pt x="464" y="368"/>
                    </a:lnTo>
                    <a:lnTo>
                      <a:pt x="464" y="368"/>
                    </a:lnTo>
                    <a:lnTo>
                      <a:pt x="464" y="331"/>
                    </a:lnTo>
                    <a:lnTo>
                      <a:pt x="464" y="331"/>
                    </a:lnTo>
                    <a:lnTo>
                      <a:pt x="462" y="319"/>
                    </a:lnTo>
                    <a:lnTo>
                      <a:pt x="461" y="305"/>
                    </a:lnTo>
                    <a:lnTo>
                      <a:pt x="459" y="292"/>
                    </a:lnTo>
                    <a:lnTo>
                      <a:pt x="455" y="279"/>
                    </a:lnTo>
                    <a:lnTo>
                      <a:pt x="447" y="252"/>
                    </a:lnTo>
                    <a:lnTo>
                      <a:pt x="438" y="228"/>
                    </a:lnTo>
                    <a:lnTo>
                      <a:pt x="428" y="207"/>
                    </a:lnTo>
                    <a:lnTo>
                      <a:pt x="420" y="190"/>
                    </a:lnTo>
                    <a:lnTo>
                      <a:pt x="411" y="175"/>
                    </a:lnTo>
                    <a:lnTo>
                      <a:pt x="411" y="175"/>
                    </a:lnTo>
                    <a:lnTo>
                      <a:pt x="396" y="251"/>
                    </a:lnTo>
                    <a:lnTo>
                      <a:pt x="380" y="315"/>
                    </a:lnTo>
                    <a:lnTo>
                      <a:pt x="365" y="371"/>
                    </a:lnTo>
                    <a:lnTo>
                      <a:pt x="365" y="371"/>
                    </a:lnTo>
                    <a:lnTo>
                      <a:pt x="363" y="382"/>
                    </a:lnTo>
                    <a:lnTo>
                      <a:pt x="358" y="390"/>
                    </a:lnTo>
                    <a:lnTo>
                      <a:pt x="354" y="398"/>
                    </a:lnTo>
                    <a:lnTo>
                      <a:pt x="349" y="404"/>
                    </a:lnTo>
                    <a:lnTo>
                      <a:pt x="346" y="408"/>
                    </a:lnTo>
                    <a:lnTo>
                      <a:pt x="341" y="412"/>
                    </a:lnTo>
                    <a:lnTo>
                      <a:pt x="336" y="415"/>
                    </a:lnTo>
                    <a:lnTo>
                      <a:pt x="331" y="417"/>
                    </a:lnTo>
                    <a:lnTo>
                      <a:pt x="324" y="418"/>
                    </a:lnTo>
                    <a:lnTo>
                      <a:pt x="317" y="418"/>
                    </a:lnTo>
                    <a:lnTo>
                      <a:pt x="311" y="417"/>
                    </a:lnTo>
                    <a:lnTo>
                      <a:pt x="0" y="417"/>
                    </a:lnTo>
                    <a:lnTo>
                      <a:pt x="0" y="319"/>
                    </a:lnTo>
                    <a:lnTo>
                      <a:pt x="277" y="319"/>
                    </a:lnTo>
                    <a:lnTo>
                      <a:pt x="277" y="319"/>
                    </a:lnTo>
                    <a:lnTo>
                      <a:pt x="286" y="271"/>
                    </a:lnTo>
                    <a:lnTo>
                      <a:pt x="300" y="209"/>
                    </a:lnTo>
                    <a:lnTo>
                      <a:pt x="319" y="123"/>
                    </a:lnTo>
                    <a:lnTo>
                      <a:pt x="319" y="123"/>
                    </a:lnTo>
                    <a:lnTo>
                      <a:pt x="323" y="111"/>
                    </a:lnTo>
                    <a:lnTo>
                      <a:pt x="326" y="100"/>
                    </a:lnTo>
                    <a:lnTo>
                      <a:pt x="331" y="89"/>
                    </a:lnTo>
                    <a:lnTo>
                      <a:pt x="336" y="80"/>
                    </a:lnTo>
                    <a:lnTo>
                      <a:pt x="341" y="71"/>
                    </a:lnTo>
                    <a:lnTo>
                      <a:pt x="347" y="63"/>
                    </a:lnTo>
                    <a:lnTo>
                      <a:pt x="360" y="48"/>
                    </a:lnTo>
                    <a:lnTo>
                      <a:pt x="374" y="36"/>
                    </a:lnTo>
                    <a:lnTo>
                      <a:pt x="388" y="26"/>
                    </a:lnTo>
                    <a:lnTo>
                      <a:pt x="403" y="18"/>
                    </a:lnTo>
                    <a:lnTo>
                      <a:pt x="417" y="12"/>
                    </a:lnTo>
                    <a:lnTo>
                      <a:pt x="432" y="7"/>
                    </a:lnTo>
                    <a:lnTo>
                      <a:pt x="445" y="3"/>
                    </a:lnTo>
                    <a:lnTo>
                      <a:pt x="457" y="2"/>
                    </a:lnTo>
                    <a:lnTo>
                      <a:pt x="470" y="0"/>
                    </a:lnTo>
                    <a:lnTo>
                      <a:pt x="485" y="0"/>
                    </a:lnTo>
                    <a:lnTo>
                      <a:pt x="491" y="0"/>
                    </a:lnTo>
                    <a:lnTo>
                      <a:pt x="522" y="0"/>
                    </a:lnTo>
                    <a:lnTo>
                      <a:pt x="522" y="0"/>
                    </a:lnTo>
                    <a:lnTo>
                      <a:pt x="525" y="17"/>
                    </a:lnTo>
                    <a:lnTo>
                      <a:pt x="529" y="32"/>
                    </a:lnTo>
                    <a:lnTo>
                      <a:pt x="535" y="47"/>
                    </a:lnTo>
                    <a:lnTo>
                      <a:pt x="542" y="63"/>
                    </a:lnTo>
                    <a:lnTo>
                      <a:pt x="551" y="76"/>
                    </a:lnTo>
                    <a:lnTo>
                      <a:pt x="561" y="89"/>
                    </a:lnTo>
                    <a:lnTo>
                      <a:pt x="572" y="101"/>
                    </a:lnTo>
                    <a:lnTo>
                      <a:pt x="582" y="112"/>
                    </a:lnTo>
                    <a:lnTo>
                      <a:pt x="595" y="123"/>
                    </a:lnTo>
                    <a:lnTo>
                      <a:pt x="609" y="132"/>
                    </a:lnTo>
                    <a:lnTo>
                      <a:pt x="622" y="139"/>
                    </a:lnTo>
                    <a:lnTo>
                      <a:pt x="638" y="146"/>
                    </a:lnTo>
                    <a:lnTo>
                      <a:pt x="654" y="151"/>
                    </a:lnTo>
                    <a:lnTo>
                      <a:pt x="670" y="155"/>
                    </a:lnTo>
                    <a:lnTo>
                      <a:pt x="687" y="157"/>
                    </a:lnTo>
                    <a:lnTo>
                      <a:pt x="704" y="158"/>
                    </a:lnTo>
                    <a:lnTo>
                      <a:pt x="704" y="158"/>
                    </a:lnTo>
                    <a:lnTo>
                      <a:pt x="721" y="157"/>
                    </a:lnTo>
                    <a:lnTo>
                      <a:pt x="738" y="155"/>
                    </a:lnTo>
                    <a:lnTo>
                      <a:pt x="753" y="151"/>
                    </a:lnTo>
                    <a:lnTo>
                      <a:pt x="769" y="146"/>
                    </a:lnTo>
                    <a:lnTo>
                      <a:pt x="785" y="139"/>
                    </a:lnTo>
                    <a:lnTo>
                      <a:pt x="798" y="132"/>
                    </a:lnTo>
                    <a:lnTo>
                      <a:pt x="813" y="123"/>
                    </a:lnTo>
                    <a:lnTo>
                      <a:pt x="825" y="112"/>
                    </a:lnTo>
                    <a:lnTo>
                      <a:pt x="837" y="101"/>
                    </a:lnTo>
                    <a:lnTo>
                      <a:pt x="847" y="89"/>
                    </a:lnTo>
                    <a:lnTo>
                      <a:pt x="857" y="76"/>
                    </a:lnTo>
                    <a:lnTo>
                      <a:pt x="865" y="63"/>
                    </a:lnTo>
                    <a:lnTo>
                      <a:pt x="872" y="47"/>
                    </a:lnTo>
                    <a:lnTo>
                      <a:pt x="878" y="32"/>
                    </a:lnTo>
                    <a:lnTo>
                      <a:pt x="882" y="17"/>
                    </a:lnTo>
                    <a:lnTo>
                      <a:pt x="886" y="0"/>
                    </a:lnTo>
                    <a:lnTo>
                      <a:pt x="916" y="0"/>
                    </a:lnTo>
                    <a:lnTo>
                      <a:pt x="916" y="0"/>
                    </a:lnTo>
                    <a:lnTo>
                      <a:pt x="922" y="0"/>
                    </a:lnTo>
                    <a:lnTo>
                      <a:pt x="939" y="0"/>
                    </a:lnTo>
                    <a:lnTo>
                      <a:pt x="950" y="2"/>
                    </a:lnTo>
                    <a:lnTo>
                      <a:pt x="962" y="3"/>
                    </a:lnTo>
                    <a:lnTo>
                      <a:pt x="976" y="7"/>
                    </a:lnTo>
                    <a:lnTo>
                      <a:pt x="990" y="12"/>
                    </a:lnTo>
                    <a:lnTo>
                      <a:pt x="1005" y="18"/>
                    </a:lnTo>
                    <a:lnTo>
                      <a:pt x="1019" y="26"/>
                    </a:lnTo>
                    <a:lnTo>
                      <a:pt x="1034" y="36"/>
                    </a:lnTo>
                    <a:lnTo>
                      <a:pt x="1048" y="48"/>
                    </a:lnTo>
                    <a:lnTo>
                      <a:pt x="1060" y="63"/>
                    </a:lnTo>
                    <a:lnTo>
                      <a:pt x="1067" y="71"/>
                    </a:lnTo>
                    <a:lnTo>
                      <a:pt x="1071" y="80"/>
                    </a:lnTo>
                    <a:lnTo>
                      <a:pt x="1076" y="89"/>
                    </a:lnTo>
                    <a:lnTo>
                      <a:pt x="1081" y="100"/>
                    </a:lnTo>
                    <a:lnTo>
                      <a:pt x="1085" y="111"/>
                    </a:lnTo>
                    <a:lnTo>
                      <a:pt x="1088" y="123"/>
                    </a:lnTo>
                    <a:lnTo>
                      <a:pt x="1088" y="123"/>
                    </a:lnTo>
                    <a:lnTo>
                      <a:pt x="1108" y="209"/>
                    </a:lnTo>
                    <a:lnTo>
                      <a:pt x="1121" y="271"/>
                    </a:lnTo>
                    <a:lnTo>
                      <a:pt x="1131" y="319"/>
                    </a:lnTo>
                    <a:lnTo>
                      <a:pt x="1407" y="319"/>
                    </a:lnTo>
                    <a:close/>
                    <a:moveTo>
                      <a:pt x="791" y="456"/>
                    </a:moveTo>
                    <a:lnTo>
                      <a:pt x="704" y="180"/>
                    </a:lnTo>
                    <a:lnTo>
                      <a:pt x="616" y="456"/>
                    </a:lnTo>
                    <a:lnTo>
                      <a:pt x="704" y="571"/>
                    </a:lnTo>
                    <a:lnTo>
                      <a:pt x="791" y="45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0" name="Freeform 691"/>
              <p:cNvSpPr/>
              <p:nvPr/>
            </p:nvSpPr>
            <p:spPr bwMode="auto">
              <a:xfrm>
                <a:off x="9459912" y="1941513"/>
                <a:ext cx="134938" cy="46037"/>
              </a:xfrm>
              <a:custGeom>
                <a:avLst/>
                <a:gdLst>
                  <a:gd name="T0" fmla="*/ 255 w 255"/>
                  <a:gd name="T1" fmla="*/ 36 h 87"/>
                  <a:gd name="T2" fmla="*/ 255 w 255"/>
                  <a:gd name="T3" fmla="*/ 38 h 87"/>
                  <a:gd name="T4" fmla="*/ 253 w 255"/>
                  <a:gd name="T5" fmla="*/ 44 h 87"/>
                  <a:gd name="T6" fmla="*/ 250 w 255"/>
                  <a:gd name="T7" fmla="*/ 50 h 87"/>
                  <a:gd name="T8" fmla="*/ 239 w 255"/>
                  <a:gd name="T9" fmla="*/ 62 h 87"/>
                  <a:gd name="T10" fmla="*/ 229 w 255"/>
                  <a:gd name="T11" fmla="*/ 69 h 87"/>
                  <a:gd name="T12" fmla="*/ 218 w 255"/>
                  <a:gd name="T13" fmla="*/ 74 h 87"/>
                  <a:gd name="T14" fmla="*/ 196 w 255"/>
                  <a:gd name="T15" fmla="*/ 80 h 87"/>
                  <a:gd name="T16" fmla="*/ 173 w 255"/>
                  <a:gd name="T17" fmla="*/ 85 h 87"/>
                  <a:gd name="T18" fmla="*/ 150 w 255"/>
                  <a:gd name="T19" fmla="*/ 87 h 87"/>
                  <a:gd name="T20" fmla="*/ 127 w 255"/>
                  <a:gd name="T21" fmla="*/ 87 h 87"/>
                  <a:gd name="T22" fmla="*/ 81 w 255"/>
                  <a:gd name="T23" fmla="*/ 85 h 87"/>
                  <a:gd name="T24" fmla="*/ 58 w 255"/>
                  <a:gd name="T25" fmla="*/ 80 h 87"/>
                  <a:gd name="T26" fmla="*/ 47 w 255"/>
                  <a:gd name="T27" fmla="*/ 78 h 87"/>
                  <a:gd name="T28" fmla="*/ 36 w 255"/>
                  <a:gd name="T29" fmla="*/ 74 h 87"/>
                  <a:gd name="T30" fmla="*/ 16 w 255"/>
                  <a:gd name="T31" fmla="*/ 62 h 87"/>
                  <a:gd name="T32" fmla="*/ 7 w 255"/>
                  <a:gd name="T33" fmla="*/ 55 h 87"/>
                  <a:gd name="T34" fmla="*/ 1 w 255"/>
                  <a:gd name="T35" fmla="*/ 44 h 87"/>
                  <a:gd name="T36" fmla="*/ 0 w 255"/>
                  <a:gd name="T37" fmla="*/ 38 h 87"/>
                  <a:gd name="T38" fmla="*/ 0 w 255"/>
                  <a:gd name="T39" fmla="*/ 36 h 87"/>
                  <a:gd name="T40" fmla="*/ 0 w 255"/>
                  <a:gd name="T41" fmla="*/ 33 h 87"/>
                  <a:gd name="T42" fmla="*/ 0 w 255"/>
                  <a:gd name="T43" fmla="*/ 0 h 87"/>
                  <a:gd name="T44" fmla="*/ 2 w 255"/>
                  <a:gd name="T45" fmla="*/ 0 h 87"/>
                  <a:gd name="T46" fmla="*/ 2 w 255"/>
                  <a:gd name="T47" fmla="*/ 1 h 87"/>
                  <a:gd name="T48" fmla="*/ 4 w 255"/>
                  <a:gd name="T49" fmla="*/ 6 h 87"/>
                  <a:gd name="T50" fmla="*/ 10 w 255"/>
                  <a:gd name="T51" fmla="*/ 16 h 87"/>
                  <a:gd name="T52" fmla="*/ 18 w 255"/>
                  <a:gd name="T53" fmla="*/ 23 h 87"/>
                  <a:gd name="T54" fmla="*/ 37 w 255"/>
                  <a:gd name="T55" fmla="*/ 34 h 87"/>
                  <a:gd name="T56" fmla="*/ 48 w 255"/>
                  <a:gd name="T57" fmla="*/ 38 h 87"/>
                  <a:gd name="T58" fmla="*/ 59 w 255"/>
                  <a:gd name="T59" fmla="*/ 41 h 87"/>
                  <a:gd name="T60" fmla="*/ 81 w 255"/>
                  <a:gd name="T61" fmla="*/ 45 h 87"/>
                  <a:gd name="T62" fmla="*/ 127 w 255"/>
                  <a:gd name="T63" fmla="*/ 47 h 87"/>
                  <a:gd name="T64" fmla="*/ 150 w 255"/>
                  <a:gd name="T65" fmla="*/ 47 h 87"/>
                  <a:gd name="T66" fmla="*/ 173 w 255"/>
                  <a:gd name="T67" fmla="*/ 45 h 87"/>
                  <a:gd name="T68" fmla="*/ 195 w 255"/>
                  <a:gd name="T69" fmla="*/ 41 h 87"/>
                  <a:gd name="T70" fmla="*/ 217 w 255"/>
                  <a:gd name="T71" fmla="*/ 34 h 87"/>
                  <a:gd name="T72" fmla="*/ 227 w 255"/>
                  <a:gd name="T73" fmla="*/ 29 h 87"/>
                  <a:gd name="T74" fmla="*/ 236 w 255"/>
                  <a:gd name="T75" fmla="*/ 23 h 87"/>
                  <a:gd name="T76" fmla="*/ 249 w 255"/>
                  <a:gd name="T77" fmla="*/ 11 h 87"/>
                  <a:gd name="T78" fmla="*/ 251 w 255"/>
                  <a:gd name="T79" fmla="*/ 6 h 87"/>
                  <a:gd name="T80" fmla="*/ 252 w 255"/>
                  <a:gd name="T81" fmla="*/ 1 h 87"/>
                  <a:gd name="T82" fmla="*/ 255 w 255"/>
                  <a:gd name="T83" fmla="*/ 0 h 87"/>
                  <a:gd name="T84" fmla="*/ 255 w 255"/>
                  <a:gd name="T85" fmla="*/ 33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5" h="87">
                    <a:moveTo>
                      <a:pt x="255" y="35"/>
                    </a:moveTo>
                    <a:lnTo>
                      <a:pt x="255" y="36"/>
                    </a:lnTo>
                    <a:lnTo>
                      <a:pt x="255" y="36"/>
                    </a:lnTo>
                    <a:lnTo>
                      <a:pt x="255" y="38"/>
                    </a:lnTo>
                    <a:lnTo>
                      <a:pt x="255" y="38"/>
                    </a:lnTo>
                    <a:lnTo>
                      <a:pt x="253" y="44"/>
                    </a:lnTo>
                    <a:lnTo>
                      <a:pt x="253" y="44"/>
                    </a:lnTo>
                    <a:lnTo>
                      <a:pt x="250" y="50"/>
                    </a:lnTo>
                    <a:lnTo>
                      <a:pt x="247" y="55"/>
                    </a:lnTo>
                    <a:lnTo>
                      <a:pt x="239" y="62"/>
                    </a:lnTo>
                    <a:lnTo>
                      <a:pt x="239" y="62"/>
                    </a:lnTo>
                    <a:lnTo>
                      <a:pt x="229" y="69"/>
                    </a:lnTo>
                    <a:lnTo>
                      <a:pt x="218" y="74"/>
                    </a:lnTo>
                    <a:lnTo>
                      <a:pt x="218" y="74"/>
                    </a:lnTo>
                    <a:lnTo>
                      <a:pt x="207" y="78"/>
                    </a:lnTo>
                    <a:lnTo>
                      <a:pt x="196" y="80"/>
                    </a:lnTo>
                    <a:lnTo>
                      <a:pt x="196" y="80"/>
                    </a:lnTo>
                    <a:lnTo>
                      <a:pt x="173" y="85"/>
                    </a:lnTo>
                    <a:lnTo>
                      <a:pt x="173" y="85"/>
                    </a:lnTo>
                    <a:lnTo>
                      <a:pt x="150" y="87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04" y="87"/>
                    </a:lnTo>
                    <a:lnTo>
                      <a:pt x="81" y="85"/>
                    </a:lnTo>
                    <a:lnTo>
                      <a:pt x="81" y="85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47" y="78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25" y="69"/>
                    </a:lnTo>
                    <a:lnTo>
                      <a:pt x="16" y="62"/>
                    </a:lnTo>
                    <a:lnTo>
                      <a:pt x="16" y="62"/>
                    </a:lnTo>
                    <a:lnTo>
                      <a:pt x="7" y="55"/>
                    </a:lnTo>
                    <a:lnTo>
                      <a:pt x="5" y="50"/>
                    </a:lnTo>
                    <a:lnTo>
                      <a:pt x="1" y="44"/>
                    </a:lnTo>
                    <a:lnTo>
                      <a:pt x="1" y="44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0" y="33"/>
                    </a:lnTo>
                    <a:lnTo>
                      <a:pt x="0" y="2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11"/>
                    </a:lnTo>
                    <a:lnTo>
                      <a:pt x="10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8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8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7"/>
                    </a:lnTo>
                    <a:lnTo>
                      <a:pt x="127" y="47"/>
                    </a:lnTo>
                    <a:lnTo>
                      <a:pt x="127" y="47"/>
                    </a:lnTo>
                    <a:lnTo>
                      <a:pt x="150" y="47"/>
                    </a:lnTo>
                    <a:lnTo>
                      <a:pt x="173" y="45"/>
                    </a:lnTo>
                    <a:lnTo>
                      <a:pt x="173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8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7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9" y="11"/>
                    </a:lnTo>
                    <a:lnTo>
                      <a:pt x="251" y="6"/>
                    </a:lnTo>
                    <a:lnTo>
                      <a:pt x="251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5" y="0"/>
                    </a:lnTo>
                    <a:lnTo>
                      <a:pt x="255" y="21"/>
                    </a:lnTo>
                    <a:lnTo>
                      <a:pt x="255" y="33"/>
                    </a:lnTo>
                    <a:lnTo>
                      <a:pt x="25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1" name="Freeform 692"/>
              <p:cNvSpPr/>
              <p:nvPr/>
            </p:nvSpPr>
            <p:spPr bwMode="auto">
              <a:xfrm>
                <a:off x="9459912" y="1903413"/>
                <a:ext cx="134938" cy="42862"/>
              </a:xfrm>
              <a:custGeom>
                <a:avLst/>
                <a:gdLst>
                  <a:gd name="T0" fmla="*/ 255 w 255"/>
                  <a:gd name="T1" fmla="*/ 72 h 83"/>
                  <a:gd name="T2" fmla="*/ 252 w 255"/>
                  <a:gd name="T3" fmla="*/ 69 h 83"/>
                  <a:gd name="T4" fmla="*/ 252 w 255"/>
                  <a:gd name="T5" fmla="*/ 56 h 83"/>
                  <a:gd name="T6" fmla="*/ 252 w 255"/>
                  <a:gd name="T7" fmla="*/ 42 h 83"/>
                  <a:gd name="T8" fmla="*/ 246 w 255"/>
                  <a:gd name="T9" fmla="*/ 50 h 83"/>
                  <a:gd name="T10" fmla="*/ 239 w 255"/>
                  <a:gd name="T11" fmla="*/ 57 h 83"/>
                  <a:gd name="T12" fmla="*/ 218 w 255"/>
                  <a:gd name="T13" fmla="*/ 68 h 83"/>
                  <a:gd name="T14" fmla="*/ 207 w 255"/>
                  <a:gd name="T15" fmla="*/ 73 h 83"/>
                  <a:gd name="T16" fmla="*/ 196 w 255"/>
                  <a:gd name="T17" fmla="*/ 76 h 83"/>
                  <a:gd name="T18" fmla="*/ 173 w 255"/>
                  <a:gd name="T19" fmla="*/ 80 h 83"/>
                  <a:gd name="T20" fmla="*/ 127 w 255"/>
                  <a:gd name="T21" fmla="*/ 83 h 83"/>
                  <a:gd name="T22" fmla="*/ 104 w 255"/>
                  <a:gd name="T23" fmla="*/ 82 h 83"/>
                  <a:gd name="T24" fmla="*/ 81 w 255"/>
                  <a:gd name="T25" fmla="*/ 80 h 83"/>
                  <a:gd name="T26" fmla="*/ 58 w 255"/>
                  <a:gd name="T27" fmla="*/ 76 h 83"/>
                  <a:gd name="T28" fmla="*/ 36 w 255"/>
                  <a:gd name="T29" fmla="*/ 68 h 83"/>
                  <a:gd name="T30" fmla="*/ 25 w 255"/>
                  <a:gd name="T31" fmla="*/ 63 h 83"/>
                  <a:gd name="T32" fmla="*/ 16 w 255"/>
                  <a:gd name="T33" fmla="*/ 57 h 83"/>
                  <a:gd name="T34" fmla="*/ 5 w 255"/>
                  <a:gd name="T35" fmla="*/ 45 h 83"/>
                  <a:gd name="T36" fmla="*/ 2 w 255"/>
                  <a:gd name="T37" fmla="*/ 56 h 83"/>
                  <a:gd name="T38" fmla="*/ 2 w 255"/>
                  <a:gd name="T39" fmla="*/ 69 h 83"/>
                  <a:gd name="T40" fmla="*/ 2 w 255"/>
                  <a:gd name="T41" fmla="*/ 72 h 83"/>
                  <a:gd name="T42" fmla="*/ 0 w 255"/>
                  <a:gd name="T43" fmla="*/ 72 h 83"/>
                  <a:gd name="T44" fmla="*/ 0 w 255"/>
                  <a:gd name="T45" fmla="*/ 67 h 83"/>
                  <a:gd name="T46" fmla="*/ 0 w 255"/>
                  <a:gd name="T47" fmla="*/ 33 h 83"/>
                  <a:gd name="T48" fmla="*/ 0 w 255"/>
                  <a:gd name="T49" fmla="*/ 33 h 83"/>
                  <a:gd name="T50" fmla="*/ 0 w 255"/>
                  <a:gd name="T51" fmla="*/ 31 h 83"/>
                  <a:gd name="T52" fmla="*/ 0 w 255"/>
                  <a:gd name="T53" fmla="*/ 16 h 83"/>
                  <a:gd name="T54" fmla="*/ 2 w 255"/>
                  <a:gd name="T55" fmla="*/ 0 h 83"/>
                  <a:gd name="T56" fmla="*/ 2 w 255"/>
                  <a:gd name="T57" fmla="*/ 2 h 83"/>
                  <a:gd name="T58" fmla="*/ 4 w 255"/>
                  <a:gd name="T59" fmla="*/ 6 h 83"/>
                  <a:gd name="T60" fmla="*/ 6 w 255"/>
                  <a:gd name="T61" fmla="*/ 11 h 83"/>
                  <a:gd name="T62" fmla="*/ 18 w 255"/>
                  <a:gd name="T63" fmla="*/ 23 h 83"/>
                  <a:gd name="T64" fmla="*/ 28 w 255"/>
                  <a:gd name="T65" fmla="*/ 29 h 83"/>
                  <a:gd name="T66" fmla="*/ 37 w 255"/>
                  <a:gd name="T67" fmla="*/ 34 h 83"/>
                  <a:gd name="T68" fmla="*/ 59 w 255"/>
                  <a:gd name="T69" fmla="*/ 42 h 83"/>
                  <a:gd name="T70" fmla="*/ 81 w 255"/>
                  <a:gd name="T71" fmla="*/ 45 h 83"/>
                  <a:gd name="T72" fmla="*/ 104 w 255"/>
                  <a:gd name="T73" fmla="*/ 48 h 83"/>
                  <a:gd name="T74" fmla="*/ 127 w 255"/>
                  <a:gd name="T75" fmla="*/ 49 h 83"/>
                  <a:gd name="T76" fmla="*/ 173 w 255"/>
                  <a:gd name="T77" fmla="*/ 45 h 83"/>
                  <a:gd name="T78" fmla="*/ 195 w 255"/>
                  <a:gd name="T79" fmla="*/ 42 h 83"/>
                  <a:gd name="T80" fmla="*/ 206 w 255"/>
                  <a:gd name="T81" fmla="*/ 39 h 83"/>
                  <a:gd name="T82" fmla="*/ 217 w 255"/>
                  <a:gd name="T83" fmla="*/ 34 h 83"/>
                  <a:gd name="T84" fmla="*/ 236 w 255"/>
                  <a:gd name="T85" fmla="*/ 23 h 83"/>
                  <a:gd name="T86" fmla="*/ 245 w 255"/>
                  <a:gd name="T87" fmla="*/ 16 h 83"/>
                  <a:gd name="T88" fmla="*/ 251 w 255"/>
                  <a:gd name="T89" fmla="*/ 6 h 83"/>
                  <a:gd name="T90" fmla="*/ 252 w 255"/>
                  <a:gd name="T91" fmla="*/ 2 h 83"/>
                  <a:gd name="T92" fmla="*/ 252 w 255"/>
                  <a:gd name="T93" fmla="*/ 0 h 83"/>
                  <a:gd name="T94" fmla="*/ 255 w 255"/>
                  <a:gd name="T95" fmla="*/ 16 h 83"/>
                  <a:gd name="T96" fmla="*/ 255 w 255"/>
                  <a:gd name="T97" fmla="*/ 31 h 83"/>
                  <a:gd name="T98" fmla="*/ 255 w 255"/>
                  <a:gd name="T99" fmla="*/ 32 h 83"/>
                  <a:gd name="T100" fmla="*/ 255 w 255"/>
                  <a:gd name="T101" fmla="*/ 33 h 83"/>
                  <a:gd name="T102" fmla="*/ 255 w 255"/>
                  <a:gd name="T103" fmla="*/ 6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5" h="83">
                    <a:moveTo>
                      <a:pt x="255" y="69"/>
                    </a:moveTo>
                    <a:lnTo>
                      <a:pt x="255" y="72"/>
                    </a:lnTo>
                    <a:lnTo>
                      <a:pt x="252" y="72"/>
                    </a:lnTo>
                    <a:lnTo>
                      <a:pt x="252" y="69"/>
                    </a:lnTo>
                    <a:lnTo>
                      <a:pt x="252" y="67"/>
                    </a:lnTo>
                    <a:lnTo>
                      <a:pt x="252" y="56"/>
                    </a:lnTo>
                    <a:lnTo>
                      <a:pt x="252" y="42"/>
                    </a:lnTo>
                    <a:lnTo>
                      <a:pt x="252" y="42"/>
                    </a:lnTo>
                    <a:lnTo>
                      <a:pt x="250" y="45"/>
                    </a:lnTo>
                    <a:lnTo>
                      <a:pt x="246" y="50"/>
                    </a:lnTo>
                    <a:lnTo>
                      <a:pt x="239" y="57"/>
                    </a:lnTo>
                    <a:lnTo>
                      <a:pt x="239" y="57"/>
                    </a:lnTo>
                    <a:lnTo>
                      <a:pt x="229" y="63"/>
                    </a:lnTo>
                    <a:lnTo>
                      <a:pt x="218" y="68"/>
                    </a:lnTo>
                    <a:lnTo>
                      <a:pt x="218" y="68"/>
                    </a:lnTo>
                    <a:lnTo>
                      <a:pt x="207" y="73"/>
                    </a:lnTo>
                    <a:lnTo>
                      <a:pt x="196" y="76"/>
                    </a:lnTo>
                    <a:lnTo>
                      <a:pt x="196" y="76"/>
                    </a:lnTo>
                    <a:lnTo>
                      <a:pt x="173" y="80"/>
                    </a:lnTo>
                    <a:lnTo>
                      <a:pt x="173" y="80"/>
                    </a:lnTo>
                    <a:lnTo>
                      <a:pt x="150" y="82"/>
                    </a:lnTo>
                    <a:lnTo>
                      <a:pt x="127" y="83"/>
                    </a:lnTo>
                    <a:lnTo>
                      <a:pt x="127" y="83"/>
                    </a:lnTo>
                    <a:lnTo>
                      <a:pt x="104" y="82"/>
                    </a:lnTo>
                    <a:lnTo>
                      <a:pt x="81" y="80"/>
                    </a:lnTo>
                    <a:lnTo>
                      <a:pt x="81" y="80"/>
                    </a:lnTo>
                    <a:lnTo>
                      <a:pt x="58" y="76"/>
                    </a:lnTo>
                    <a:lnTo>
                      <a:pt x="58" y="76"/>
                    </a:lnTo>
                    <a:lnTo>
                      <a:pt x="47" y="73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25" y="63"/>
                    </a:lnTo>
                    <a:lnTo>
                      <a:pt x="16" y="57"/>
                    </a:lnTo>
                    <a:lnTo>
                      <a:pt x="16" y="57"/>
                    </a:lnTo>
                    <a:lnTo>
                      <a:pt x="8" y="50"/>
                    </a:lnTo>
                    <a:lnTo>
                      <a:pt x="5" y="45"/>
                    </a:lnTo>
                    <a:lnTo>
                      <a:pt x="2" y="42"/>
                    </a:lnTo>
                    <a:lnTo>
                      <a:pt x="2" y="56"/>
                    </a:lnTo>
                    <a:lnTo>
                      <a:pt x="2" y="67"/>
                    </a:lnTo>
                    <a:lnTo>
                      <a:pt x="2" y="69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2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56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2"/>
                    </a:lnTo>
                    <a:lnTo>
                      <a:pt x="2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11"/>
                    </a:lnTo>
                    <a:lnTo>
                      <a:pt x="10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8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9"/>
                    </a:lnTo>
                    <a:lnTo>
                      <a:pt x="59" y="42"/>
                    </a:lnTo>
                    <a:lnTo>
                      <a:pt x="59" y="42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8"/>
                    </a:lnTo>
                    <a:lnTo>
                      <a:pt x="127" y="49"/>
                    </a:lnTo>
                    <a:lnTo>
                      <a:pt x="127" y="49"/>
                    </a:lnTo>
                    <a:lnTo>
                      <a:pt x="150" y="48"/>
                    </a:lnTo>
                    <a:lnTo>
                      <a:pt x="173" y="45"/>
                    </a:lnTo>
                    <a:lnTo>
                      <a:pt x="173" y="45"/>
                    </a:lnTo>
                    <a:lnTo>
                      <a:pt x="195" y="42"/>
                    </a:lnTo>
                    <a:lnTo>
                      <a:pt x="195" y="42"/>
                    </a:lnTo>
                    <a:lnTo>
                      <a:pt x="206" y="39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7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9" y="11"/>
                    </a:lnTo>
                    <a:lnTo>
                      <a:pt x="251" y="6"/>
                    </a:lnTo>
                    <a:lnTo>
                      <a:pt x="251" y="6"/>
                    </a:lnTo>
                    <a:lnTo>
                      <a:pt x="252" y="2"/>
                    </a:lnTo>
                    <a:lnTo>
                      <a:pt x="252" y="2"/>
                    </a:lnTo>
                    <a:lnTo>
                      <a:pt x="252" y="0"/>
                    </a:lnTo>
                    <a:lnTo>
                      <a:pt x="255" y="0"/>
                    </a:lnTo>
                    <a:lnTo>
                      <a:pt x="255" y="16"/>
                    </a:lnTo>
                    <a:lnTo>
                      <a:pt x="255" y="27"/>
                    </a:lnTo>
                    <a:lnTo>
                      <a:pt x="255" y="31"/>
                    </a:lnTo>
                    <a:lnTo>
                      <a:pt x="255" y="32"/>
                    </a:lnTo>
                    <a:lnTo>
                      <a:pt x="255" y="32"/>
                    </a:lnTo>
                    <a:lnTo>
                      <a:pt x="255" y="33"/>
                    </a:lnTo>
                    <a:lnTo>
                      <a:pt x="255" y="33"/>
                    </a:lnTo>
                    <a:lnTo>
                      <a:pt x="255" y="56"/>
                    </a:lnTo>
                    <a:lnTo>
                      <a:pt x="255" y="67"/>
                    </a:lnTo>
                    <a:lnTo>
                      <a:pt x="255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2" name="Freeform 693"/>
              <p:cNvSpPr/>
              <p:nvPr/>
            </p:nvSpPr>
            <p:spPr bwMode="auto">
              <a:xfrm>
                <a:off x="9459912" y="1862138"/>
                <a:ext cx="134938" cy="49212"/>
              </a:xfrm>
              <a:custGeom>
                <a:avLst/>
                <a:gdLst>
                  <a:gd name="T0" fmla="*/ 255 w 255"/>
                  <a:gd name="T1" fmla="*/ 76 h 91"/>
                  <a:gd name="T2" fmla="*/ 252 w 255"/>
                  <a:gd name="T3" fmla="*/ 69 h 91"/>
                  <a:gd name="T4" fmla="*/ 252 w 255"/>
                  <a:gd name="T5" fmla="*/ 48 h 91"/>
                  <a:gd name="T6" fmla="*/ 250 w 255"/>
                  <a:gd name="T7" fmla="*/ 53 h 91"/>
                  <a:gd name="T8" fmla="*/ 239 w 255"/>
                  <a:gd name="T9" fmla="*/ 65 h 91"/>
                  <a:gd name="T10" fmla="*/ 229 w 255"/>
                  <a:gd name="T11" fmla="*/ 71 h 91"/>
                  <a:gd name="T12" fmla="*/ 218 w 255"/>
                  <a:gd name="T13" fmla="*/ 76 h 91"/>
                  <a:gd name="T14" fmla="*/ 196 w 255"/>
                  <a:gd name="T15" fmla="*/ 84 h 91"/>
                  <a:gd name="T16" fmla="*/ 173 w 255"/>
                  <a:gd name="T17" fmla="*/ 87 h 91"/>
                  <a:gd name="T18" fmla="*/ 150 w 255"/>
                  <a:gd name="T19" fmla="*/ 90 h 91"/>
                  <a:gd name="T20" fmla="*/ 127 w 255"/>
                  <a:gd name="T21" fmla="*/ 91 h 91"/>
                  <a:gd name="T22" fmla="*/ 81 w 255"/>
                  <a:gd name="T23" fmla="*/ 87 h 91"/>
                  <a:gd name="T24" fmla="*/ 58 w 255"/>
                  <a:gd name="T25" fmla="*/ 84 h 91"/>
                  <a:gd name="T26" fmla="*/ 47 w 255"/>
                  <a:gd name="T27" fmla="*/ 80 h 91"/>
                  <a:gd name="T28" fmla="*/ 36 w 255"/>
                  <a:gd name="T29" fmla="*/ 76 h 91"/>
                  <a:gd name="T30" fmla="*/ 16 w 255"/>
                  <a:gd name="T31" fmla="*/ 65 h 91"/>
                  <a:gd name="T32" fmla="*/ 8 w 255"/>
                  <a:gd name="T33" fmla="*/ 58 h 91"/>
                  <a:gd name="T34" fmla="*/ 2 w 255"/>
                  <a:gd name="T35" fmla="*/ 48 h 91"/>
                  <a:gd name="T36" fmla="*/ 2 w 255"/>
                  <a:gd name="T37" fmla="*/ 69 h 91"/>
                  <a:gd name="T38" fmla="*/ 2 w 255"/>
                  <a:gd name="T39" fmla="*/ 76 h 91"/>
                  <a:gd name="T40" fmla="*/ 0 w 255"/>
                  <a:gd name="T41" fmla="*/ 76 h 91"/>
                  <a:gd name="T42" fmla="*/ 0 w 255"/>
                  <a:gd name="T43" fmla="*/ 61 h 91"/>
                  <a:gd name="T44" fmla="*/ 0 w 255"/>
                  <a:gd name="T45" fmla="*/ 35 h 91"/>
                  <a:gd name="T46" fmla="*/ 0 w 255"/>
                  <a:gd name="T47" fmla="*/ 1 h 91"/>
                  <a:gd name="T48" fmla="*/ 2 w 255"/>
                  <a:gd name="T49" fmla="*/ 0 h 91"/>
                  <a:gd name="T50" fmla="*/ 2 w 255"/>
                  <a:gd name="T51" fmla="*/ 1 h 91"/>
                  <a:gd name="T52" fmla="*/ 4 w 255"/>
                  <a:gd name="T53" fmla="*/ 6 h 91"/>
                  <a:gd name="T54" fmla="*/ 6 w 255"/>
                  <a:gd name="T55" fmla="*/ 11 h 91"/>
                  <a:gd name="T56" fmla="*/ 18 w 255"/>
                  <a:gd name="T57" fmla="*/ 23 h 91"/>
                  <a:gd name="T58" fmla="*/ 28 w 255"/>
                  <a:gd name="T59" fmla="*/ 29 h 91"/>
                  <a:gd name="T60" fmla="*/ 37 w 255"/>
                  <a:gd name="T61" fmla="*/ 34 h 91"/>
                  <a:gd name="T62" fmla="*/ 59 w 255"/>
                  <a:gd name="T63" fmla="*/ 41 h 91"/>
                  <a:gd name="T64" fmla="*/ 81 w 255"/>
                  <a:gd name="T65" fmla="*/ 45 h 91"/>
                  <a:gd name="T66" fmla="*/ 104 w 255"/>
                  <a:gd name="T67" fmla="*/ 47 h 91"/>
                  <a:gd name="T68" fmla="*/ 127 w 255"/>
                  <a:gd name="T69" fmla="*/ 47 h 91"/>
                  <a:gd name="T70" fmla="*/ 173 w 255"/>
                  <a:gd name="T71" fmla="*/ 45 h 91"/>
                  <a:gd name="T72" fmla="*/ 195 w 255"/>
                  <a:gd name="T73" fmla="*/ 41 h 91"/>
                  <a:gd name="T74" fmla="*/ 206 w 255"/>
                  <a:gd name="T75" fmla="*/ 37 h 91"/>
                  <a:gd name="T76" fmla="*/ 217 w 255"/>
                  <a:gd name="T77" fmla="*/ 34 h 91"/>
                  <a:gd name="T78" fmla="*/ 236 w 255"/>
                  <a:gd name="T79" fmla="*/ 23 h 91"/>
                  <a:gd name="T80" fmla="*/ 245 w 255"/>
                  <a:gd name="T81" fmla="*/ 16 h 91"/>
                  <a:gd name="T82" fmla="*/ 251 w 255"/>
                  <a:gd name="T83" fmla="*/ 6 h 91"/>
                  <a:gd name="T84" fmla="*/ 252 w 255"/>
                  <a:gd name="T85" fmla="*/ 1 h 91"/>
                  <a:gd name="T86" fmla="*/ 252 w 255"/>
                  <a:gd name="T87" fmla="*/ 0 h 91"/>
                  <a:gd name="T88" fmla="*/ 255 w 255"/>
                  <a:gd name="T89" fmla="*/ 1 h 91"/>
                  <a:gd name="T90" fmla="*/ 255 w 255"/>
                  <a:gd name="T91" fmla="*/ 35 h 91"/>
                  <a:gd name="T92" fmla="*/ 255 w 255"/>
                  <a:gd name="T93" fmla="*/ 61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55" h="91">
                    <a:moveTo>
                      <a:pt x="255" y="69"/>
                    </a:moveTo>
                    <a:lnTo>
                      <a:pt x="255" y="76"/>
                    </a:lnTo>
                    <a:lnTo>
                      <a:pt x="252" y="76"/>
                    </a:lnTo>
                    <a:lnTo>
                      <a:pt x="252" y="69"/>
                    </a:lnTo>
                    <a:lnTo>
                      <a:pt x="252" y="61"/>
                    </a:lnTo>
                    <a:lnTo>
                      <a:pt x="252" y="48"/>
                    </a:lnTo>
                    <a:lnTo>
                      <a:pt x="252" y="48"/>
                    </a:lnTo>
                    <a:lnTo>
                      <a:pt x="250" y="53"/>
                    </a:lnTo>
                    <a:lnTo>
                      <a:pt x="246" y="58"/>
                    </a:lnTo>
                    <a:lnTo>
                      <a:pt x="239" y="65"/>
                    </a:lnTo>
                    <a:lnTo>
                      <a:pt x="239" y="65"/>
                    </a:lnTo>
                    <a:lnTo>
                      <a:pt x="229" y="71"/>
                    </a:lnTo>
                    <a:lnTo>
                      <a:pt x="218" y="76"/>
                    </a:lnTo>
                    <a:lnTo>
                      <a:pt x="218" y="76"/>
                    </a:lnTo>
                    <a:lnTo>
                      <a:pt x="207" y="80"/>
                    </a:lnTo>
                    <a:lnTo>
                      <a:pt x="196" y="84"/>
                    </a:lnTo>
                    <a:lnTo>
                      <a:pt x="196" y="84"/>
                    </a:lnTo>
                    <a:lnTo>
                      <a:pt x="173" y="87"/>
                    </a:lnTo>
                    <a:lnTo>
                      <a:pt x="173" y="87"/>
                    </a:lnTo>
                    <a:lnTo>
                      <a:pt x="150" y="90"/>
                    </a:lnTo>
                    <a:lnTo>
                      <a:pt x="127" y="91"/>
                    </a:lnTo>
                    <a:lnTo>
                      <a:pt x="127" y="91"/>
                    </a:lnTo>
                    <a:lnTo>
                      <a:pt x="104" y="90"/>
                    </a:lnTo>
                    <a:lnTo>
                      <a:pt x="81" y="87"/>
                    </a:lnTo>
                    <a:lnTo>
                      <a:pt x="81" y="87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47" y="80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25" y="71"/>
                    </a:lnTo>
                    <a:lnTo>
                      <a:pt x="16" y="65"/>
                    </a:lnTo>
                    <a:lnTo>
                      <a:pt x="16" y="65"/>
                    </a:lnTo>
                    <a:lnTo>
                      <a:pt x="8" y="58"/>
                    </a:lnTo>
                    <a:lnTo>
                      <a:pt x="5" y="53"/>
                    </a:lnTo>
                    <a:lnTo>
                      <a:pt x="2" y="48"/>
                    </a:lnTo>
                    <a:lnTo>
                      <a:pt x="2" y="61"/>
                    </a:lnTo>
                    <a:lnTo>
                      <a:pt x="2" y="69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69"/>
                    </a:lnTo>
                    <a:lnTo>
                      <a:pt x="0" y="61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2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6" y="11"/>
                    </a:lnTo>
                    <a:lnTo>
                      <a:pt x="10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8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7"/>
                    </a:lnTo>
                    <a:lnTo>
                      <a:pt x="127" y="47"/>
                    </a:lnTo>
                    <a:lnTo>
                      <a:pt x="127" y="47"/>
                    </a:lnTo>
                    <a:lnTo>
                      <a:pt x="150" y="47"/>
                    </a:lnTo>
                    <a:lnTo>
                      <a:pt x="173" y="45"/>
                    </a:lnTo>
                    <a:lnTo>
                      <a:pt x="173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7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7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9" y="11"/>
                    </a:lnTo>
                    <a:lnTo>
                      <a:pt x="251" y="6"/>
                    </a:lnTo>
                    <a:lnTo>
                      <a:pt x="251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5" y="1"/>
                    </a:lnTo>
                    <a:lnTo>
                      <a:pt x="255" y="1"/>
                    </a:lnTo>
                    <a:lnTo>
                      <a:pt x="255" y="24"/>
                    </a:lnTo>
                    <a:lnTo>
                      <a:pt x="255" y="35"/>
                    </a:lnTo>
                    <a:lnTo>
                      <a:pt x="255" y="37"/>
                    </a:lnTo>
                    <a:lnTo>
                      <a:pt x="255" y="61"/>
                    </a:lnTo>
                    <a:lnTo>
                      <a:pt x="255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3" name="Freeform 694"/>
              <p:cNvSpPr>
                <a:spLocks noEditPoints="1"/>
              </p:cNvSpPr>
              <p:nvPr/>
            </p:nvSpPr>
            <p:spPr bwMode="auto">
              <a:xfrm>
                <a:off x="9459912" y="1819275"/>
                <a:ext cx="134938" cy="46037"/>
              </a:xfrm>
              <a:custGeom>
                <a:avLst/>
                <a:gdLst>
                  <a:gd name="T0" fmla="*/ 255 w 255"/>
                  <a:gd name="T1" fmla="*/ 83 h 88"/>
                  <a:gd name="T2" fmla="*/ 252 w 255"/>
                  <a:gd name="T3" fmla="*/ 83 h 88"/>
                  <a:gd name="T4" fmla="*/ 252 w 255"/>
                  <a:gd name="T5" fmla="*/ 78 h 88"/>
                  <a:gd name="T6" fmla="*/ 252 w 255"/>
                  <a:gd name="T7" fmla="*/ 53 h 88"/>
                  <a:gd name="T8" fmla="*/ 239 w 255"/>
                  <a:gd name="T9" fmla="*/ 65 h 88"/>
                  <a:gd name="T10" fmla="*/ 215 w 255"/>
                  <a:gd name="T11" fmla="*/ 76 h 88"/>
                  <a:gd name="T12" fmla="*/ 181 w 255"/>
                  <a:gd name="T13" fmla="*/ 84 h 88"/>
                  <a:gd name="T14" fmla="*/ 145 w 255"/>
                  <a:gd name="T15" fmla="*/ 87 h 88"/>
                  <a:gd name="T16" fmla="*/ 109 w 255"/>
                  <a:gd name="T17" fmla="*/ 87 h 88"/>
                  <a:gd name="T18" fmla="*/ 74 w 255"/>
                  <a:gd name="T19" fmla="*/ 84 h 88"/>
                  <a:gd name="T20" fmla="*/ 40 w 255"/>
                  <a:gd name="T21" fmla="*/ 76 h 88"/>
                  <a:gd name="T22" fmla="*/ 16 w 255"/>
                  <a:gd name="T23" fmla="*/ 65 h 88"/>
                  <a:gd name="T24" fmla="*/ 5 w 255"/>
                  <a:gd name="T25" fmla="*/ 56 h 88"/>
                  <a:gd name="T26" fmla="*/ 2 w 255"/>
                  <a:gd name="T27" fmla="*/ 78 h 88"/>
                  <a:gd name="T28" fmla="*/ 2 w 255"/>
                  <a:gd name="T29" fmla="*/ 83 h 88"/>
                  <a:gd name="T30" fmla="*/ 0 w 255"/>
                  <a:gd name="T31" fmla="*/ 84 h 88"/>
                  <a:gd name="T32" fmla="*/ 0 w 255"/>
                  <a:gd name="T33" fmla="*/ 78 h 88"/>
                  <a:gd name="T34" fmla="*/ 0 w 255"/>
                  <a:gd name="T35" fmla="*/ 44 h 88"/>
                  <a:gd name="T36" fmla="*/ 2 w 255"/>
                  <a:gd name="T37" fmla="*/ 34 h 88"/>
                  <a:gd name="T38" fmla="*/ 8 w 255"/>
                  <a:gd name="T39" fmla="*/ 28 h 88"/>
                  <a:gd name="T40" fmla="*/ 23 w 255"/>
                  <a:gd name="T41" fmla="*/ 19 h 88"/>
                  <a:gd name="T42" fmla="*/ 57 w 255"/>
                  <a:gd name="T43" fmla="*/ 8 h 88"/>
                  <a:gd name="T44" fmla="*/ 92 w 255"/>
                  <a:gd name="T45" fmla="*/ 2 h 88"/>
                  <a:gd name="T46" fmla="*/ 127 w 255"/>
                  <a:gd name="T47" fmla="*/ 0 h 88"/>
                  <a:gd name="T48" fmla="*/ 162 w 255"/>
                  <a:gd name="T49" fmla="*/ 2 h 88"/>
                  <a:gd name="T50" fmla="*/ 198 w 255"/>
                  <a:gd name="T51" fmla="*/ 8 h 88"/>
                  <a:gd name="T52" fmla="*/ 232 w 255"/>
                  <a:gd name="T53" fmla="*/ 19 h 88"/>
                  <a:gd name="T54" fmla="*/ 246 w 255"/>
                  <a:gd name="T55" fmla="*/ 28 h 88"/>
                  <a:gd name="T56" fmla="*/ 252 w 255"/>
                  <a:gd name="T57" fmla="*/ 34 h 88"/>
                  <a:gd name="T58" fmla="*/ 255 w 255"/>
                  <a:gd name="T59" fmla="*/ 67 h 88"/>
                  <a:gd name="T60" fmla="*/ 215 w 255"/>
                  <a:gd name="T61" fmla="*/ 33 h 88"/>
                  <a:gd name="T62" fmla="*/ 213 w 255"/>
                  <a:gd name="T63" fmla="*/ 28 h 88"/>
                  <a:gd name="T64" fmla="*/ 210 w 255"/>
                  <a:gd name="T65" fmla="*/ 23 h 88"/>
                  <a:gd name="T66" fmla="*/ 200 w 255"/>
                  <a:gd name="T67" fmla="*/ 17 h 88"/>
                  <a:gd name="T68" fmla="*/ 176 w 255"/>
                  <a:gd name="T69" fmla="*/ 10 h 88"/>
                  <a:gd name="T70" fmla="*/ 135 w 255"/>
                  <a:gd name="T71" fmla="*/ 5 h 88"/>
                  <a:gd name="T72" fmla="*/ 103 w 255"/>
                  <a:gd name="T73" fmla="*/ 6 h 88"/>
                  <a:gd name="T74" fmla="*/ 79 w 255"/>
                  <a:gd name="T75" fmla="*/ 10 h 88"/>
                  <a:gd name="T76" fmla="*/ 54 w 255"/>
                  <a:gd name="T77" fmla="*/ 17 h 88"/>
                  <a:gd name="T78" fmla="*/ 45 w 255"/>
                  <a:gd name="T79" fmla="*/ 23 h 88"/>
                  <a:gd name="T80" fmla="*/ 40 w 255"/>
                  <a:gd name="T81" fmla="*/ 31 h 88"/>
                  <a:gd name="T82" fmla="*/ 40 w 255"/>
                  <a:gd name="T83" fmla="*/ 36 h 88"/>
                  <a:gd name="T84" fmla="*/ 45 w 255"/>
                  <a:gd name="T85" fmla="*/ 43 h 88"/>
                  <a:gd name="T86" fmla="*/ 54 w 255"/>
                  <a:gd name="T87" fmla="*/ 49 h 88"/>
                  <a:gd name="T88" fmla="*/ 79 w 255"/>
                  <a:gd name="T89" fmla="*/ 56 h 88"/>
                  <a:gd name="T90" fmla="*/ 103 w 255"/>
                  <a:gd name="T91" fmla="*/ 60 h 88"/>
                  <a:gd name="T92" fmla="*/ 135 w 255"/>
                  <a:gd name="T93" fmla="*/ 61 h 88"/>
                  <a:gd name="T94" fmla="*/ 176 w 255"/>
                  <a:gd name="T95" fmla="*/ 56 h 88"/>
                  <a:gd name="T96" fmla="*/ 200 w 255"/>
                  <a:gd name="T97" fmla="*/ 49 h 88"/>
                  <a:gd name="T98" fmla="*/ 210 w 255"/>
                  <a:gd name="T99" fmla="*/ 43 h 88"/>
                  <a:gd name="T100" fmla="*/ 213 w 255"/>
                  <a:gd name="T101" fmla="*/ 38 h 88"/>
                  <a:gd name="T102" fmla="*/ 215 w 255"/>
                  <a:gd name="T103" fmla="*/ 3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5" h="88">
                    <a:moveTo>
                      <a:pt x="255" y="82"/>
                    </a:moveTo>
                    <a:lnTo>
                      <a:pt x="255" y="83"/>
                    </a:lnTo>
                    <a:lnTo>
                      <a:pt x="255" y="83"/>
                    </a:lnTo>
                    <a:lnTo>
                      <a:pt x="255" y="84"/>
                    </a:lnTo>
                    <a:lnTo>
                      <a:pt x="252" y="83"/>
                    </a:lnTo>
                    <a:lnTo>
                      <a:pt x="252" y="83"/>
                    </a:lnTo>
                    <a:lnTo>
                      <a:pt x="252" y="83"/>
                    </a:lnTo>
                    <a:lnTo>
                      <a:pt x="252" y="82"/>
                    </a:lnTo>
                    <a:lnTo>
                      <a:pt x="252" y="78"/>
                    </a:lnTo>
                    <a:lnTo>
                      <a:pt x="252" y="67"/>
                    </a:lnTo>
                    <a:lnTo>
                      <a:pt x="252" y="53"/>
                    </a:lnTo>
                    <a:lnTo>
                      <a:pt x="252" y="53"/>
                    </a:lnTo>
                    <a:lnTo>
                      <a:pt x="246" y="60"/>
                    </a:lnTo>
                    <a:lnTo>
                      <a:pt x="246" y="60"/>
                    </a:lnTo>
                    <a:lnTo>
                      <a:pt x="239" y="65"/>
                    </a:lnTo>
                    <a:lnTo>
                      <a:pt x="232" y="70"/>
                    </a:lnTo>
                    <a:lnTo>
                      <a:pt x="232" y="70"/>
                    </a:lnTo>
                    <a:lnTo>
                      <a:pt x="215" y="76"/>
                    </a:lnTo>
                    <a:lnTo>
                      <a:pt x="198" y="80"/>
                    </a:lnTo>
                    <a:lnTo>
                      <a:pt x="198" y="80"/>
                    </a:lnTo>
                    <a:lnTo>
                      <a:pt x="181" y="84"/>
                    </a:lnTo>
                    <a:lnTo>
                      <a:pt x="162" y="85"/>
                    </a:lnTo>
                    <a:lnTo>
                      <a:pt x="162" y="85"/>
                    </a:lnTo>
                    <a:lnTo>
                      <a:pt x="145" y="87"/>
                    </a:lnTo>
                    <a:lnTo>
                      <a:pt x="127" y="88"/>
                    </a:lnTo>
                    <a:lnTo>
                      <a:pt x="127" y="88"/>
                    </a:lnTo>
                    <a:lnTo>
                      <a:pt x="109" y="87"/>
                    </a:lnTo>
                    <a:lnTo>
                      <a:pt x="92" y="85"/>
                    </a:lnTo>
                    <a:lnTo>
                      <a:pt x="92" y="85"/>
                    </a:lnTo>
                    <a:lnTo>
                      <a:pt x="74" y="84"/>
                    </a:lnTo>
                    <a:lnTo>
                      <a:pt x="57" y="80"/>
                    </a:lnTo>
                    <a:lnTo>
                      <a:pt x="57" y="80"/>
                    </a:lnTo>
                    <a:lnTo>
                      <a:pt x="40" y="76"/>
                    </a:lnTo>
                    <a:lnTo>
                      <a:pt x="23" y="70"/>
                    </a:lnTo>
                    <a:lnTo>
                      <a:pt x="23" y="70"/>
                    </a:lnTo>
                    <a:lnTo>
                      <a:pt x="16" y="65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5" y="56"/>
                    </a:lnTo>
                    <a:lnTo>
                      <a:pt x="2" y="53"/>
                    </a:lnTo>
                    <a:lnTo>
                      <a:pt x="2" y="67"/>
                    </a:lnTo>
                    <a:lnTo>
                      <a:pt x="2" y="78"/>
                    </a:lnTo>
                    <a:lnTo>
                      <a:pt x="2" y="82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3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67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9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5" y="31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6" y="22"/>
                    </a:lnTo>
                    <a:lnTo>
                      <a:pt x="23" y="19"/>
                    </a:lnTo>
                    <a:lnTo>
                      <a:pt x="23" y="19"/>
                    </a:lnTo>
                    <a:lnTo>
                      <a:pt x="40" y="11"/>
                    </a:lnTo>
                    <a:lnTo>
                      <a:pt x="57" y="8"/>
                    </a:lnTo>
                    <a:lnTo>
                      <a:pt x="57" y="8"/>
                    </a:lnTo>
                    <a:lnTo>
                      <a:pt x="74" y="4"/>
                    </a:lnTo>
                    <a:lnTo>
                      <a:pt x="92" y="2"/>
                    </a:lnTo>
                    <a:lnTo>
                      <a:pt x="92" y="2"/>
                    </a:lnTo>
                    <a:lnTo>
                      <a:pt x="109" y="0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45" y="0"/>
                    </a:lnTo>
                    <a:lnTo>
                      <a:pt x="162" y="2"/>
                    </a:lnTo>
                    <a:lnTo>
                      <a:pt x="162" y="2"/>
                    </a:lnTo>
                    <a:lnTo>
                      <a:pt x="181" y="4"/>
                    </a:lnTo>
                    <a:lnTo>
                      <a:pt x="198" y="8"/>
                    </a:lnTo>
                    <a:lnTo>
                      <a:pt x="198" y="8"/>
                    </a:lnTo>
                    <a:lnTo>
                      <a:pt x="215" y="11"/>
                    </a:lnTo>
                    <a:lnTo>
                      <a:pt x="232" y="19"/>
                    </a:lnTo>
                    <a:lnTo>
                      <a:pt x="232" y="19"/>
                    </a:lnTo>
                    <a:lnTo>
                      <a:pt x="239" y="22"/>
                    </a:lnTo>
                    <a:lnTo>
                      <a:pt x="246" y="28"/>
                    </a:lnTo>
                    <a:lnTo>
                      <a:pt x="246" y="28"/>
                    </a:lnTo>
                    <a:lnTo>
                      <a:pt x="250" y="31"/>
                    </a:lnTo>
                    <a:lnTo>
                      <a:pt x="252" y="34"/>
                    </a:lnTo>
                    <a:lnTo>
                      <a:pt x="252" y="34"/>
                    </a:lnTo>
                    <a:lnTo>
                      <a:pt x="255" y="39"/>
                    </a:lnTo>
                    <a:lnTo>
                      <a:pt x="255" y="44"/>
                    </a:lnTo>
                    <a:lnTo>
                      <a:pt x="255" y="67"/>
                    </a:lnTo>
                    <a:lnTo>
                      <a:pt x="255" y="78"/>
                    </a:lnTo>
                    <a:lnTo>
                      <a:pt x="255" y="82"/>
                    </a:lnTo>
                    <a:close/>
                    <a:moveTo>
                      <a:pt x="215" y="33"/>
                    </a:moveTo>
                    <a:lnTo>
                      <a:pt x="215" y="33"/>
                    </a:lnTo>
                    <a:lnTo>
                      <a:pt x="215" y="31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0" y="23"/>
                    </a:lnTo>
                    <a:lnTo>
                      <a:pt x="210" y="23"/>
                    </a:lnTo>
                    <a:lnTo>
                      <a:pt x="205" y="20"/>
                    </a:lnTo>
                    <a:lnTo>
                      <a:pt x="200" y="17"/>
                    </a:lnTo>
                    <a:lnTo>
                      <a:pt x="200" y="17"/>
                    </a:lnTo>
                    <a:lnTo>
                      <a:pt x="188" y="12"/>
                    </a:lnTo>
                    <a:lnTo>
                      <a:pt x="176" y="10"/>
                    </a:lnTo>
                    <a:lnTo>
                      <a:pt x="176" y="10"/>
                    </a:lnTo>
                    <a:lnTo>
                      <a:pt x="155" y="6"/>
                    </a:lnTo>
                    <a:lnTo>
                      <a:pt x="135" y="5"/>
                    </a:lnTo>
                    <a:lnTo>
                      <a:pt x="135" y="5"/>
                    </a:lnTo>
                    <a:lnTo>
                      <a:pt x="127" y="5"/>
                    </a:lnTo>
                    <a:lnTo>
                      <a:pt x="127" y="5"/>
                    </a:lnTo>
                    <a:lnTo>
                      <a:pt x="103" y="6"/>
                    </a:lnTo>
                    <a:lnTo>
                      <a:pt x="91" y="8"/>
                    </a:lnTo>
                    <a:lnTo>
                      <a:pt x="79" y="10"/>
                    </a:lnTo>
                    <a:lnTo>
                      <a:pt x="79" y="10"/>
                    </a:lnTo>
                    <a:lnTo>
                      <a:pt x="67" y="12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50" y="20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0" y="31"/>
                    </a:lnTo>
                    <a:lnTo>
                      <a:pt x="40" y="33"/>
                    </a:lnTo>
                    <a:lnTo>
                      <a:pt x="40" y="33"/>
                    </a:lnTo>
                    <a:lnTo>
                      <a:pt x="40" y="36"/>
                    </a:lnTo>
                    <a:lnTo>
                      <a:pt x="41" y="38"/>
                    </a:lnTo>
                    <a:lnTo>
                      <a:pt x="41" y="38"/>
                    </a:lnTo>
                    <a:lnTo>
                      <a:pt x="45" y="43"/>
                    </a:lnTo>
                    <a:lnTo>
                      <a:pt x="45" y="43"/>
                    </a:lnTo>
                    <a:lnTo>
                      <a:pt x="50" y="46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67" y="54"/>
                    </a:lnTo>
                    <a:lnTo>
                      <a:pt x="79" y="56"/>
                    </a:lnTo>
                    <a:lnTo>
                      <a:pt x="79" y="56"/>
                    </a:lnTo>
                    <a:lnTo>
                      <a:pt x="91" y="59"/>
                    </a:lnTo>
                    <a:lnTo>
                      <a:pt x="103" y="60"/>
                    </a:lnTo>
                    <a:lnTo>
                      <a:pt x="127" y="61"/>
                    </a:lnTo>
                    <a:lnTo>
                      <a:pt x="127" y="61"/>
                    </a:lnTo>
                    <a:lnTo>
                      <a:pt x="135" y="61"/>
                    </a:lnTo>
                    <a:lnTo>
                      <a:pt x="135" y="61"/>
                    </a:lnTo>
                    <a:lnTo>
                      <a:pt x="155" y="60"/>
                    </a:lnTo>
                    <a:lnTo>
                      <a:pt x="176" y="56"/>
                    </a:lnTo>
                    <a:lnTo>
                      <a:pt x="176" y="56"/>
                    </a:lnTo>
                    <a:lnTo>
                      <a:pt x="188" y="54"/>
                    </a:lnTo>
                    <a:lnTo>
                      <a:pt x="200" y="49"/>
                    </a:lnTo>
                    <a:lnTo>
                      <a:pt x="200" y="49"/>
                    </a:lnTo>
                    <a:lnTo>
                      <a:pt x="205" y="46"/>
                    </a:lnTo>
                    <a:lnTo>
                      <a:pt x="210" y="43"/>
                    </a:lnTo>
                    <a:lnTo>
                      <a:pt x="210" y="43"/>
                    </a:lnTo>
                    <a:lnTo>
                      <a:pt x="213" y="38"/>
                    </a:lnTo>
                    <a:lnTo>
                      <a:pt x="213" y="38"/>
                    </a:lnTo>
                    <a:lnTo>
                      <a:pt x="215" y="36"/>
                    </a:lnTo>
                    <a:lnTo>
                      <a:pt x="215" y="33"/>
                    </a:lnTo>
                    <a:lnTo>
                      <a:pt x="215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4" name="Freeform 695"/>
              <p:cNvSpPr/>
              <p:nvPr/>
            </p:nvSpPr>
            <p:spPr bwMode="auto">
              <a:xfrm>
                <a:off x="9236075" y="1690688"/>
                <a:ext cx="354013" cy="158750"/>
              </a:xfrm>
              <a:custGeom>
                <a:avLst/>
                <a:gdLst>
                  <a:gd name="T0" fmla="*/ 669 w 669"/>
                  <a:gd name="T1" fmla="*/ 55 h 301"/>
                  <a:gd name="T2" fmla="*/ 566 w 669"/>
                  <a:gd name="T3" fmla="*/ 230 h 301"/>
                  <a:gd name="T4" fmla="*/ 566 w 669"/>
                  <a:gd name="T5" fmla="*/ 230 h 301"/>
                  <a:gd name="T6" fmla="*/ 563 w 669"/>
                  <a:gd name="T7" fmla="*/ 230 h 301"/>
                  <a:gd name="T8" fmla="*/ 558 w 669"/>
                  <a:gd name="T9" fmla="*/ 228 h 301"/>
                  <a:gd name="T10" fmla="*/ 541 w 669"/>
                  <a:gd name="T11" fmla="*/ 219 h 301"/>
                  <a:gd name="T12" fmla="*/ 541 w 669"/>
                  <a:gd name="T13" fmla="*/ 219 h 301"/>
                  <a:gd name="T14" fmla="*/ 526 w 669"/>
                  <a:gd name="T15" fmla="*/ 208 h 301"/>
                  <a:gd name="T16" fmla="*/ 522 w 669"/>
                  <a:gd name="T17" fmla="*/ 205 h 301"/>
                  <a:gd name="T18" fmla="*/ 521 w 669"/>
                  <a:gd name="T19" fmla="*/ 202 h 301"/>
                  <a:gd name="T20" fmla="*/ 549 w 669"/>
                  <a:gd name="T21" fmla="*/ 156 h 301"/>
                  <a:gd name="T22" fmla="*/ 283 w 669"/>
                  <a:gd name="T23" fmla="*/ 301 h 301"/>
                  <a:gd name="T24" fmla="*/ 0 w 669"/>
                  <a:gd name="T25" fmla="*/ 40 h 301"/>
                  <a:gd name="T26" fmla="*/ 0 w 669"/>
                  <a:gd name="T27" fmla="*/ 40 h 301"/>
                  <a:gd name="T28" fmla="*/ 0 w 669"/>
                  <a:gd name="T29" fmla="*/ 39 h 301"/>
                  <a:gd name="T30" fmla="*/ 0 w 669"/>
                  <a:gd name="T31" fmla="*/ 36 h 301"/>
                  <a:gd name="T32" fmla="*/ 3 w 669"/>
                  <a:gd name="T33" fmla="*/ 30 h 301"/>
                  <a:gd name="T34" fmla="*/ 8 w 669"/>
                  <a:gd name="T35" fmla="*/ 23 h 301"/>
                  <a:gd name="T36" fmla="*/ 14 w 669"/>
                  <a:gd name="T37" fmla="*/ 15 h 301"/>
                  <a:gd name="T38" fmla="*/ 14 w 669"/>
                  <a:gd name="T39" fmla="*/ 15 h 301"/>
                  <a:gd name="T40" fmla="*/ 21 w 669"/>
                  <a:gd name="T41" fmla="*/ 8 h 301"/>
                  <a:gd name="T42" fmla="*/ 28 w 669"/>
                  <a:gd name="T43" fmla="*/ 2 h 301"/>
                  <a:gd name="T44" fmla="*/ 33 w 669"/>
                  <a:gd name="T45" fmla="*/ 0 h 301"/>
                  <a:gd name="T46" fmla="*/ 35 w 669"/>
                  <a:gd name="T47" fmla="*/ 0 h 301"/>
                  <a:gd name="T48" fmla="*/ 37 w 669"/>
                  <a:gd name="T49" fmla="*/ 0 h 301"/>
                  <a:gd name="T50" fmla="*/ 291 w 669"/>
                  <a:gd name="T51" fmla="*/ 235 h 301"/>
                  <a:gd name="T52" fmla="*/ 519 w 669"/>
                  <a:gd name="T53" fmla="*/ 111 h 301"/>
                  <a:gd name="T54" fmla="*/ 467 w 669"/>
                  <a:gd name="T55" fmla="*/ 111 h 301"/>
                  <a:gd name="T56" fmla="*/ 467 w 669"/>
                  <a:gd name="T57" fmla="*/ 111 h 301"/>
                  <a:gd name="T58" fmla="*/ 466 w 669"/>
                  <a:gd name="T59" fmla="*/ 109 h 301"/>
                  <a:gd name="T60" fmla="*/ 465 w 669"/>
                  <a:gd name="T61" fmla="*/ 104 h 301"/>
                  <a:gd name="T62" fmla="*/ 464 w 669"/>
                  <a:gd name="T63" fmla="*/ 85 h 301"/>
                  <a:gd name="T64" fmla="*/ 464 w 669"/>
                  <a:gd name="T65" fmla="*/ 85 h 301"/>
                  <a:gd name="T66" fmla="*/ 465 w 669"/>
                  <a:gd name="T67" fmla="*/ 66 h 301"/>
                  <a:gd name="T68" fmla="*/ 466 w 669"/>
                  <a:gd name="T69" fmla="*/ 60 h 301"/>
                  <a:gd name="T70" fmla="*/ 467 w 669"/>
                  <a:gd name="T71" fmla="*/ 58 h 301"/>
                  <a:gd name="T72" fmla="*/ 669 w 669"/>
                  <a:gd name="T73" fmla="*/ 55 h 3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69" h="301">
                    <a:moveTo>
                      <a:pt x="669" y="55"/>
                    </a:moveTo>
                    <a:lnTo>
                      <a:pt x="566" y="230"/>
                    </a:lnTo>
                    <a:lnTo>
                      <a:pt x="566" y="230"/>
                    </a:lnTo>
                    <a:lnTo>
                      <a:pt x="563" y="230"/>
                    </a:lnTo>
                    <a:lnTo>
                      <a:pt x="558" y="228"/>
                    </a:lnTo>
                    <a:lnTo>
                      <a:pt x="541" y="219"/>
                    </a:lnTo>
                    <a:lnTo>
                      <a:pt x="541" y="219"/>
                    </a:lnTo>
                    <a:lnTo>
                      <a:pt x="526" y="208"/>
                    </a:lnTo>
                    <a:lnTo>
                      <a:pt x="522" y="205"/>
                    </a:lnTo>
                    <a:lnTo>
                      <a:pt x="521" y="202"/>
                    </a:lnTo>
                    <a:lnTo>
                      <a:pt x="549" y="156"/>
                    </a:lnTo>
                    <a:lnTo>
                      <a:pt x="283" y="301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9"/>
                    </a:lnTo>
                    <a:lnTo>
                      <a:pt x="0" y="36"/>
                    </a:lnTo>
                    <a:lnTo>
                      <a:pt x="3" y="30"/>
                    </a:lnTo>
                    <a:lnTo>
                      <a:pt x="8" y="23"/>
                    </a:lnTo>
                    <a:lnTo>
                      <a:pt x="14" y="15"/>
                    </a:lnTo>
                    <a:lnTo>
                      <a:pt x="14" y="15"/>
                    </a:lnTo>
                    <a:lnTo>
                      <a:pt x="21" y="8"/>
                    </a:lnTo>
                    <a:lnTo>
                      <a:pt x="28" y="2"/>
                    </a:lnTo>
                    <a:lnTo>
                      <a:pt x="33" y="0"/>
                    </a:lnTo>
                    <a:lnTo>
                      <a:pt x="35" y="0"/>
                    </a:lnTo>
                    <a:lnTo>
                      <a:pt x="37" y="0"/>
                    </a:lnTo>
                    <a:lnTo>
                      <a:pt x="291" y="235"/>
                    </a:lnTo>
                    <a:lnTo>
                      <a:pt x="519" y="111"/>
                    </a:lnTo>
                    <a:lnTo>
                      <a:pt x="467" y="111"/>
                    </a:lnTo>
                    <a:lnTo>
                      <a:pt x="467" y="111"/>
                    </a:lnTo>
                    <a:lnTo>
                      <a:pt x="466" y="109"/>
                    </a:lnTo>
                    <a:lnTo>
                      <a:pt x="465" y="104"/>
                    </a:lnTo>
                    <a:lnTo>
                      <a:pt x="464" y="85"/>
                    </a:lnTo>
                    <a:lnTo>
                      <a:pt x="464" y="85"/>
                    </a:lnTo>
                    <a:lnTo>
                      <a:pt x="465" y="66"/>
                    </a:lnTo>
                    <a:lnTo>
                      <a:pt x="466" y="60"/>
                    </a:lnTo>
                    <a:lnTo>
                      <a:pt x="467" y="58"/>
                    </a:lnTo>
                    <a:lnTo>
                      <a:pt x="669" y="55"/>
                    </a:ln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5" name="Freeform 696"/>
              <p:cNvSpPr>
                <a:spLocks noEditPoints="1"/>
              </p:cNvSpPr>
              <p:nvPr/>
            </p:nvSpPr>
            <p:spPr bwMode="auto">
              <a:xfrm>
                <a:off x="9512300" y="1822450"/>
                <a:ext cx="30163" cy="26987"/>
              </a:xfrm>
              <a:custGeom>
                <a:avLst/>
                <a:gdLst>
                  <a:gd name="T0" fmla="*/ 42 w 56"/>
                  <a:gd name="T1" fmla="*/ 15 h 51"/>
                  <a:gd name="T2" fmla="*/ 40 w 56"/>
                  <a:gd name="T3" fmla="*/ 14 h 51"/>
                  <a:gd name="T4" fmla="*/ 36 w 56"/>
                  <a:gd name="T5" fmla="*/ 11 h 51"/>
                  <a:gd name="T6" fmla="*/ 36 w 56"/>
                  <a:gd name="T7" fmla="*/ 23 h 51"/>
                  <a:gd name="T8" fmla="*/ 50 w 56"/>
                  <a:gd name="T9" fmla="*/ 26 h 51"/>
                  <a:gd name="T10" fmla="*/ 56 w 56"/>
                  <a:gd name="T11" fmla="*/ 32 h 51"/>
                  <a:gd name="T12" fmla="*/ 56 w 56"/>
                  <a:gd name="T13" fmla="*/ 35 h 51"/>
                  <a:gd name="T14" fmla="*/ 55 w 56"/>
                  <a:gd name="T15" fmla="*/ 40 h 51"/>
                  <a:gd name="T16" fmla="*/ 44 w 56"/>
                  <a:gd name="T17" fmla="*/ 46 h 51"/>
                  <a:gd name="T18" fmla="*/ 36 w 56"/>
                  <a:gd name="T19" fmla="*/ 51 h 51"/>
                  <a:gd name="T20" fmla="*/ 21 w 56"/>
                  <a:gd name="T21" fmla="*/ 47 h 51"/>
                  <a:gd name="T22" fmla="*/ 12 w 56"/>
                  <a:gd name="T23" fmla="*/ 46 h 51"/>
                  <a:gd name="T24" fmla="*/ 2 w 56"/>
                  <a:gd name="T25" fmla="*/ 40 h 51"/>
                  <a:gd name="T26" fmla="*/ 0 w 56"/>
                  <a:gd name="T27" fmla="*/ 35 h 51"/>
                  <a:gd name="T28" fmla="*/ 15 w 56"/>
                  <a:gd name="T29" fmla="*/ 35 h 51"/>
                  <a:gd name="T30" fmla="*/ 17 w 56"/>
                  <a:gd name="T31" fmla="*/ 37 h 51"/>
                  <a:gd name="T32" fmla="*/ 21 w 56"/>
                  <a:gd name="T33" fmla="*/ 29 h 51"/>
                  <a:gd name="T34" fmla="*/ 12 w 56"/>
                  <a:gd name="T35" fmla="*/ 26 h 51"/>
                  <a:gd name="T36" fmla="*/ 2 w 56"/>
                  <a:gd name="T37" fmla="*/ 20 h 51"/>
                  <a:gd name="T38" fmla="*/ 0 w 56"/>
                  <a:gd name="T39" fmla="*/ 15 h 51"/>
                  <a:gd name="T40" fmla="*/ 0 w 56"/>
                  <a:gd name="T41" fmla="*/ 13 h 51"/>
                  <a:gd name="T42" fmla="*/ 6 w 56"/>
                  <a:gd name="T43" fmla="*/ 8 h 51"/>
                  <a:gd name="T44" fmla="*/ 21 w 56"/>
                  <a:gd name="T45" fmla="*/ 3 h 51"/>
                  <a:gd name="T46" fmla="*/ 36 w 56"/>
                  <a:gd name="T47" fmla="*/ 0 h 51"/>
                  <a:gd name="T48" fmla="*/ 36 w 56"/>
                  <a:gd name="T49" fmla="*/ 3 h 51"/>
                  <a:gd name="T50" fmla="*/ 50 w 56"/>
                  <a:gd name="T51" fmla="*/ 8 h 51"/>
                  <a:gd name="T52" fmla="*/ 56 w 56"/>
                  <a:gd name="T53" fmla="*/ 13 h 51"/>
                  <a:gd name="T54" fmla="*/ 56 w 56"/>
                  <a:gd name="T55" fmla="*/ 15 h 51"/>
                  <a:gd name="T56" fmla="*/ 42 w 56"/>
                  <a:gd name="T57" fmla="*/ 35 h 51"/>
                  <a:gd name="T58" fmla="*/ 39 w 56"/>
                  <a:gd name="T59" fmla="*/ 32 h 51"/>
                  <a:gd name="T60" fmla="*/ 36 w 56"/>
                  <a:gd name="T61" fmla="*/ 40 h 51"/>
                  <a:gd name="T62" fmla="*/ 39 w 56"/>
                  <a:gd name="T63" fmla="*/ 37 h 51"/>
                  <a:gd name="T64" fmla="*/ 42 w 56"/>
                  <a:gd name="T65" fmla="*/ 35 h 51"/>
                  <a:gd name="T66" fmla="*/ 21 w 56"/>
                  <a:gd name="T67" fmla="*/ 20 h 51"/>
                  <a:gd name="T68" fmla="*/ 21 w 56"/>
                  <a:gd name="T69" fmla="*/ 11 h 51"/>
                  <a:gd name="T70" fmla="*/ 16 w 56"/>
                  <a:gd name="T71" fmla="*/ 14 h 51"/>
                  <a:gd name="T72" fmla="*/ 15 w 56"/>
                  <a:gd name="T73" fmla="*/ 15 h 51"/>
                  <a:gd name="T74" fmla="*/ 17 w 56"/>
                  <a:gd name="T75" fmla="*/ 19 h 51"/>
                  <a:gd name="T76" fmla="*/ 21 w 56"/>
                  <a:gd name="T77" fmla="*/ 2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6" h="51">
                    <a:moveTo>
                      <a:pt x="56" y="15"/>
                    </a:moveTo>
                    <a:lnTo>
                      <a:pt x="42" y="15"/>
                    </a:lnTo>
                    <a:lnTo>
                      <a:pt x="42" y="15"/>
                    </a:lnTo>
                    <a:lnTo>
                      <a:pt x="40" y="14"/>
                    </a:lnTo>
                    <a:lnTo>
                      <a:pt x="39" y="13"/>
                    </a:lnTo>
                    <a:lnTo>
                      <a:pt x="36" y="11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44" y="24"/>
                    </a:lnTo>
                    <a:lnTo>
                      <a:pt x="50" y="26"/>
                    </a:lnTo>
                    <a:lnTo>
                      <a:pt x="55" y="30"/>
                    </a:lnTo>
                    <a:lnTo>
                      <a:pt x="56" y="32"/>
                    </a:lnTo>
                    <a:lnTo>
                      <a:pt x="56" y="35"/>
                    </a:lnTo>
                    <a:lnTo>
                      <a:pt x="56" y="35"/>
                    </a:lnTo>
                    <a:lnTo>
                      <a:pt x="56" y="37"/>
                    </a:lnTo>
                    <a:lnTo>
                      <a:pt x="55" y="40"/>
                    </a:lnTo>
                    <a:lnTo>
                      <a:pt x="50" y="43"/>
                    </a:lnTo>
                    <a:lnTo>
                      <a:pt x="44" y="46"/>
                    </a:lnTo>
                    <a:lnTo>
                      <a:pt x="36" y="47"/>
                    </a:lnTo>
                    <a:lnTo>
                      <a:pt x="36" y="51"/>
                    </a:lnTo>
                    <a:lnTo>
                      <a:pt x="21" y="51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12" y="46"/>
                    </a:lnTo>
                    <a:lnTo>
                      <a:pt x="6" y="43"/>
                    </a:lnTo>
                    <a:lnTo>
                      <a:pt x="2" y="40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6" y="36"/>
                    </a:lnTo>
                    <a:lnTo>
                      <a:pt x="17" y="37"/>
                    </a:lnTo>
                    <a:lnTo>
                      <a:pt x="21" y="40"/>
                    </a:lnTo>
                    <a:lnTo>
                      <a:pt x="21" y="29"/>
                    </a:lnTo>
                    <a:lnTo>
                      <a:pt x="21" y="29"/>
                    </a:lnTo>
                    <a:lnTo>
                      <a:pt x="12" y="26"/>
                    </a:lnTo>
                    <a:lnTo>
                      <a:pt x="6" y="24"/>
                    </a:lnTo>
                    <a:lnTo>
                      <a:pt x="2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2" y="12"/>
                    </a:lnTo>
                    <a:lnTo>
                      <a:pt x="6" y="8"/>
                    </a:lnTo>
                    <a:lnTo>
                      <a:pt x="12" y="4"/>
                    </a:lnTo>
                    <a:lnTo>
                      <a:pt x="21" y="3"/>
                    </a:lnTo>
                    <a:lnTo>
                      <a:pt x="21" y="0"/>
                    </a:lnTo>
                    <a:lnTo>
                      <a:pt x="36" y="0"/>
                    </a:lnTo>
                    <a:lnTo>
                      <a:pt x="36" y="3"/>
                    </a:lnTo>
                    <a:lnTo>
                      <a:pt x="36" y="3"/>
                    </a:lnTo>
                    <a:lnTo>
                      <a:pt x="44" y="4"/>
                    </a:lnTo>
                    <a:lnTo>
                      <a:pt x="50" y="8"/>
                    </a:lnTo>
                    <a:lnTo>
                      <a:pt x="55" y="12"/>
                    </a:lnTo>
                    <a:lnTo>
                      <a:pt x="56" y="13"/>
                    </a:lnTo>
                    <a:lnTo>
                      <a:pt x="56" y="15"/>
                    </a:lnTo>
                    <a:lnTo>
                      <a:pt x="56" y="15"/>
                    </a:lnTo>
                    <a:close/>
                    <a:moveTo>
                      <a:pt x="42" y="35"/>
                    </a:moveTo>
                    <a:lnTo>
                      <a:pt x="42" y="35"/>
                    </a:lnTo>
                    <a:lnTo>
                      <a:pt x="40" y="34"/>
                    </a:lnTo>
                    <a:lnTo>
                      <a:pt x="39" y="32"/>
                    </a:lnTo>
                    <a:lnTo>
                      <a:pt x="36" y="3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2" y="35"/>
                    </a:lnTo>
                    <a:lnTo>
                      <a:pt x="42" y="35"/>
                    </a:lnTo>
                    <a:close/>
                    <a:moveTo>
                      <a:pt x="21" y="20"/>
                    </a:moveTo>
                    <a:lnTo>
                      <a:pt x="21" y="11"/>
                    </a:lnTo>
                    <a:lnTo>
                      <a:pt x="21" y="11"/>
                    </a:lnTo>
                    <a:lnTo>
                      <a:pt x="17" y="13"/>
                    </a:lnTo>
                    <a:lnTo>
                      <a:pt x="16" y="14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6" y="18"/>
                    </a:lnTo>
                    <a:lnTo>
                      <a:pt x="17" y="19"/>
                    </a:lnTo>
                    <a:lnTo>
                      <a:pt x="21" y="20"/>
                    </a:lnTo>
                    <a:lnTo>
                      <a:pt x="21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6" name="Freeform 697"/>
              <p:cNvSpPr/>
              <p:nvPr/>
            </p:nvSpPr>
            <p:spPr bwMode="auto">
              <a:xfrm>
                <a:off x="9309100" y="1390650"/>
                <a:ext cx="174625" cy="174625"/>
              </a:xfrm>
              <a:custGeom>
                <a:avLst/>
                <a:gdLst>
                  <a:gd name="T0" fmla="*/ 165 w 330"/>
                  <a:gd name="T1" fmla="*/ 0 h 330"/>
                  <a:gd name="T2" fmla="*/ 198 w 330"/>
                  <a:gd name="T3" fmla="*/ 4 h 330"/>
                  <a:gd name="T4" fmla="*/ 229 w 330"/>
                  <a:gd name="T5" fmla="*/ 14 h 330"/>
                  <a:gd name="T6" fmla="*/ 257 w 330"/>
                  <a:gd name="T7" fmla="*/ 28 h 330"/>
                  <a:gd name="T8" fmla="*/ 281 w 330"/>
                  <a:gd name="T9" fmla="*/ 49 h 330"/>
                  <a:gd name="T10" fmla="*/ 302 w 330"/>
                  <a:gd name="T11" fmla="*/ 73 h 330"/>
                  <a:gd name="T12" fmla="*/ 318 w 330"/>
                  <a:gd name="T13" fmla="*/ 101 h 330"/>
                  <a:gd name="T14" fmla="*/ 326 w 330"/>
                  <a:gd name="T15" fmla="*/ 133 h 330"/>
                  <a:gd name="T16" fmla="*/ 330 w 330"/>
                  <a:gd name="T17" fmla="*/ 165 h 330"/>
                  <a:gd name="T18" fmla="*/ 330 w 330"/>
                  <a:gd name="T19" fmla="*/ 182 h 330"/>
                  <a:gd name="T20" fmla="*/ 322 w 330"/>
                  <a:gd name="T21" fmla="*/ 215 h 330"/>
                  <a:gd name="T22" fmla="*/ 310 w 330"/>
                  <a:gd name="T23" fmla="*/ 244 h 330"/>
                  <a:gd name="T24" fmla="*/ 292 w 330"/>
                  <a:gd name="T25" fmla="*/ 271 h 330"/>
                  <a:gd name="T26" fmla="*/ 270 w 330"/>
                  <a:gd name="T27" fmla="*/ 293 h 330"/>
                  <a:gd name="T28" fmla="*/ 244 w 330"/>
                  <a:gd name="T29" fmla="*/ 311 h 330"/>
                  <a:gd name="T30" fmla="*/ 214 w 330"/>
                  <a:gd name="T31" fmla="*/ 323 h 330"/>
                  <a:gd name="T32" fmla="*/ 182 w 330"/>
                  <a:gd name="T33" fmla="*/ 330 h 330"/>
                  <a:gd name="T34" fmla="*/ 165 w 330"/>
                  <a:gd name="T35" fmla="*/ 330 h 330"/>
                  <a:gd name="T36" fmla="*/ 132 w 330"/>
                  <a:gd name="T37" fmla="*/ 327 h 330"/>
                  <a:gd name="T38" fmla="*/ 100 w 330"/>
                  <a:gd name="T39" fmla="*/ 318 h 330"/>
                  <a:gd name="T40" fmla="*/ 73 w 330"/>
                  <a:gd name="T41" fmla="*/ 302 h 330"/>
                  <a:gd name="T42" fmla="*/ 48 w 330"/>
                  <a:gd name="T43" fmla="*/ 282 h 330"/>
                  <a:gd name="T44" fmla="*/ 28 w 330"/>
                  <a:gd name="T45" fmla="*/ 257 h 330"/>
                  <a:gd name="T46" fmla="*/ 13 w 330"/>
                  <a:gd name="T47" fmla="*/ 230 h 330"/>
                  <a:gd name="T48" fmla="*/ 3 w 330"/>
                  <a:gd name="T49" fmla="*/ 199 h 330"/>
                  <a:gd name="T50" fmla="*/ 0 w 330"/>
                  <a:gd name="T51" fmla="*/ 165 h 330"/>
                  <a:gd name="T52" fmla="*/ 1 w 330"/>
                  <a:gd name="T53" fmla="*/ 148 h 330"/>
                  <a:gd name="T54" fmla="*/ 7 w 330"/>
                  <a:gd name="T55" fmla="*/ 117 h 330"/>
                  <a:gd name="T56" fmla="*/ 19 w 330"/>
                  <a:gd name="T57" fmla="*/ 86 h 330"/>
                  <a:gd name="T58" fmla="*/ 37 w 330"/>
                  <a:gd name="T59" fmla="*/ 60 h 330"/>
                  <a:gd name="T60" fmla="*/ 59 w 330"/>
                  <a:gd name="T61" fmla="*/ 38 h 330"/>
                  <a:gd name="T62" fmla="*/ 86 w 330"/>
                  <a:gd name="T63" fmla="*/ 20 h 330"/>
                  <a:gd name="T64" fmla="*/ 116 w 330"/>
                  <a:gd name="T65" fmla="*/ 8 h 330"/>
                  <a:gd name="T66" fmla="*/ 148 w 330"/>
                  <a:gd name="T67" fmla="*/ 1 h 330"/>
                  <a:gd name="T68" fmla="*/ 165 w 330"/>
                  <a:gd name="T69" fmla="*/ 0 h 3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330" h="330">
                    <a:moveTo>
                      <a:pt x="165" y="0"/>
                    </a:moveTo>
                    <a:lnTo>
                      <a:pt x="165" y="0"/>
                    </a:lnTo>
                    <a:lnTo>
                      <a:pt x="182" y="1"/>
                    </a:lnTo>
                    <a:lnTo>
                      <a:pt x="198" y="4"/>
                    </a:lnTo>
                    <a:lnTo>
                      <a:pt x="214" y="8"/>
                    </a:lnTo>
                    <a:lnTo>
                      <a:pt x="229" y="14"/>
                    </a:lnTo>
                    <a:lnTo>
                      <a:pt x="244" y="20"/>
                    </a:lnTo>
                    <a:lnTo>
                      <a:pt x="257" y="28"/>
                    </a:lnTo>
                    <a:lnTo>
                      <a:pt x="270" y="38"/>
                    </a:lnTo>
                    <a:lnTo>
                      <a:pt x="281" y="49"/>
                    </a:lnTo>
                    <a:lnTo>
                      <a:pt x="292" y="60"/>
                    </a:lnTo>
                    <a:lnTo>
                      <a:pt x="302" y="73"/>
                    </a:lnTo>
                    <a:lnTo>
                      <a:pt x="310" y="86"/>
                    </a:lnTo>
                    <a:lnTo>
                      <a:pt x="318" y="101"/>
                    </a:lnTo>
                    <a:lnTo>
                      <a:pt x="322" y="117"/>
                    </a:lnTo>
                    <a:lnTo>
                      <a:pt x="326" y="133"/>
                    </a:lnTo>
                    <a:lnTo>
                      <a:pt x="330" y="148"/>
                    </a:lnTo>
                    <a:lnTo>
                      <a:pt x="330" y="165"/>
                    </a:lnTo>
                    <a:lnTo>
                      <a:pt x="330" y="165"/>
                    </a:lnTo>
                    <a:lnTo>
                      <a:pt x="330" y="182"/>
                    </a:lnTo>
                    <a:lnTo>
                      <a:pt x="326" y="199"/>
                    </a:lnTo>
                    <a:lnTo>
                      <a:pt x="322" y="215"/>
                    </a:lnTo>
                    <a:lnTo>
                      <a:pt x="318" y="230"/>
                    </a:lnTo>
                    <a:lnTo>
                      <a:pt x="310" y="244"/>
                    </a:lnTo>
                    <a:lnTo>
                      <a:pt x="302" y="257"/>
                    </a:lnTo>
                    <a:lnTo>
                      <a:pt x="292" y="271"/>
                    </a:lnTo>
                    <a:lnTo>
                      <a:pt x="281" y="282"/>
                    </a:lnTo>
                    <a:lnTo>
                      <a:pt x="270" y="293"/>
                    </a:lnTo>
                    <a:lnTo>
                      <a:pt x="257" y="302"/>
                    </a:lnTo>
                    <a:lnTo>
                      <a:pt x="244" y="311"/>
                    </a:lnTo>
                    <a:lnTo>
                      <a:pt x="229" y="318"/>
                    </a:lnTo>
                    <a:lnTo>
                      <a:pt x="214" y="323"/>
                    </a:lnTo>
                    <a:lnTo>
                      <a:pt x="198" y="327"/>
                    </a:lnTo>
                    <a:lnTo>
                      <a:pt x="182" y="330"/>
                    </a:lnTo>
                    <a:lnTo>
                      <a:pt x="165" y="330"/>
                    </a:lnTo>
                    <a:lnTo>
                      <a:pt x="165" y="330"/>
                    </a:lnTo>
                    <a:lnTo>
                      <a:pt x="148" y="330"/>
                    </a:lnTo>
                    <a:lnTo>
                      <a:pt x="132" y="327"/>
                    </a:lnTo>
                    <a:lnTo>
                      <a:pt x="116" y="323"/>
                    </a:lnTo>
                    <a:lnTo>
                      <a:pt x="100" y="318"/>
                    </a:lnTo>
                    <a:lnTo>
                      <a:pt x="86" y="311"/>
                    </a:lnTo>
                    <a:lnTo>
                      <a:pt x="73" y="302"/>
                    </a:lnTo>
                    <a:lnTo>
                      <a:pt x="59" y="293"/>
                    </a:lnTo>
                    <a:lnTo>
                      <a:pt x="48" y="282"/>
                    </a:lnTo>
                    <a:lnTo>
                      <a:pt x="37" y="271"/>
                    </a:lnTo>
                    <a:lnTo>
                      <a:pt x="28" y="257"/>
                    </a:lnTo>
                    <a:lnTo>
                      <a:pt x="19" y="244"/>
                    </a:lnTo>
                    <a:lnTo>
                      <a:pt x="13" y="230"/>
                    </a:lnTo>
                    <a:lnTo>
                      <a:pt x="7" y="215"/>
                    </a:lnTo>
                    <a:lnTo>
                      <a:pt x="3" y="199"/>
                    </a:lnTo>
                    <a:lnTo>
                      <a:pt x="1" y="182"/>
                    </a:lnTo>
                    <a:lnTo>
                      <a:pt x="0" y="165"/>
                    </a:lnTo>
                    <a:lnTo>
                      <a:pt x="0" y="165"/>
                    </a:lnTo>
                    <a:lnTo>
                      <a:pt x="1" y="148"/>
                    </a:lnTo>
                    <a:lnTo>
                      <a:pt x="3" y="133"/>
                    </a:lnTo>
                    <a:lnTo>
                      <a:pt x="7" y="117"/>
                    </a:lnTo>
                    <a:lnTo>
                      <a:pt x="13" y="101"/>
                    </a:lnTo>
                    <a:lnTo>
                      <a:pt x="19" y="86"/>
                    </a:lnTo>
                    <a:lnTo>
                      <a:pt x="28" y="73"/>
                    </a:lnTo>
                    <a:lnTo>
                      <a:pt x="37" y="60"/>
                    </a:lnTo>
                    <a:lnTo>
                      <a:pt x="48" y="49"/>
                    </a:lnTo>
                    <a:lnTo>
                      <a:pt x="59" y="38"/>
                    </a:lnTo>
                    <a:lnTo>
                      <a:pt x="73" y="28"/>
                    </a:lnTo>
                    <a:lnTo>
                      <a:pt x="86" y="20"/>
                    </a:lnTo>
                    <a:lnTo>
                      <a:pt x="100" y="14"/>
                    </a:lnTo>
                    <a:lnTo>
                      <a:pt x="116" y="8"/>
                    </a:lnTo>
                    <a:lnTo>
                      <a:pt x="132" y="4"/>
                    </a:lnTo>
                    <a:lnTo>
                      <a:pt x="148" y="1"/>
                    </a:lnTo>
                    <a:lnTo>
                      <a:pt x="165" y="0"/>
                    </a:lnTo>
                    <a:lnTo>
                      <a:pt x="165" y="0"/>
                    </a:ln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7" name="Freeform 698"/>
              <p:cNvSpPr/>
              <p:nvPr/>
            </p:nvSpPr>
            <p:spPr bwMode="auto">
              <a:xfrm>
                <a:off x="9318625" y="1998663"/>
                <a:ext cx="134938" cy="47625"/>
              </a:xfrm>
              <a:custGeom>
                <a:avLst/>
                <a:gdLst>
                  <a:gd name="T0" fmla="*/ 256 w 256"/>
                  <a:gd name="T1" fmla="*/ 39 h 90"/>
                  <a:gd name="T2" fmla="*/ 256 w 256"/>
                  <a:gd name="T3" fmla="*/ 40 h 90"/>
                  <a:gd name="T4" fmla="*/ 253 w 256"/>
                  <a:gd name="T5" fmla="*/ 46 h 90"/>
                  <a:gd name="T6" fmla="*/ 251 w 256"/>
                  <a:gd name="T7" fmla="*/ 51 h 90"/>
                  <a:gd name="T8" fmla="*/ 239 w 256"/>
                  <a:gd name="T9" fmla="*/ 64 h 90"/>
                  <a:gd name="T10" fmla="*/ 229 w 256"/>
                  <a:gd name="T11" fmla="*/ 70 h 90"/>
                  <a:gd name="T12" fmla="*/ 218 w 256"/>
                  <a:gd name="T13" fmla="*/ 75 h 90"/>
                  <a:gd name="T14" fmla="*/ 196 w 256"/>
                  <a:gd name="T15" fmla="*/ 83 h 90"/>
                  <a:gd name="T16" fmla="*/ 173 w 256"/>
                  <a:gd name="T17" fmla="*/ 87 h 90"/>
                  <a:gd name="T18" fmla="*/ 150 w 256"/>
                  <a:gd name="T19" fmla="*/ 89 h 90"/>
                  <a:gd name="T20" fmla="*/ 128 w 256"/>
                  <a:gd name="T21" fmla="*/ 90 h 90"/>
                  <a:gd name="T22" fmla="*/ 82 w 256"/>
                  <a:gd name="T23" fmla="*/ 87 h 90"/>
                  <a:gd name="T24" fmla="*/ 59 w 256"/>
                  <a:gd name="T25" fmla="*/ 83 h 90"/>
                  <a:gd name="T26" fmla="*/ 48 w 256"/>
                  <a:gd name="T27" fmla="*/ 80 h 90"/>
                  <a:gd name="T28" fmla="*/ 37 w 256"/>
                  <a:gd name="T29" fmla="*/ 75 h 90"/>
                  <a:gd name="T30" fmla="*/ 17 w 256"/>
                  <a:gd name="T31" fmla="*/ 64 h 90"/>
                  <a:gd name="T32" fmla="*/ 8 w 256"/>
                  <a:gd name="T33" fmla="*/ 56 h 90"/>
                  <a:gd name="T34" fmla="*/ 2 w 256"/>
                  <a:gd name="T35" fmla="*/ 46 h 90"/>
                  <a:gd name="T36" fmla="*/ 0 w 256"/>
                  <a:gd name="T37" fmla="*/ 40 h 90"/>
                  <a:gd name="T38" fmla="*/ 0 w 256"/>
                  <a:gd name="T39" fmla="*/ 39 h 90"/>
                  <a:gd name="T40" fmla="*/ 0 w 256"/>
                  <a:gd name="T41" fmla="*/ 34 h 90"/>
                  <a:gd name="T42" fmla="*/ 0 w 256"/>
                  <a:gd name="T43" fmla="*/ 3 h 90"/>
                  <a:gd name="T44" fmla="*/ 3 w 256"/>
                  <a:gd name="T45" fmla="*/ 3 h 90"/>
                  <a:gd name="T46" fmla="*/ 3 w 256"/>
                  <a:gd name="T47" fmla="*/ 4 h 90"/>
                  <a:gd name="T48" fmla="*/ 4 w 256"/>
                  <a:gd name="T49" fmla="*/ 9 h 90"/>
                  <a:gd name="T50" fmla="*/ 10 w 256"/>
                  <a:gd name="T51" fmla="*/ 18 h 90"/>
                  <a:gd name="T52" fmla="*/ 18 w 256"/>
                  <a:gd name="T53" fmla="*/ 26 h 90"/>
                  <a:gd name="T54" fmla="*/ 38 w 256"/>
                  <a:gd name="T55" fmla="*/ 37 h 90"/>
                  <a:gd name="T56" fmla="*/ 48 w 256"/>
                  <a:gd name="T57" fmla="*/ 40 h 90"/>
                  <a:gd name="T58" fmla="*/ 59 w 256"/>
                  <a:gd name="T59" fmla="*/ 44 h 90"/>
                  <a:gd name="T60" fmla="*/ 82 w 256"/>
                  <a:gd name="T61" fmla="*/ 47 h 90"/>
                  <a:gd name="T62" fmla="*/ 128 w 256"/>
                  <a:gd name="T63" fmla="*/ 50 h 90"/>
                  <a:gd name="T64" fmla="*/ 150 w 256"/>
                  <a:gd name="T65" fmla="*/ 50 h 90"/>
                  <a:gd name="T66" fmla="*/ 173 w 256"/>
                  <a:gd name="T67" fmla="*/ 47 h 90"/>
                  <a:gd name="T68" fmla="*/ 196 w 256"/>
                  <a:gd name="T69" fmla="*/ 44 h 90"/>
                  <a:gd name="T70" fmla="*/ 217 w 256"/>
                  <a:gd name="T71" fmla="*/ 37 h 90"/>
                  <a:gd name="T72" fmla="*/ 228 w 256"/>
                  <a:gd name="T73" fmla="*/ 32 h 90"/>
                  <a:gd name="T74" fmla="*/ 237 w 256"/>
                  <a:gd name="T75" fmla="*/ 26 h 90"/>
                  <a:gd name="T76" fmla="*/ 248 w 256"/>
                  <a:gd name="T77" fmla="*/ 13 h 90"/>
                  <a:gd name="T78" fmla="*/ 251 w 256"/>
                  <a:gd name="T79" fmla="*/ 9 h 90"/>
                  <a:gd name="T80" fmla="*/ 252 w 256"/>
                  <a:gd name="T81" fmla="*/ 4 h 90"/>
                  <a:gd name="T82" fmla="*/ 252 w 256"/>
                  <a:gd name="T83" fmla="*/ 0 h 90"/>
                  <a:gd name="T84" fmla="*/ 256 w 256"/>
                  <a:gd name="T85" fmla="*/ 0 h 90"/>
                  <a:gd name="T86" fmla="*/ 256 w 256"/>
                  <a:gd name="T87" fmla="*/ 3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56" h="90">
                    <a:moveTo>
                      <a:pt x="256" y="38"/>
                    </a:moveTo>
                    <a:lnTo>
                      <a:pt x="256" y="39"/>
                    </a:lnTo>
                    <a:lnTo>
                      <a:pt x="256" y="39"/>
                    </a:lnTo>
                    <a:lnTo>
                      <a:pt x="256" y="40"/>
                    </a:lnTo>
                    <a:lnTo>
                      <a:pt x="256" y="40"/>
                    </a:lnTo>
                    <a:lnTo>
                      <a:pt x="253" y="46"/>
                    </a:lnTo>
                    <a:lnTo>
                      <a:pt x="253" y="46"/>
                    </a:lnTo>
                    <a:lnTo>
                      <a:pt x="251" y="51"/>
                    </a:lnTo>
                    <a:lnTo>
                      <a:pt x="247" y="56"/>
                    </a:lnTo>
                    <a:lnTo>
                      <a:pt x="239" y="64"/>
                    </a:lnTo>
                    <a:lnTo>
                      <a:pt x="239" y="64"/>
                    </a:lnTo>
                    <a:lnTo>
                      <a:pt x="229" y="70"/>
                    </a:lnTo>
                    <a:lnTo>
                      <a:pt x="218" y="75"/>
                    </a:lnTo>
                    <a:lnTo>
                      <a:pt x="218" y="75"/>
                    </a:lnTo>
                    <a:lnTo>
                      <a:pt x="207" y="80"/>
                    </a:lnTo>
                    <a:lnTo>
                      <a:pt x="196" y="83"/>
                    </a:lnTo>
                    <a:lnTo>
                      <a:pt x="196" y="83"/>
                    </a:lnTo>
                    <a:lnTo>
                      <a:pt x="173" y="87"/>
                    </a:lnTo>
                    <a:lnTo>
                      <a:pt x="173" y="87"/>
                    </a:lnTo>
                    <a:lnTo>
                      <a:pt x="150" y="89"/>
                    </a:lnTo>
                    <a:lnTo>
                      <a:pt x="128" y="90"/>
                    </a:lnTo>
                    <a:lnTo>
                      <a:pt x="128" y="90"/>
                    </a:lnTo>
                    <a:lnTo>
                      <a:pt x="105" y="89"/>
                    </a:lnTo>
                    <a:lnTo>
                      <a:pt x="82" y="87"/>
                    </a:lnTo>
                    <a:lnTo>
                      <a:pt x="82" y="87"/>
                    </a:lnTo>
                    <a:lnTo>
                      <a:pt x="59" y="83"/>
                    </a:lnTo>
                    <a:lnTo>
                      <a:pt x="59" y="83"/>
                    </a:lnTo>
                    <a:lnTo>
                      <a:pt x="48" y="80"/>
                    </a:lnTo>
                    <a:lnTo>
                      <a:pt x="37" y="75"/>
                    </a:lnTo>
                    <a:lnTo>
                      <a:pt x="37" y="75"/>
                    </a:lnTo>
                    <a:lnTo>
                      <a:pt x="26" y="70"/>
                    </a:lnTo>
                    <a:lnTo>
                      <a:pt x="17" y="64"/>
                    </a:lnTo>
                    <a:lnTo>
                      <a:pt x="17" y="64"/>
                    </a:lnTo>
                    <a:lnTo>
                      <a:pt x="8" y="56"/>
                    </a:lnTo>
                    <a:lnTo>
                      <a:pt x="4" y="51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9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3"/>
                    </a:lnTo>
                    <a:lnTo>
                      <a:pt x="0" y="3"/>
                    </a:lnTo>
                    <a:lnTo>
                      <a:pt x="3" y="3"/>
                    </a:lnTo>
                    <a:lnTo>
                      <a:pt x="3" y="3"/>
                    </a:lnTo>
                    <a:lnTo>
                      <a:pt x="3" y="4"/>
                    </a:lnTo>
                    <a:lnTo>
                      <a:pt x="3" y="4"/>
                    </a:lnTo>
                    <a:lnTo>
                      <a:pt x="4" y="9"/>
                    </a:lnTo>
                    <a:lnTo>
                      <a:pt x="4" y="9"/>
                    </a:lnTo>
                    <a:lnTo>
                      <a:pt x="7" y="13"/>
                    </a:lnTo>
                    <a:lnTo>
                      <a:pt x="10" y="18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7" y="32"/>
                    </a:lnTo>
                    <a:lnTo>
                      <a:pt x="38" y="37"/>
                    </a:lnTo>
                    <a:lnTo>
                      <a:pt x="38" y="37"/>
                    </a:lnTo>
                    <a:lnTo>
                      <a:pt x="48" y="40"/>
                    </a:lnTo>
                    <a:lnTo>
                      <a:pt x="59" y="44"/>
                    </a:lnTo>
                    <a:lnTo>
                      <a:pt x="59" y="44"/>
                    </a:lnTo>
                    <a:lnTo>
                      <a:pt x="82" y="47"/>
                    </a:lnTo>
                    <a:lnTo>
                      <a:pt x="82" y="47"/>
                    </a:lnTo>
                    <a:lnTo>
                      <a:pt x="105" y="50"/>
                    </a:lnTo>
                    <a:lnTo>
                      <a:pt x="128" y="50"/>
                    </a:lnTo>
                    <a:lnTo>
                      <a:pt x="128" y="50"/>
                    </a:lnTo>
                    <a:lnTo>
                      <a:pt x="150" y="50"/>
                    </a:lnTo>
                    <a:lnTo>
                      <a:pt x="173" y="47"/>
                    </a:lnTo>
                    <a:lnTo>
                      <a:pt x="173" y="47"/>
                    </a:lnTo>
                    <a:lnTo>
                      <a:pt x="196" y="44"/>
                    </a:lnTo>
                    <a:lnTo>
                      <a:pt x="196" y="44"/>
                    </a:lnTo>
                    <a:lnTo>
                      <a:pt x="207" y="40"/>
                    </a:lnTo>
                    <a:lnTo>
                      <a:pt x="217" y="37"/>
                    </a:lnTo>
                    <a:lnTo>
                      <a:pt x="217" y="37"/>
                    </a:lnTo>
                    <a:lnTo>
                      <a:pt x="228" y="32"/>
                    </a:lnTo>
                    <a:lnTo>
                      <a:pt x="237" y="26"/>
                    </a:lnTo>
                    <a:lnTo>
                      <a:pt x="237" y="26"/>
                    </a:lnTo>
                    <a:lnTo>
                      <a:pt x="245" y="18"/>
                    </a:lnTo>
                    <a:lnTo>
                      <a:pt x="248" y="13"/>
                    </a:lnTo>
                    <a:lnTo>
                      <a:pt x="251" y="9"/>
                    </a:lnTo>
                    <a:lnTo>
                      <a:pt x="251" y="9"/>
                    </a:lnTo>
                    <a:lnTo>
                      <a:pt x="252" y="4"/>
                    </a:lnTo>
                    <a:lnTo>
                      <a:pt x="252" y="4"/>
                    </a:lnTo>
                    <a:lnTo>
                      <a:pt x="252" y="3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56" y="0"/>
                    </a:lnTo>
                    <a:lnTo>
                      <a:pt x="256" y="23"/>
                    </a:lnTo>
                    <a:lnTo>
                      <a:pt x="256" y="34"/>
                    </a:lnTo>
                    <a:lnTo>
                      <a:pt x="256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8" name="Freeform 699"/>
              <p:cNvSpPr/>
              <p:nvPr/>
            </p:nvSpPr>
            <p:spPr bwMode="auto">
              <a:xfrm>
                <a:off x="9318625" y="1958975"/>
                <a:ext cx="134938" cy="46037"/>
              </a:xfrm>
              <a:custGeom>
                <a:avLst/>
                <a:gdLst>
                  <a:gd name="T0" fmla="*/ 256 w 256"/>
                  <a:gd name="T1" fmla="*/ 76 h 89"/>
                  <a:gd name="T2" fmla="*/ 252 w 256"/>
                  <a:gd name="T3" fmla="*/ 74 h 89"/>
                  <a:gd name="T4" fmla="*/ 252 w 256"/>
                  <a:gd name="T5" fmla="*/ 47 h 89"/>
                  <a:gd name="T6" fmla="*/ 249 w 256"/>
                  <a:gd name="T7" fmla="*/ 52 h 89"/>
                  <a:gd name="T8" fmla="*/ 239 w 256"/>
                  <a:gd name="T9" fmla="*/ 64 h 89"/>
                  <a:gd name="T10" fmla="*/ 229 w 256"/>
                  <a:gd name="T11" fmla="*/ 70 h 89"/>
                  <a:gd name="T12" fmla="*/ 218 w 256"/>
                  <a:gd name="T13" fmla="*/ 75 h 89"/>
                  <a:gd name="T14" fmla="*/ 196 w 256"/>
                  <a:gd name="T15" fmla="*/ 82 h 89"/>
                  <a:gd name="T16" fmla="*/ 173 w 256"/>
                  <a:gd name="T17" fmla="*/ 86 h 89"/>
                  <a:gd name="T18" fmla="*/ 150 w 256"/>
                  <a:gd name="T19" fmla="*/ 88 h 89"/>
                  <a:gd name="T20" fmla="*/ 128 w 256"/>
                  <a:gd name="T21" fmla="*/ 89 h 89"/>
                  <a:gd name="T22" fmla="*/ 82 w 256"/>
                  <a:gd name="T23" fmla="*/ 86 h 89"/>
                  <a:gd name="T24" fmla="*/ 59 w 256"/>
                  <a:gd name="T25" fmla="*/ 82 h 89"/>
                  <a:gd name="T26" fmla="*/ 48 w 256"/>
                  <a:gd name="T27" fmla="*/ 79 h 89"/>
                  <a:gd name="T28" fmla="*/ 37 w 256"/>
                  <a:gd name="T29" fmla="*/ 75 h 89"/>
                  <a:gd name="T30" fmla="*/ 17 w 256"/>
                  <a:gd name="T31" fmla="*/ 64 h 89"/>
                  <a:gd name="T32" fmla="*/ 8 w 256"/>
                  <a:gd name="T33" fmla="*/ 57 h 89"/>
                  <a:gd name="T34" fmla="*/ 3 w 256"/>
                  <a:gd name="T35" fmla="*/ 47 h 89"/>
                  <a:gd name="T36" fmla="*/ 3 w 256"/>
                  <a:gd name="T37" fmla="*/ 74 h 89"/>
                  <a:gd name="T38" fmla="*/ 3 w 256"/>
                  <a:gd name="T39" fmla="*/ 79 h 89"/>
                  <a:gd name="T40" fmla="*/ 3 w 256"/>
                  <a:gd name="T41" fmla="*/ 79 h 89"/>
                  <a:gd name="T42" fmla="*/ 0 w 256"/>
                  <a:gd name="T43" fmla="*/ 76 h 89"/>
                  <a:gd name="T44" fmla="*/ 0 w 256"/>
                  <a:gd name="T45" fmla="*/ 63 h 89"/>
                  <a:gd name="T46" fmla="*/ 0 w 256"/>
                  <a:gd name="T47" fmla="*/ 40 h 89"/>
                  <a:gd name="T48" fmla="*/ 0 w 256"/>
                  <a:gd name="T49" fmla="*/ 38 h 89"/>
                  <a:gd name="T50" fmla="*/ 0 w 256"/>
                  <a:gd name="T51" fmla="*/ 34 h 89"/>
                  <a:gd name="T52" fmla="*/ 0 w 256"/>
                  <a:gd name="T53" fmla="*/ 7 h 89"/>
                  <a:gd name="T54" fmla="*/ 3 w 256"/>
                  <a:gd name="T55" fmla="*/ 7 h 89"/>
                  <a:gd name="T56" fmla="*/ 3 w 256"/>
                  <a:gd name="T57" fmla="*/ 8 h 89"/>
                  <a:gd name="T58" fmla="*/ 4 w 256"/>
                  <a:gd name="T59" fmla="*/ 13 h 89"/>
                  <a:gd name="T60" fmla="*/ 10 w 256"/>
                  <a:gd name="T61" fmla="*/ 23 h 89"/>
                  <a:gd name="T62" fmla="*/ 18 w 256"/>
                  <a:gd name="T63" fmla="*/ 30 h 89"/>
                  <a:gd name="T64" fmla="*/ 38 w 256"/>
                  <a:gd name="T65" fmla="*/ 41 h 89"/>
                  <a:gd name="T66" fmla="*/ 48 w 256"/>
                  <a:gd name="T67" fmla="*/ 45 h 89"/>
                  <a:gd name="T68" fmla="*/ 59 w 256"/>
                  <a:gd name="T69" fmla="*/ 48 h 89"/>
                  <a:gd name="T70" fmla="*/ 82 w 256"/>
                  <a:gd name="T71" fmla="*/ 52 h 89"/>
                  <a:gd name="T72" fmla="*/ 128 w 256"/>
                  <a:gd name="T73" fmla="*/ 54 h 89"/>
                  <a:gd name="T74" fmla="*/ 150 w 256"/>
                  <a:gd name="T75" fmla="*/ 54 h 89"/>
                  <a:gd name="T76" fmla="*/ 173 w 256"/>
                  <a:gd name="T77" fmla="*/ 52 h 89"/>
                  <a:gd name="T78" fmla="*/ 196 w 256"/>
                  <a:gd name="T79" fmla="*/ 48 h 89"/>
                  <a:gd name="T80" fmla="*/ 217 w 256"/>
                  <a:gd name="T81" fmla="*/ 41 h 89"/>
                  <a:gd name="T82" fmla="*/ 228 w 256"/>
                  <a:gd name="T83" fmla="*/ 36 h 89"/>
                  <a:gd name="T84" fmla="*/ 237 w 256"/>
                  <a:gd name="T85" fmla="*/ 30 h 89"/>
                  <a:gd name="T86" fmla="*/ 248 w 256"/>
                  <a:gd name="T87" fmla="*/ 18 h 89"/>
                  <a:gd name="T88" fmla="*/ 251 w 256"/>
                  <a:gd name="T89" fmla="*/ 13 h 89"/>
                  <a:gd name="T90" fmla="*/ 252 w 256"/>
                  <a:gd name="T91" fmla="*/ 8 h 89"/>
                  <a:gd name="T92" fmla="*/ 252 w 256"/>
                  <a:gd name="T93" fmla="*/ 0 h 89"/>
                  <a:gd name="T94" fmla="*/ 256 w 256"/>
                  <a:gd name="T95" fmla="*/ 0 h 89"/>
                  <a:gd name="T96" fmla="*/ 256 w 256"/>
                  <a:gd name="T97" fmla="*/ 34 h 89"/>
                  <a:gd name="T98" fmla="*/ 256 w 256"/>
                  <a:gd name="T99" fmla="*/ 38 h 89"/>
                  <a:gd name="T100" fmla="*/ 256 w 256"/>
                  <a:gd name="T101" fmla="*/ 40 h 89"/>
                  <a:gd name="T102" fmla="*/ 256 w 256"/>
                  <a:gd name="T103" fmla="*/ 63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6" h="89">
                    <a:moveTo>
                      <a:pt x="256" y="74"/>
                    </a:moveTo>
                    <a:lnTo>
                      <a:pt x="256" y="76"/>
                    </a:lnTo>
                    <a:lnTo>
                      <a:pt x="252" y="76"/>
                    </a:lnTo>
                    <a:lnTo>
                      <a:pt x="252" y="74"/>
                    </a:lnTo>
                    <a:lnTo>
                      <a:pt x="252" y="63"/>
                    </a:lnTo>
                    <a:lnTo>
                      <a:pt x="252" y="47"/>
                    </a:lnTo>
                    <a:lnTo>
                      <a:pt x="252" y="47"/>
                    </a:lnTo>
                    <a:lnTo>
                      <a:pt x="249" y="52"/>
                    </a:lnTo>
                    <a:lnTo>
                      <a:pt x="247" y="57"/>
                    </a:lnTo>
                    <a:lnTo>
                      <a:pt x="239" y="64"/>
                    </a:lnTo>
                    <a:lnTo>
                      <a:pt x="239" y="64"/>
                    </a:lnTo>
                    <a:lnTo>
                      <a:pt x="229" y="70"/>
                    </a:lnTo>
                    <a:lnTo>
                      <a:pt x="218" y="75"/>
                    </a:lnTo>
                    <a:lnTo>
                      <a:pt x="218" y="75"/>
                    </a:lnTo>
                    <a:lnTo>
                      <a:pt x="207" y="79"/>
                    </a:lnTo>
                    <a:lnTo>
                      <a:pt x="196" y="82"/>
                    </a:lnTo>
                    <a:lnTo>
                      <a:pt x="196" y="82"/>
                    </a:lnTo>
                    <a:lnTo>
                      <a:pt x="173" y="86"/>
                    </a:lnTo>
                    <a:lnTo>
                      <a:pt x="173" y="86"/>
                    </a:lnTo>
                    <a:lnTo>
                      <a:pt x="150" y="88"/>
                    </a:lnTo>
                    <a:lnTo>
                      <a:pt x="128" y="89"/>
                    </a:lnTo>
                    <a:lnTo>
                      <a:pt x="128" y="89"/>
                    </a:lnTo>
                    <a:lnTo>
                      <a:pt x="105" y="88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59" y="82"/>
                    </a:lnTo>
                    <a:lnTo>
                      <a:pt x="59" y="82"/>
                    </a:lnTo>
                    <a:lnTo>
                      <a:pt x="48" y="79"/>
                    </a:lnTo>
                    <a:lnTo>
                      <a:pt x="37" y="75"/>
                    </a:lnTo>
                    <a:lnTo>
                      <a:pt x="37" y="75"/>
                    </a:lnTo>
                    <a:lnTo>
                      <a:pt x="26" y="70"/>
                    </a:lnTo>
                    <a:lnTo>
                      <a:pt x="17" y="64"/>
                    </a:lnTo>
                    <a:lnTo>
                      <a:pt x="17" y="64"/>
                    </a:lnTo>
                    <a:lnTo>
                      <a:pt x="8" y="57"/>
                    </a:lnTo>
                    <a:lnTo>
                      <a:pt x="6" y="52"/>
                    </a:lnTo>
                    <a:lnTo>
                      <a:pt x="3" y="47"/>
                    </a:lnTo>
                    <a:lnTo>
                      <a:pt x="3" y="63"/>
                    </a:lnTo>
                    <a:lnTo>
                      <a:pt x="3" y="74"/>
                    </a:lnTo>
                    <a:lnTo>
                      <a:pt x="3" y="76"/>
                    </a:lnTo>
                    <a:lnTo>
                      <a:pt x="3" y="79"/>
                    </a:lnTo>
                    <a:lnTo>
                      <a:pt x="3" y="79"/>
                    </a:lnTo>
                    <a:lnTo>
                      <a:pt x="3" y="79"/>
                    </a:lnTo>
                    <a:lnTo>
                      <a:pt x="0" y="79"/>
                    </a:lnTo>
                    <a:lnTo>
                      <a:pt x="0" y="76"/>
                    </a:lnTo>
                    <a:lnTo>
                      <a:pt x="0" y="74"/>
                    </a:lnTo>
                    <a:lnTo>
                      <a:pt x="0" y="63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7"/>
                    </a:lnTo>
                    <a:lnTo>
                      <a:pt x="0" y="34"/>
                    </a:lnTo>
                    <a:lnTo>
                      <a:pt x="0" y="23"/>
                    </a:lnTo>
                    <a:lnTo>
                      <a:pt x="0" y="7"/>
                    </a:lnTo>
                    <a:lnTo>
                      <a:pt x="3" y="7"/>
                    </a:lnTo>
                    <a:lnTo>
                      <a:pt x="3" y="7"/>
                    </a:lnTo>
                    <a:lnTo>
                      <a:pt x="3" y="8"/>
                    </a:lnTo>
                    <a:lnTo>
                      <a:pt x="3" y="8"/>
                    </a:lnTo>
                    <a:lnTo>
                      <a:pt x="4" y="13"/>
                    </a:lnTo>
                    <a:lnTo>
                      <a:pt x="4" y="13"/>
                    </a:lnTo>
                    <a:lnTo>
                      <a:pt x="7" y="18"/>
                    </a:lnTo>
                    <a:lnTo>
                      <a:pt x="10" y="23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7" y="36"/>
                    </a:lnTo>
                    <a:lnTo>
                      <a:pt x="38" y="41"/>
                    </a:lnTo>
                    <a:lnTo>
                      <a:pt x="38" y="41"/>
                    </a:lnTo>
                    <a:lnTo>
                      <a:pt x="48" y="45"/>
                    </a:lnTo>
                    <a:lnTo>
                      <a:pt x="59" y="48"/>
                    </a:lnTo>
                    <a:lnTo>
                      <a:pt x="59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105" y="54"/>
                    </a:lnTo>
                    <a:lnTo>
                      <a:pt x="128" y="54"/>
                    </a:lnTo>
                    <a:lnTo>
                      <a:pt x="128" y="54"/>
                    </a:lnTo>
                    <a:lnTo>
                      <a:pt x="150" y="54"/>
                    </a:lnTo>
                    <a:lnTo>
                      <a:pt x="173" y="52"/>
                    </a:lnTo>
                    <a:lnTo>
                      <a:pt x="173" y="52"/>
                    </a:lnTo>
                    <a:lnTo>
                      <a:pt x="196" y="48"/>
                    </a:lnTo>
                    <a:lnTo>
                      <a:pt x="196" y="48"/>
                    </a:lnTo>
                    <a:lnTo>
                      <a:pt x="207" y="45"/>
                    </a:lnTo>
                    <a:lnTo>
                      <a:pt x="217" y="41"/>
                    </a:lnTo>
                    <a:lnTo>
                      <a:pt x="217" y="41"/>
                    </a:lnTo>
                    <a:lnTo>
                      <a:pt x="228" y="36"/>
                    </a:lnTo>
                    <a:lnTo>
                      <a:pt x="237" y="30"/>
                    </a:lnTo>
                    <a:lnTo>
                      <a:pt x="237" y="30"/>
                    </a:lnTo>
                    <a:lnTo>
                      <a:pt x="245" y="23"/>
                    </a:lnTo>
                    <a:lnTo>
                      <a:pt x="248" y="18"/>
                    </a:lnTo>
                    <a:lnTo>
                      <a:pt x="251" y="13"/>
                    </a:lnTo>
                    <a:lnTo>
                      <a:pt x="251" y="13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7"/>
                    </a:lnTo>
                    <a:lnTo>
                      <a:pt x="252" y="0"/>
                    </a:lnTo>
                    <a:lnTo>
                      <a:pt x="252" y="0"/>
                    </a:lnTo>
                    <a:lnTo>
                      <a:pt x="256" y="0"/>
                    </a:lnTo>
                    <a:lnTo>
                      <a:pt x="256" y="23"/>
                    </a:lnTo>
                    <a:lnTo>
                      <a:pt x="256" y="34"/>
                    </a:lnTo>
                    <a:lnTo>
                      <a:pt x="256" y="37"/>
                    </a:lnTo>
                    <a:lnTo>
                      <a:pt x="256" y="38"/>
                    </a:lnTo>
                    <a:lnTo>
                      <a:pt x="256" y="38"/>
                    </a:lnTo>
                    <a:lnTo>
                      <a:pt x="256" y="40"/>
                    </a:lnTo>
                    <a:lnTo>
                      <a:pt x="256" y="40"/>
                    </a:lnTo>
                    <a:lnTo>
                      <a:pt x="256" y="63"/>
                    </a:lnTo>
                    <a:lnTo>
                      <a:pt x="256" y="7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9" name="Freeform 700"/>
              <p:cNvSpPr/>
              <p:nvPr/>
            </p:nvSpPr>
            <p:spPr bwMode="auto">
              <a:xfrm>
                <a:off x="9318625" y="1922463"/>
                <a:ext cx="134938" cy="46037"/>
              </a:xfrm>
              <a:custGeom>
                <a:avLst/>
                <a:gdLst>
                  <a:gd name="T0" fmla="*/ 256 w 256"/>
                  <a:gd name="T1" fmla="*/ 69 h 89"/>
                  <a:gd name="T2" fmla="*/ 252 w 256"/>
                  <a:gd name="T3" fmla="*/ 60 h 89"/>
                  <a:gd name="T4" fmla="*/ 252 w 256"/>
                  <a:gd name="T5" fmla="*/ 48 h 89"/>
                  <a:gd name="T6" fmla="*/ 247 w 256"/>
                  <a:gd name="T7" fmla="*/ 58 h 89"/>
                  <a:gd name="T8" fmla="*/ 239 w 256"/>
                  <a:gd name="T9" fmla="*/ 65 h 89"/>
                  <a:gd name="T10" fmla="*/ 218 w 256"/>
                  <a:gd name="T11" fmla="*/ 76 h 89"/>
                  <a:gd name="T12" fmla="*/ 207 w 256"/>
                  <a:gd name="T13" fmla="*/ 80 h 89"/>
                  <a:gd name="T14" fmla="*/ 196 w 256"/>
                  <a:gd name="T15" fmla="*/ 83 h 89"/>
                  <a:gd name="T16" fmla="*/ 173 w 256"/>
                  <a:gd name="T17" fmla="*/ 87 h 89"/>
                  <a:gd name="T18" fmla="*/ 128 w 256"/>
                  <a:gd name="T19" fmla="*/ 89 h 89"/>
                  <a:gd name="T20" fmla="*/ 105 w 256"/>
                  <a:gd name="T21" fmla="*/ 89 h 89"/>
                  <a:gd name="T22" fmla="*/ 82 w 256"/>
                  <a:gd name="T23" fmla="*/ 87 h 89"/>
                  <a:gd name="T24" fmla="*/ 59 w 256"/>
                  <a:gd name="T25" fmla="*/ 83 h 89"/>
                  <a:gd name="T26" fmla="*/ 37 w 256"/>
                  <a:gd name="T27" fmla="*/ 76 h 89"/>
                  <a:gd name="T28" fmla="*/ 26 w 256"/>
                  <a:gd name="T29" fmla="*/ 71 h 89"/>
                  <a:gd name="T30" fmla="*/ 17 w 256"/>
                  <a:gd name="T31" fmla="*/ 65 h 89"/>
                  <a:gd name="T32" fmla="*/ 6 w 256"/>
                  <a:gd name="T33" fmla="*/ 53 h 89"/>
                  <a:gd name="T34" fmla="*/ 3 w 256"/>
                  <a:gd name="T35" fmla="*/ 60 h 89"/>
                  <a:gd name="T36" fmla="*/ 3 w 256"/>
                  <a:gd name="T37" fmla="*/ 76 h 89"/>
                  <a:gd name="T38" fmla="*/ 3 w 256"/>
                  <a:gd name="T39" fmla="*/ 76 h 89"/>
                  <a:gd name="T40" fmla="*/ 0 w 256"/>
                  <a:gd name="T41" fmla="*/ 69 h 89"/>
                  <a:gd name="T42" fmla="*/ 0 w 256"/>
                  <a:gd name="T43" fmla="*/ 37 h 89"/>
                  <a:gd name="T44" fmla="*/ 0 w 256"/>
                  <a:gd name="T45" fmla="*/ 23 h 89"/>
                  <a:gd name="T46" fmla="*/ 0 w 256"/>
                  <a:gd name="T47" fmla="*/ 0 h 89"/>
                  <a:gd name="T48" fmla="*/ 3 w 256"/>
                  <a:gd name="T49" fmla="*/ 0 h 89"/>
                  <a:gd name="T50" fmla="*/ 3 w 256"/>
                  <a:gd name="T51" fmla="*/ 1 h 89"/>
                  <a:gd name="T52" fmla="*/ 4 w 256"/>
                  <a:gd name="T53" fmla="*/ 6 h 89"/>
                  <a:gd name="T54" fmla="*/ 10 w 256"/>
                  <a:gd name="T55" fmla="*/ 15 h 89"/>
                  <a:gd name="T56" fmla="*/ 18 w 256"/>
                  <a:gd name="T57" fmla="*/ 23 h 89"/>
                  <a:gd name="T58" fmla="*/ 38 w 256"/>
                  <a:gd name="T59" fmla="*/ 33 h 89"/>
                  <a:gd name="T60" fmla="*/ 48 w 256"/>
                  <a:gd name="T61" fmla="*/ 37 h 89"/>
                  <a:gd name="T62" fmla="*/ 59 w 256"/>
                  <a:gd name="T63" fmla="*/ 41 h 89"/>
                  <a:gd name="T64" fmla="*/ 82 w 256"/>
                  <a:gd name="T65" fmla="*/ 44 h 89"/>
                  <a:gd name="T66" fmla="*/ 128 w 256"/>
                  <a:gd name="T67" fmla="*/ 47 h 89"/>
                  <a:gd name="T68" fmla="*/ 150 w 256"/>
                  <a:gd name="T69" fmla="*/ 47 h 89"/>
                  <a:gd name="T70" fmla="*/ 173 w 256"/>
                  <a:gd name="T71" fmla="*/ 44 h 89"/>
                  <a:gd name="T72" fmla="*/ 196 w 256"/>
                  <a:gd name="T73" fmla="*/ 41 h 89"/>
                  <a:gd name="T74" fmla="*/ 217 w 256"/>
                  <a:gd name="T75" fmla="*/ 33 h 89"/>
                  <a:gd name="T76" fmla="*/ 228 w 256"/>
                  <a:gd name="T77" fmla="*/ 29 h 89"/>
                  <a:gd name="T78" fmla="*/ 237 w 256"/>
                  <a:gd name="T79" fmla="*/ 23 h 89"/>
                  <a:gd name="T80" fmla="*/ 248 w 256"/>
                  <a:gd name="T81" fmla="*/ 10 h 89"/>
                  <a:gd name="T82" fmla="*/ 251 w 256"/>
                  <a:gd name="T83" fmla="*/ 6 h 89"/>
                  <a:gd name="T84" fmla="*/ 252 w 256"/>
                  <a:gd name="T85" fmla="*/ 1 h 89"/>
                  <a:gd name="T86" fmla="*/ 256 w 256"/>
                  <a:gd name="T87" fmla="*/ 0 h 89"/>
                  <a:gd name="T88" fmla="*/ 256 w 256"/>
                  <a:gd name="T89" fmla="*/ 0 h 89"/>
                  <a:gd name="T90" fmla="*/ 256 w 256"/>
                  <a:gd name="T91" fmla="*/ 0 h 89"/>
                  <a:gd name="T92" fmla="*/ 256 w 256"/>
                  <a:gd name="T93" fmla="*/ 35 h 89"/>
                  <a:gd name="T94" fmla="*/ 256 w 256"/>
                  <a:gd name="T95" fmla="*/ 60 h 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56" h="89">
                    <a:moveTo>
                      <a:pt x="256" y="60"/>
                    </a:moveTo>
                    <a:lnTo>
                      <a:pt x="256" y="69"/>
                    </a:lnTo>
                    <a:lnTo>
                      <a:pt x="252" y="69"/>
                    </a:lnTo>
                    <a:lnTo>
                      <a:pt x="252" y="60"/>
                    </a:lnTo>
                    <a:lnTo>
                      <a:pt x="252" y="48"/>
                    </a:lnTo>
                    <a:lnTo>
                      <a:pt x="252" y="48"/>
                    </a:lnTo>
                    <a:lnTo>
                      <a:pt x="249" y="53"/>
                    </a:lnTo>
                    <a:lnTo>
                      <a:pt x="247" y="58"/>
                    </a:lnTo>
                    <a:lnTo>
                      <a:pt x="239" y="65"/>
                    </a:lnTo>
                    <a:lnTo>
                      <a:pt x="239" y="65"/>
                    </a:lnTo>
                    <a:lnTo>
                      <a:pt x="229" y="71"/>
                    </a:lnTo>
                    <a:lnTo>
                      <a:pt x="218" y="76"/>
                    </a:lnTo>
                    <a:lnTo>
                      <a:pt x="218" y="76"/>
                    </a:lnTo>
                    <a:lnTo>
                      <a:pt x="207" y="80"/>
                    </a:lnTo>
                    <a:lnTo>
                      <a:pt x="196" y="83"/>
                    </a:lnTo>
                    <a:lnTo>
                      <a:pt x="196" y="83"/>
                    </a:lnTo>
                    <a:lnTo>
                      <a:pt x="173" y="87"/>
                    </a:lnTo>
                    <a:lnTo>
                      <a:pt x="173" y="87"/>
                    </a:lnTo>
                    <a:lnTo>
                      <a:pt x="150" y="89"/>
                    </a:lnTo>
                    <a:lnTo>
                      <a:pt x="128" y="89"/>
                    </a:lnTo>
                    <a:lnTo>
                      <a:pt x="128" y="89"/>
                    </a:lnTo>
                    <a:lnTo>
                      <a:pt x="105" y="89"/>
                    </a:lnTo>
                    <a:lnTo>
                      <a:pt x="82" y="87"/>
                    </a:lnTo>
                    <a:lnTo>
                      <a:pt x="82" y="87"/>
                    </a:lnTo>
                    <a:lnTo>
                      <a:pt x="59" y="83"/>
                    </a:lnTo>
                    <a:lnTo>
                      <a:pt x="59" y="83"/>
                    </a:lnTo>
                    <a:lnTo>
                      <a:pt x="48" y="80"/>
                    </a:lnTo>
                    <a:lnTo>
                      <a:pt x="37" y="76"/>
                    </a:lnTo>
                    <a:lnTo>
                      <a:pt x="37" y="76"/>
                    </a:lnTo>
                    <a:lnTo>
                      <a:pt x="26" y="71"/>
                    </a:lnTo>
                    <a:lnTo>
                      <a:pt x="17" y="65"/>
                    </a:lnTo>
                    <a:lnTo>
                      <a:pt x="17" y="65"/>
                    </a:lnTo>
                    <a:lnTo>
                      <a:pt x="8" y="58"/>
                    </a:lnTo>
                    <a:lnTo>
                      <a:pt x="6" y="53"/>
                    </a:lnTo>
                    <a:lnTo>
                      <a:pt x="3" y="48"/>
                    </a:lnTo>
                    <a:lnTo>
                      <a:pt x="3" y="60"/>
                    </a:lnTo>
                    <a:lnTo>
                      <a:pt x="3" y="69"/>
                    </a:lnTo>
                    <a:lnTo>
                      <a:pt x="3" y="76"/>
                    </a:lnTo>
                    <a:lnTo>
                      <a:pt x="3" y="76"/>
                    </a:lnTo>
                    <a:lnTo>
                      <a:pt x="3" y="76"/>
                    </a:lnTo>
                    <a:lnTo>
                      <a:pt x="0" y="76"/>
                    </a:lnTo>
                    <a:lnTo>
                      <a:pt x="0" y="69"/>
                    </a:lnTo>
                    <a:lnTo>
                      <a:pt x="0" y="60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23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3" y="0"/>
                    </a:lnTo>
                    <a:lnTo>
                      <a:pt x="3" y="0"/>
                    </a:lnTo>
                    <a:lnTo>
                      <a:pt x="3" y="1"/>
                    </a:lnTo>
                    <a:lnTo>
                      <a:pt x="3" y="1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7" y="10"/>
                    </a:lnTo>
                    <a:lnTo>
                      <a:pt x="10" y="15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7" y="29"/>
                    </a:lnTo>
                    <a:lnTo>
                      <a:pt x="38" y="33"/>
                    </a:lnTo>
                    <a:lnTo>
                      <a:pt x="38" y="33"/>
                    </a:lnTo>
                    <a:lnTo>
                      <a:pt x="48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105" y="47"/>
                    </a:lnTo>
                    <a:lnTo>
                      <a:pt x="128" y="47"/>
                    </a:lnTo>
                    <a:lnTo>
                      <a:pt x="128" y="47"/>
                    </a:lnTo>
                    <a:lnTo>
                      <a:pt x="150" y="47"/>
                    </a:lnTo>
                    <a:lnTo>
                      <a:pt x="173" y="44"/>
                    </a:lnTo>
                    <a:lnTo>
                      <a:pt x="173" y="44"/>
                    </a:lnTo>
                    <a:lnTo>
                      <a:pt x="196" y="41"/>
                    </a:lnTo>
                    <a:lnTo>
                      <a:pt x="196" y="41"/>
                    </a:lnTo>
                    <a:lnTo>
                      <a:pt x="207" y="37"/>
                    </a:lnTo>
                    <a:lnTo>
                      <a:pt x="217" y="33"/>
                    </a:lnTo>
                    <a:lnTo>
                      <a:pt x="217" y="33"/>
                    </a:lnTo>
                    <a:lnTo>
                      <a:pt x="228" y="29"/>
                    </a:lnTo>
                    <a:lnTo>
                      <a:pt x="237" y="23"/>
                    </a:lnTo>
                    <a:lnTo>
                      <a:pt x="237" y="23"/>
                    </a:lnTo>
                    <a:lnTo>
                      <a:pt x="245" y="15"/>
                    </a:lnTo>
                    <a:lnTo>
                      <a:pt x="248" y="10"/>
                    </a:lnTo>
                    <a:lnTo>
                      <a:pt x="251" y="6"/>
                    </a:lnTo>
                    <a:lnTo>
                      <a:pt x="251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6" y="0"/>
                    </a:lnTo>
                    <a:lnTo>
                      <a:pt x="256" y="0"/>
                    </a:lnTo>
                    <a:lnTo>
                      <a:pt x="256" y="0"/>
                    </a:lnTo>
                    <a:lnTo>
                      <a:pt x="256" y="0"/>
                    </a:lnTo>
                    <a:lnTo>
                      <a:pt x="256" y="0"/>
                    </a:lnTo>
                    <a:lnTo>
                      <a:pt x="256" y="23"/>
                    </a:lnTo>
                    <a:lnTo>
                      <a:pt x="256" y="35"/>
                    </a:lnTo>
                    <a:lnTo>
                      <a:pt x="256" y="37"/>
                    </a:lnTo>
                    <a:lnTo>
                      <a:pt x="256" y="6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30" name="Freeform 701"/>
              <p:cNvSpPr>
                <a:spLocks noEditPoints="1"/>
              </p:cNvSpPr>
              <p:nvPr/>
            </p:nvSpPr>
            <p:spPr bwMode="auto">
              <a:xfrm>
                <a:off x="9318625" y="1878013"/>
                <a:ext cx="134938" cy="46037"/>
              </a:xfrm>
              <a:custGeom>
                <a:avLst/>
                <a:gdLst>
                  <a:gd name="T0" fmla="*/ 252 w 256"/>
                  <a:gd name="T1" fmla="*/ 83 h 87"/>
                  <a:gd name="T2" fmla="*/ 252 w 256"/>
                  <a:gd name="T3" fmla="*/ 67 h 87"/>
                  <a:gd name="T4" fmla="*/ 249 w 256"/>
                  <a:gd name="T5" fmla="*/ 56 h 87"/>
                  <a:gd name="T6" fmla="*/ 240 w 256"/>
                  <a:gd name="T7" fmla="*/ 64 h 87"/>
                  <a:gd name="T8" fmla="*/ 214 w 256"/>
                  <a:gd name="T9" fmla="*/ 75 h 87"/>
                  <a:gd name="T10" fmla="*/ 180 w 256"/>
                  <a:gd name="T11" fmla="*/ 83 h 87"/>
                  <a:gd name="T12" fmla="*/ 145 w 256"/>
                  <a:gd name="T13" fmla="*/ 86 h 87"/>
                  <a:gd name="T14" fmla="*/ 110 w 256"/>
                  <a:gd name="T15" fmla="*/ 86 h 87"/>
                  <a:gd name="T16" fmla="*/ 75 w 256"/>
                  <a:gd name="T17" fmla="*/ 83 h 87"/>
                  <a:gd name="T18" fmla="*/ 41 w 256"/>
                  <a:gd name="T19" fmla="*/ 75 h 87"/>
                  <a:gd name="T20" fmla="*/ 15 w 256"/>
                  <a:gd name="T21" fmla="*/ 64 h 87"/>
                  <a:gd name="T22" fmla="*/ 6 w 256"/>
                  <a:gd name="T23" fmla="*/ 56 h 87"/>
                  <a:gd name="T24" fmla="*/ 3 w 256"/>
                  <a:gd name="T25" fmla="*/ 78 h 87"/>
                  <a:gd name="T26" fmla="*/ 3 w 256"/>
                  <a:gd name="T27" fmla="*/ 83 h 87"/>
                  <a:gd name="T28" fmla="*/ 0 w 256"/>
                  <a:gd name="T29" fmla="*/ 83 h 87"/>
                  <a:gd name="T30" fmla="*/ 0 w 256"/>
                  <a:gd name="T31" fmla="*/ 78 h 87"/>
                  <a:gd name="T32" fmla="*/ 0 w 256"/>
                  <a:gd name="T33" fmla="*/ 44 h 87"/>
                  <a:gd name="T34" fmla="*/ 2 w 256"/>
                  <a:gd name="T35" fmla="*/ 34 h 87"/>
                  <a:gd name="T36" fmla="*/ 8 w 256"/>
                  <a:gd name="T37" fmla="*/ 27 h 87"/>
                  <a:gd name="T38" fmla="*/ 24 w 256"/>
                  <a:gd name="T39" fmla="*/ 18 h 87"/>
                  <a:gd name="T40" fmla="*/ 58 w 256"/>
                  <a:gd name="T41" fmla="*/ 7 h 87"/>
                  <a:gd name="T42" fmla="*/ 92 w 256"/>
                  <a:gd name="T43" fmla="*/ 1 h 87"/>
                  <a:gd name="T44" fmla="*/ 128 w 256"/>
                  <a:gd name="T45" fmla="*/ 0 h 87"/>
                  <a:gd name="T46" fmla="*/ 163 w 256"/>
                  <a:gd name="T47" fmla="*/ 1 h 87"/>
                  <a:gd name="T48" fmla="*/ 197 w 256"/>
                  <a:gd name="T49" fmla="*/ 7 h 87"/>
                  <a:gd name="T50" fmla="*/ 231 w 256"/>
                  <a:gd name="T51" fmla="*/ 18 h 87"/>
                  <a:gd name="T52" fmla="*/ 247 w 256"/>
                  <a:gd name="T53" fmla="*/ 27 h 87"/>
                  <a:gd name="T54" fmla="*/ 253 w 256"/>
                  <a:gd name="T55" fmla="*/ 34 h 87"/>
                  <a:gd name="T56" fmla="*/ 256 w 256"/>
                  <a:gd name="T57" fmla="*/ 67 h 87"/>
                  <a:gd name="T58" fmla="*/ 214 w 256"/>
                  <a:gd name="T59" fmla="*/ 38 h 87"/>
                  <a:gd name="T60" fmla="*/ 215 w 256"/>
                  <a:gd name="T61" fmla="*/ 33 h 87"/>
                  <a:gd name="T62" fmla="*/ 214 w 256"/>
                  <a:gd name="T63" fmla="*/ 28 h 87"/>
                  <a:gd name="T64" fmla="*/ 209 w 256"/>
                  <a:gd name="T65" fmla="*/ 23 h 87"/>
                  <a:gd name="T66" fmla="*/ 200 w 256"/>
                  <a:gd name="T67" fmla="*/ 17 h 87"/>
                  <a:gd name="T68" fmla="*/ 177 w 256"/>
                  <a:gd name="T69" fmla="*/ 8 h 87"/>
                  <a:gd name="T70" fmla="*/ 134 w 256"/>
                  <a:gd name="T71" fmla="*/ 4 h 87"/>
                  <a:gd name="T72" fmla="*/ 103 w 256"/>
                  <a:gd name="T73" fmla="*/ 5 h 87"/>
                  <a:gd name="T74" fmla="*/ 78 w 256"/>
                  <a:gd name="T75" fmla="*/ 8 h 87"/>
                  <a:gd name="T76" fmla="*/ 55 w 256"/>
                  <a:gd name="T77" fmla="*/ 17 h 87"/>
                  <a:gd name="T78" fmla="*/ 46 w 256"/>
                  <a:gd name="T79" fmla="*/ 23 h 87"/>
                  <a:gd name="T80" fmla="*/ 41 w 256"/>
                  <a:gd name="T81" fmla="*/ 30 h 87"/>
                  <a:gd name="T82" fmla="*/ 41 w 256"/>
                  <a:gd name="T83" fmla="*/ 35 h 87"/>
                  <a:gd name="T84" fmla="*/ 46 w 256"/>
                  <a:gd name="T85" fmla="*/ 42 h 87"/>
                  <a:gd name="T86" fmla="*/ 55 w 256"/>
                  <a:gd name="T87" fmla="*/ 49 h 87"/>
                  <a:gd name="T88" fmla="*/ 78 w 256"/>
                  <a:gd name="T89" fmla="*/ 56 h 87"/>
                  <a:gd name="T90" fmla="*/ 103 w 256"/>
                  <a:gd name="T91" fmla="*/ 59 h 87"/>
                  <a:gd name="T92" fmla="*/ 134 w 256"/>
                  <a:gd name="T93" fmla="*/ 61 h 87"/>
                  <a:gd name="T94" fmla="*/ 177 w 256"/>
                  <a:gd name="T95" fmla="*/ 56 h 87"/>
                  <a:gd name="T96" fmla="*/ 200 w 256"/>
                  <a:gd name="T97" fmla="*/ 49 h 87"/>
                  <a:gd name="T98" fmla="*/ 209 w 256"/>
                  <a:gd name="T99" fmla="*/ 42 h 87"/>
                  <a:gd name="T100" fmla="*/ 214 w 256"/>
                  <a:gd name="T101" fmla="*/ 38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256" h="87">
                    <a:moveTo>
                      <a:pt x="256" y="80"/>
                    </a:moveTo>
                    <a:lnTo>
                      <a:pt x="256" y="83"/>
                    </a:lnTo>
                    <a:lnTo>
                      <a:pt x="252" y="83"/>
                    </a:lnTo>
                    <a:lnTo>
                      <a:pt x="252" y="80"/>
                    </a:lnTo>
                    <a:lnTo>
                      <a:pt x="252" y="78"/>
                    </a:lnTo>
                    <a:lnTo>
                      <a:pt x="252" y="67"/>
                    </a:lnTo>
                    <a:lnTo>
                      <a:pt x="252" y="52"/>
                    </a:lnTo>
                    <a:lnTo>
                      <a:pt x="252" y="52"/>
                    </a:lnTo>
                    <a:lnTo>
                      <a:pt x="249" y="56"/>
                    </a:lnTo>
                    <a:lnTo>
                      <a:pt x="247" y="59"/>
                    </a:lnTo>
                    <a:lnTo>
                      <a:pt x="247" y="59"/>
                    </a:lnTo>
                    <a:lnTo>
                      <a:pt x="240" y="64"/>
                    </a:lnTo>
                    <a:lnTo>
                      <a:pt x="231" y="69"/>
                    </a:lnTo>
                    <a:lnTo>
                      <a:pt x="231" y="69"/>
                    </a:lnTo>
                    <a:lnTo>
                      <a:pt x="214" y="75"/>
                    </a:lnTo>
                    <a:lnTo>
                      <a:pt x="197" y="80"/>
                    </a:lnTo>
                    <a:lnTo>
                      <a:pt x="197" y="80"/>
                    </a:lnTo>
                    <a:lnTo>
                      <a:pt x="180" y="83"/>
                    </a:lnTo>
                    <a:lnTo>
                      <a:pt x="163" y="85"/>
                    </a:lnTo>
                    <a:lnTo>
                      <a:pt x="163" y="85"/>
                    </a:lnTo>
                    <a:lnTo>
                      <a:pt x="145" y="86"/>
                    </a:lnTo>
                    <a:lnTo>
                      <a:pt x="128" y="87"/>
                    </a:lnTo>
                    <a:lnTo>
                      <a:pt x="128" y="87"/>
                    </a:lnTo>
                    <a:lnTo>
                      <a:pt x="110" y="86"/>
                    </a:lnTo>
                    <a:lnTo>
                      <a:pt x="92" y="85"/>
                    </a:lnTo>
                    <a:lnTo>
                      <a:pt x="92" y="85"/>
                    </a:lnTo>
                    <a:lnTo>
                      <a:pt x="75" y="83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41" y="75"/>
                    </a:lnTo>
                    <a:lnTo>
                      <a:pt x="24" y="69"/>
                    </a:lnTo>
                    <a:lnTo>
                      <a:pt x="24" y="69"/>
                    </a:lnTo>
                    <a:lnTo>
                      <a:pt x="15" y="64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6" y="56"/>
                    </a:lnTo>
                    <a:lnTo>
                      <a:pt x="3" y="52"/>
                    </a:lnTo>
                    <a:lnTo>
                      <a:pt x="3" y="67"/>
                    </a:lnTo>
                    <a:lnTo>
                      <a:pt x="3" y="78"/>
                    </a:lnTo>
                    <a:lnTo>
                      <a:pt x="3" y="80"/>
                    </a:lnTo>
                    <a:lnTo>
                      <a:pt x="3" y="83"/>
                    </a:lnTo>
                    <a:lnTo>
                      <a:pt x="3" y="83"/>
                    </a:lnTo>
                    <a:lnTo>
                      <a:pt x="3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0"/>
                    </a:lnTo>
                    <a:lnTo>
                      <a:pt x="0" y="78"/>
                    </a:lnTo>
                    <a:lnTo>
                      <a:pt x="0" y="67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1" y="39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6" y="30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15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41" y="11"/>
                    </a:lnTo>
                    <a:lnTo>
                      <a:pt x="58" y="7"/>
                    </a:lnTo>
                    <a:lnTo>
                      <a:pt x="58" y="7"/>
                    </a:lnTo>
                    <a:lnTo>
                      <a:pt x="75" y="4"/>
                    </a:lnTo>
                    <a:lnTo>
                      <a:pt x="92" y="1"/>
                    </a:lnTo>
                    <a:lnTo>
                      <a:pt x="92" y="1"/>
                    </a:lnTo>
                    <a:lnTo>
                      <a:pt x="110" y="0"/>
                    </a:lnTo>
                    <a:lnTo>
                      <a:pt x="128" y="0"/>
                    </a:lnTo>
                    <a:lnTo>
                      <a:pt x="128" y="0"/>
                    </a:lnTo>
                    <a:lnTo>
                      <a:pt x="145" y="0"/>
                    </a:lnTo>
                    <a:lnTo>
                      <a:pt x="163" y="1"/>
                    </a:lnTo>
                    <a:lnTo>
                      <a:pt x="163" y="1"/>
                    </a:lnTo>
                    <a:lnTo>
                      <a:pt x="180" y="4"/>
                    </a:lnTo>
                    <a:lnTo>
                      <a:pt x="197" y="7"/>
                    </a:lnTo>
                    <a:lnTo>
                      <a:pt x="197" y="7"/>
                    </a:lnTo>
                    <a:lnTo>
                      <a:pt x="214" y="11"/>
                    </a:lnTo>
                    <a:lnTo>
                      <a:pt x="231" y="18"/>
                    </a:lnTo>
                    <a:lnTo>
                      <a:pt x="231" y="18"/>
                    </a:lnTo>
                    <a:lnTo>
                      <a:pt x="240" y="22"/>
                    </a:lnTo>
                    <a:lnTo>
                      <a:pt x="247" y="27"/>
                    </a:lnTo>
                    <a:lnTo>
                      <a:pt x="247" y="27"/>
                    </a:lnTo>
                    <a:lnTo>
                      <a:pt x="249" y="30"/>
                    </a:lnTo>
                    <a:lnTo>
                      <a:pt x="253" y="34"/>
                    </a:lnTo>
                    <a:lnTo>
                      <a:pt x="253" y="34"/>
                    </a:lnTo>
                    <a:lnTo>
                      <a:pt x="254" y="39"/>
                    </a:lnTo>
                    <a:lnTo>
                      <a:pt x="256" y="44"/>
                    </a:lnTo>
                    <a:lnTo>
                      <a:pt x="256" y="67"/>
                    </a:lnTo>
                    <a:lnTo>
                      <a:pt x="256" y="78"/>
                    </a:lnTo>
                    <a:lnTo>
                      <a:pt x="256" y="80"/>
                    </a:lnTo>
                    <a:close/>
                    <a:moveTo>
                      <a:pt x="214" y="38"/>
                    </a:moveTo>
                    <a:lnTo>
                      <a:pt x="214" y="38"/>
                    </a:lnTo>
                    <a:lnTo>
                      <a:pt x="214" y="35"/>
                    </a:lnTo>
                    <a:lnTo>
                      <a:pt x="215" y="33"/>
                    </a:lnTo>
                    <a:lnTo>
                      <a:pt x="215" y="33"/>
                    </a:lnTo>
                    <a:lnTo>
                      <a:pt x="214" y="30"/>
                    </a:lnTo>
                    <a:lnTo>
                      <a:pt x="214" y="28"/>
                    </a:lnTo>
                    <a:lnTo>
                      <a:pt x="214" y="28"/>
                    </a:lnTo>
                    <a:lnTo>
                      <a:pt x="209" y="23"/>
                    </a:lnTo>
                    <a:lnTo>
                      <a:pt x="209" y="23"/>
                    </a:lnTo>
                    <a:lnTo>
                      <a:pt x="205" y="19"/>
                    </a:lnTo>
                    <a:lnTo>
                      <a:pt x="200" y="17"/>
                    </a:lnTo>
                    <a:lnTo>
                      <a:pt x="200" y="17"/>
                    </a:lnTo>
                    <a:lnTo>
                      <a:pt x="189" y="12"/>
                    </a:lnTo>
                    <a:lnTo>
                      <a:pt x="177" y="8"/>
                    </a:lnTo>
                    <a:lnTo>
                      <a:pt x="177" y="8"/>
                    </a:lnTo>
                    <a:lnTo>
                      <a:pt x="156" y="6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03" y="5"/>
                    </a:lnTo>
                    <a:lnTo>
                      <a:pt x="91" y="7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66" y="12"/>
                    </a:lnTo>
                    <a:lnTo>
                      <a:pt x="55" y="17"/>
                    </a:lnTo>
                    <a:lnTo>
                      <a:pt x="55" y="17"/>
                    </a:lnTo>
                    <a:lnTo>
                      <a:pt x="50" y="19"/>
                    </a:lnTo>
                    <a:lnTo>
                      <a:pt x="46" y="23"/>
                    </a:lnTo>
                    <a:lnTo>
                      <a:pt x="46" y="23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1" y="30"/>
                    </a:lnTo>
                    <a:lnTo>
                      <a:pt x="40" y="33"/>
                    </a:lnTo>
                    <a:lnTo>
                      <a:pt x="40" y="33"/>
                    </a:lnTo>
                    <a:lnTo>
                      <a:pt x="41" y="35"/>
                    </a:lnTo>
                    <a:lnTo>
                      <a:pt x="41" y="38"/>
                    </a:lnTo>
                    <a:lnTo>
                      <a:pt x="41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50" y="45"/>
                    </a:lnTo>
                    <a:lnTo>
                      <a:pt x="55" y="49"/>
                    </a:lnTo>
                    <a:lnTo>
                      <a:pt x="55" y="49"/>
                    </a:lnTo>
                    <a:lnTo>
                      <a:pt x="66" y="52"/>
                    </a:lnTo>
                    <a:lnTo>
                      <a:pt x="78" y="56"/>
                    </a:lnTo>
                    <a:lnTo>
                      <a:pt x="78" y="56"/>
                    </a:lnTo>
                    <a:lnTo>
                      <a:pt x="91" y="58"/>
                    </a:lnTo>
                    <a:lnTo>
                      <a:pt x="103" y="59"/>
                    </a:lnTo>
                    <a:lnTo>
                      <a:pt x="128" y="61"/>
                    </a:lnTo>
                    <a:lnTo>
                      <a:pt x="128" y="61"/>
                    </a:lnTo>
                    <a:lnTo>
                      <a:pt x="134" y="61"/>
                    </a:lnTo>
                    <a:lnTo>
                      <a:pt x="134" y="61"/>
                    </a:lnTo>
                    <a:lnTo>
                      <a:pt x="156" y="59"/>
                    </a:lnTo>
                    <a:lnTo>
                      <a:pt x="177" y="56"/>
                    </a:lnTo>
                    <a:lnTo>
                      <a:pt x="177" y="56"/>
                    </a:lnTo>
                    <a:lnTo>
                      <a:pt x="189" y="52"/>
                    </a:lnTo>
                    <a:lnTo>
                      <a:pt x="200" y="49"/>
                    </a:lnTo>
                    <a:lnTo>
                      <a:pt x="200" y="49"/>
                    </a:lnTo>
                    <a:lnTo>
                      <a:pt x="205" y="45"/>
                    </a:lnTo>
                    <a:lnTo>
                      <a:pt x="209" y="42"/>
                    </a:lnTo>
                    <a:lnTo>
                      <a:pt x="209" y="42"/>
                    </a:lnTo>
                    <a:lnTo>
                      <a:pt x="214" y="38"/>
                    </a:lnTo>
                    <a:lnTo>
                      <a:pt x="214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31" name="Freeform 702"/>
              <p:cNvSpPr>
                <a:spLocks noEditPoints="1"/>
              </p:cNvSpPr>
              <p:nvPr/>
            </p:nvSpPr>
            <p:spPr bwMode="auto">
              <a:xfrm>
                <a:off x="9371012" y="1881188"/>
                <a:ext cx="30163" cy="26987"/>
              </a:xfrm>
              <a:custGeom>
                <a:avLst/>
                <a:gdLst>
                  <a:gd name="T0" fmla="*/ 41 w 57"/>
                  <a:gd name="T1" fmla="*/ 16 h 51"/>
                  <a:gd name="T2" fmla="*/ 41 w 57"/>
                  <a:gd name="T3" fmla="*/ 15 h 51"/>
                  <a:gd name="T4" fmla="*/ 35 w 57"/>
                  <a:gd name="T5" fmla="*/ 11 h 51"/>
                  <a:gd name="T6" fmla="*/ 35 w 57"/>
                  <a:gd name="T7" fmla="*/ 22 h 51"/>
                  <a:gd name="T8" fmla="*/ 51 w 57"/>
                  <a:gd name="T9" fmla="*/ 27 h 51"/>
                  <a:gd name="T10" fmla="*/ 56 w 57"/>
                  <a:gd name="T11" fmla="*/ 33 h 51"/>
                  <a:gd name="T12" fmla="*/ 57 w 57"/>
                  <a:gd name="T13" fmla="*/ 35 h 51"/>
                  <a:gd name="T14" fmla="*/ 55 w 57"/>
                  <a:gd name="T15" fmla="*/ 39 h 51"/>
                  <a:gd name="T16" fmla="*/ 44 w 57"/>
                  <a:gd name="T17" fmla="*/ 46 h 51"/>
                  <a:gd name="T18" fmla="*/ 35 w 57"/>
                  <a:gd name="T19" fmla="*/ 51 h 51"/>
                  <a:gd name="T20" fmla="*/ 22 w 57"/>
                  <a:gd name="T21" fmla="*/ 48 h 51"/>
                  <a:gd name="T22" fmla="*/ 13 w 57"/>
                  <a:gd name="T23" fmla="*/ 46 h 51"/>
                  <a:gd name="T24" fmla="*/ 2 w 57"/>
                  <a:gd name="T25" fmla="*/ 39 h 51"/>
                  <a:gd name="T26" fmla="*/ 0 w 57"/>
                  <a:gd name="T27" fmla="*/ 35 h 51"/>
                  <a:gd name="T28" fmla="*/ 16 w 57"/>
                  <a:gd name="T29" fmla="*/ 35 h 51"/>
                  <a:gd name="T30" fmla="*/ 17 w 57"/>
                  <a:gd name="T31" fmla="*/ 38 h 51"/>
                  <a:gd name="T32" fmla="*/ 22 w 57"/>
                  <a:gd name="T33" fmla="*/ 28 h 51"/>
                  <a:gd name="T34" fmla="*/ 13 w 57"/>
                  <a:gd name="T35" fmla="*/ 27 h 51"/>
                  <a:gd name="T36" fmla="*/ 2 w 57"/>
                  <a:gd name="T37" fmla="*/ 21 h 51"/>
                  <a:gd name="T38" fmla="*/ 0 w 57"/>
                  <a:gd name="T39" fmla="*/ 16 h 51"/>
                  <a:gd name="T40" fmla="*/ 1 w 57"/>
                  <a:gd name="T41" fmla="*/ 14 h 51"/>
                  <a:gd name="T42" fmla="*/ 6 w 57"/>
                  <a:gd name="T43" fmla="*/ 8 h 51"/>
                  <a:gd name="T44" fmla="*/ 22 w 57"/>
                  <a:gd name="T45" fmla="*/ 4 h 51"/>
                  <a:gd name="T46" fmla="*/ 35 w 57"/>
                  <a:gd name="T47" fmla="*/ 0 h 51"/>
                  <a:gd name="T48" fmla="*/ 35 w 57"/>
                  <a:gd name="T49" fmla="*/ 4 h 51"/>
                  <a:gd name="T50" fmla="*/ 51 w 57"/>
                  <a:gd name="T51" fmla="*/ 8 h 51"/>
                  <a:gd name="T52" fmla="*/ 56 w 57"/>
                  <a:gd name="T53" fmla="*/ 14 h 51"/>
                  <a:gd name="T54" fmla="*/ 57 w 57"/>
                  <a:gd name="T55" fmla="*/ 16 h 51"/>
                  <a:gd name="T56" fmla="*/ 41 w 57"/>
                  <a:gd name="T57" fmla="*/ 35 h 51"/>
                  <a:gd name="T58" fmla="*/ 40 w 57"/>
                  <a:gd name="T59" fmla="*/ 32 h 51"/>
                  <a:gd name="T60" fmla="*/ 35 w 57"/>
                  <a:gd name="T61" fmla="*/ 40 h 51"/>
                  <a:gd name="T62" fmla="*/ 40 w 57"/>
                  <a:gd name="T63" fmla="*/ 38 h 51"/>
                  <a:gd name="T64" fmla="*/ 41 w 57"/>
                  <a:gd name="T65" fmla="*/ 35 h 51"/>
                  <a:gd name="T66" fmla="*/ 22 w 57"/>
                  <a:gd name="T67" fmla="*/ 21 h 51"/>
                  <a:gd name="T68" fmla="*/ 22 w 57"/>
                  <a:gd name="T69" fmla="*/ 11 h 51"/>
                  <a:gd name="T70" fmla="*/ 16 w 57"/>
                  <a:gd name="T71" fmla="*/ 15 h 51"/>
                  <a:gd name="T72" fmla="*/ 16 w 57"/>
                  <a:gd name="T73" fmla="*/ 16 h 51"/>
                  <a:gd name="T74" fmla="*/ 17 w 57"/>
                  <a:gd name="T75" fmla="*/ 18 h 51"/>
                  <a:gd name="T76" fmla="*/ 22 w 57"/>
                  <a:gd name="T77" fmla="*/ 21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7" h="51">
                    <a:moveTo>
                      <a:pt x="57" y="16"/>
                    </a:moveTo>
                    <a:lnTo>
                      <a:pt x="41" y="16"/>
                    </a:lnTo>
                    <a:lnTo>
                      <a:pt x="41" y="16"/>
                    </a:lnTo>
                    <a:lnTo>
                      <a:pt x="41" y="15"/>
                    </a:lnTo>
                    <a:lnTo>
                      <a:pt x="40" y="14"/>
                    </a:lnTo>
                    <a:lnTo>
                      <a:pt x="35" y="11"/>
                    </a:lnTo>
                    <a:lnTo>
                      <a:pt x="35" y="22"/>
                    </a:lnTo>
                    <a:lnTo>
                      <a:pt x="35" y="22"/>
                    </a:lnTo>
                    <a:lnTo>
                      <a:pt x="44" y="25"/>
                    </a:lnTo>
                    <a:lnTo>
                      <a:pt x="51" y="27"/>
                    </a:lnTo>
                    <a:lnTo>
                      <a:pt x="55" y="31"/>
                    </a:lnTo>
                    <a:lnTo>
                      <a:pt x="56" y="33"/>
                    </a:lnTo>
                    <a:lnTo>
                      <a:pt x="57" y="35"/>
                    </a:lnTo>
                    <a:lnTo>
                      <a:pt x="57" y="35"/>
                    </a:lnTo>
                    <a:lnTo>
                      <a:pt x="56" y="38"/>
                    </a:lnTo>
                    <a:lnTo>
                      <a:pt x="55" y="39"/>
                    </a:lnTo>
                    <a:lnTo>
                      <a:pt x="51" y="43"/>
                    </a:lnTo>
                    <a:lnTo>
                      <a:pt x="44" y="46"/>
                    </a:lnTo>
                    <a:lnTo>
                      <a:pt x="35" y="48"/>
                    </a:lnTo>
                    <a:lnTo>
                      <a:pt x="35" y="51"/>
                    </a:lnTo>
                    <a:lnTo>
                      <a:pt x="22" y="51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13" y="46"/>
                    </a:lnTo>
                    <a:lnTo>
                      <a:pt x="6" y="43"/>
                    </a:lnTo>
                    <a:lnTo>
                      <a:pt x="2" y="39"/>
                    </a:lnTo>
                    <a:lnTo>
                      <a:pt x="1" y="38"/>
                    </a:lnTo>
                    <a:lnTo>
                      <a:pt x="0" y="35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16" y="37"/>
                    </a:lnTo>
                    <a:lnTo>
                      <a:pt x="17" y="38"/>
                    </a:lnTo>
                    <a:lnTo>
                      <a:pt x="22" y="4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13" y="27"/>
                    </a:lnTo>
                    <a:lnTo>
                      <a:pt x="6" y="25"/>
                    </a:lnTo>
                    <a:lnTo>
                      <a:pt x="2" y="21"/>
                    </a:lnTo>
                    <a:lnTo>
                      <a:pt x="1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1" y="14"/>
                    </a:lnTo>
                    <a:lnTo>
                      <a:pt x="2" y="11"/>
                    </a:lnTo>
                    <a:lnTo>
                      <a:pt x="6" y="8"/>
                    </a:lnTo>
                    <a:lnTo>
                      <a:pt x="13" y="5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35" y="0"/>
                    </a:lnTo>
                    <a:lnTo>
                      <a:pt x="35" y="4"/>
                    </a:lnTo>
                    <a:lnTo>
                      <a:pt x="35" y="4"/>
                    </a:lnTo>
                    <a:lnTo>
                      <a:pt x="44" y="5"/>
                    </a:lnTo>
                    <a:lnTo>
                      <a:pt x="51" y="8"/>
                    </a:lnTo>
                    <a:lnTo>
                      <a:pt x="55" y="11"/>
                    </a:lnTo>
                    <a:lnTo>
                      <a:pt x="56" y="14"/>
                    </a:lnTo>
                    <a:lnTo>
                      <a:pt x="57" y="16"/>
                    </a:lnTo>
                    <a:lnTo>
                      <a:pt x="57" y="16"/>
                    </a:lnTo>
                    <a:close/>
                    <a:moveTo>
                      <a:pt x="41" y="35"/>
                    </a:moveTo>
                    <a:lnTo>
                      <a:pt x="41" y="35"/>
                    </a:lnTo>
                    <a:lnTo>
                      <a:pt x="41" y="34"/>
                    </a:lnTo>
                    <a:lnTo>
                      <a:pt x="40" y="32"/>
                    </a:lnTo>
                    <a:lnTo>
                      <a:pt x="35" y="31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40" y="38"/>
                    </a:lnTo>
                    <a:lnTo>
                      <a:pt x="41" y="37"/>
                    </a:lnTo>
                    <a:lnTo>
                      <a:pt x="41" y="35"/>
                    </a:lnTo>
                    <a:lnTo>
                      <a:pt x="41" y="35"/>
                    </a:lnTo>
                    <a:close/>
                    <a:moveTo>
                      <a:pt x="22" y="21"/>
                    </a:moveTo>
                    <a:lnTo>
                      <a:pt x="22" y="11"/>
                    </a:lnTo>
                    <a:lnTo>
                      <a:pt x="22" y="11"/>
                    </a:lnTo>
                    <a:lnTo>
                      <a:pt x="17" y="14"/>
                    </a:lnTo>
                    <a:lnTo>
                      <a:pt x="16" y="15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7"/>
                    </a:lnTo>
                    <a:lnTo>
                      <a:pt x="17" y="18"/>
                    </a:lnTo>
                    <a:lnTo>
                      <a:pt x="22" y="21"/>
                    </a:lnTo>
                    <a:lnTo>
                      <a:pt x="22" y="2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32" name="Freeform 703"/>
              <p:cNvSpPr/>
              <p:nvPr/>
            </p:nvSpPr>
            <p:spPr bwMode="auto">
              <a:xfrm>
                <a:off x="9177337" y="1898650"/>
                <a:ext cx="133350" cy="46037"/>
              </a:xfrm>
              <a:custGeom>
                <a:avLst/>
                <a:gdLst>
                  <a:gd name="T0" fmla="*/ 254 w 254"/>
                  <a:gd name="T1" fmla="*/ 36 h 87"/>
                  <a:gd name="T2" fmla="*/ 254 w 254"/>
                  <a:gd name="T3" fmla="*/ 37 h 87"/>
                  <a:gd name="T4" fmla="*/ 252 w 254"/>
                  <a:gd name="T5" fmla="*/ 44 h 87"/>
                  <a:gd name="T6" fmla="*/ 246 w 254"/>
                  <a:gd name="T7" fmla="*/ 53 h 87"/>
                  <a:gd name="T8" fmla="*/ 237 w 254"/>
                  <a:gd name="T9" fmla="*/ 62 h 87"/>
                  <a:gd name="T10" fmla="*/ 218 w 254"/>
                  <a:gd name="T11" fmla="*/ 74 h 87"/>
                  <a:gd name="T12" fmla="*/ 207 w 254"/>
                  <a:gd name="T13" fmla="*/ 77 h 87"/>
                  <a:gd name="T14" fmla="*/ 195 w 254"/>
                  <a:gd name="T15" fmla="*/ 80 h 87"/>
                  <a:gd name="T16" fmla="*/ 173 w 254"/>
                  <a:gd name="T17" fmla="*/ 85 h 87"/>
                  <a:gd name="T18" fmla="*/ 127 w 254"/>
                  <a:gd name="T19" fmla="*/ 87 h 87"/>
                  <a:gd name="T20" fmla="*/ 104 w 254"/>
                  <a:gd name="T21" fmla="*/ 86 h 87"/>
                  <a:gd name="T22" fmla="*/ 81 w 254"/>
                  <a:gd name="T23" fmla="*/ 85 h 87"/>
                  <a:gd name="T24" fmla="*/ 58 w 254"/>
                  <a:gd name="T25" fmla="*/ 80 h 87"/>
                  <a:gd name="T26" fmla="*/ 36 w 254"/>
                  <a:gd name="T27" fmla="*/ 74 h 87"/>
                  <a:gd name="T28" fmla="*/ 25 w 254"/>
                  <a:gd name="T29" fmla="*/ 68 h 87"/>
                  <a:gd name="T30" fmla="*/ 15 w 254"/>
                  <a:gd name="T31" fmla="*/ 62 h 87"/>
                  <a:gd name="T32" fmla="*/ 3 w 254"/>
                  <a:gd name="T33" fmla="*/ 50 h 87"/>
                  <a:gd name="T34" fmla="*/ 1 w 254"/>
                  <a:gd name="T35" fmla="*/ 44 h 87"/>
                  <a:gd name="T36" fmla="*/ 0 w 254"/>
                  <a:gd name="T37" fmla="*/ 37 h 87"/>
                  <a:gd name="T38" fmla="*/ 0 w 254"/>
                  <a:gd name="T39" fmla="*/ 35 h 87"/>
                  <a:gd name="T40" fmla="*/ 0 w 254"/>
                  <a:gd name="T41" fmla="*/ 20 h 87"/>
                  <a:gd name="T42" fmla="*/ 2 w 254"/>
                  <a:gd name="T43" fmla="*/ 0 h 87"/>
                  <a:gd name="T44" fmla="*/ 2 w 254"/>
                  <a:gd name="T45" fmla="*/ 1 h 87"/>
                  <a:gd name="T46" fmla="*/ 3 w 254"/>
                  <a:gd name="T47" fmla="*/ 6 h 87"/>
                  <a:gd name="T48" fmla="*/ 6 w 254"/>
                  <a:gd name="T49" fmla="*/ 11 h 87"/>
                  <a:gd name="T50" fmla="*/ 18 w 254"/>
                  <a:gd name="T51" fmla="*/ 23 h 87"/>
                  <a:gd name="T52" fmla="*/ 26 w 254"/>
                  <a:gd name="T53" fmla="*/ 29 h 87"/>
                  <a:gd name="T54" fmla="*/ 37 w 254"/>
                  <a:gd name="T55" fmla="*/ 34 h 87"/>
                  <a:gd name="T56" fmla="*/ 59 w 254"/>
                  <a:gd name="T57" fmla="*/ 41 h 87"/>
                  <a:gd name="T58" fmla="*/ 81 w 254"/>
                  <a:gd name="T59" fmla="*/ 45 h 87"/>
                  <a:gd name="T60" fmla="*/ 104 w 254"/>
                  <a:gd name="T61" fmla="*/ 47 h 87"/>
                  <a:gd name="T62" fmla="*/ 127 w 254"/>
                  <a:gd name="T63" fmla="*/ 47 h 87"/>
                  <a:gd name="T64" fmla="*/ 172 w 254"/>
                  <a:gd name="T65" fmla="*/ 45 h 87"/>
                  <a:gd name="T66" fmla="*/ 195 w 254"/>
                  <a:gd name="T67" fmla="*/ 41 h 87"/>
                  <a:gd name="T68" fmla="*/ 206 w 254"/>
                  <a:gd name="T69" fmla="*/ 37 h 87"/>
                  <a:gd name="T70" fmla="*/ 217 w 254"/>
                  <a:gd name="T71" fmla="*/ 34 h 87"/>
                  <a:gd name="T72" fmla="*/ 236 w 254"/>
                  <a:gd name="T73" fmla="*/ 23 h 87"/>
                  <a:gd name="T74" fmla="*/ 245 w 254"/>
                  <a:gd name="T75" fmla="*/ 16 h 87"/>
                  <a:gd name="T76" fmla="*/ 250 w 254"/>
                  <a:gd name="T77" fmla="*/ 6 h 87"/>
                  <a:gd name="T78" fmla="*/ 252 w 254"/>
                  <a:gd name="T79" fmla="*/ 1 h 87"/>
                  <a:gd name="T80" fmla="*/ 252 w 254"/>
                  <a:gd name="T81" fmla="*/ 0 h 87"/>
                  <a:gd name="T82" fmla="*/ 254 w 254"/>
                  <a:gd name="T83" fmla="*/ 20 h 87"/>
                  <a:gd name="T84" fmla="*/ 254 w 254"/>
                  <a:gd name="T85" fmla="*/ 35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254" h="87">
                    <a:moveTo>
                      <a:pt x="254" y="36"/>
                    </a:moveTo>
                    <a:lnTo>
                      <a:pt x="254" y="36"/>
                    </a:lnTo>
                    <a:lnTo>
                      <a:pt x="254" y="37"/>
                    </a:lnTo>
                    <a:lnTo>
                      <a:pt x="254" y="37"/>
                    </a:lnTo>
                    <a:lnTo>
                      <a:pt x="252" y="44"/>
                    </a:lnTo>
                    <a:lnTo>
                      <a:pt x="252" y="44"/>
                    </a:lnTo>
                    <a:lnTo>
                      <a:pt x="250" y="50"/>
                    </a:lnTo>
                    <a:lnTo>
                      <a:pt x="246" y="53"/>
                    </a:lnTo>
                    <a:lnTo>
                      <a:pt x="237" y="62"/>
                    </a:lnTo>
                    <a:lnTo>
                      <a:pt x="237" y="62"/>
                    </a:lnTo>
                    <a:lnTo>
                      <a:pt x="228" y="68"/>
                    </a:lnTo>
                    <a:lnTo>
                      <a:pt x="218" y="74"/>
                    </a:lnTo>
                    <a:lnTo>
                      <a:pt x="218" y="74"/>
                    </a:lnTo>
                    <a:lnTo>
                      <a:pt x="207" y="77"/>
                    </a:lnTo>
                    <a:lnTo>
                      <a:pt x="195" y="80"/>
                    </a:lnTo>
                    <a:lnTo>
                      <a:pt x="195" y="80"/>
                    </a:lnTo>
                    <a:lnTo>
                      <a:pt x="173" y="85"/>
                    </a:lnTo>
                    <a:lnTo>
                      <a:pt x="173" y="85"/>
                    </a:lnTo>
                    <a:lnTo>
                      <a:pt x="150" y="86"/>
                    </a:lnTo>
                    <a:lnTo>
                      <a:pt x="127" y="87"/>
                    </a:lnTo>
                    <a:lnTo>
                      <a:pt x="127" y="87"/>
                    </a:lnTo>
                    <a:lnTo>
                      <a:pt x="104" y="86"/>
                    </a:lnTo>
                    <a:lnTo>
                      <a:pt x="81" y="85"/>
                    </a:lnTo>
                    <a:lnTo>
                      <a:pt x="81" y="85"/>
                    </a:lnTo>
                    <a:lnTo>
                      <a:pt x="58" y="80"/>
                    </a:lnTo>
                    <a:lnTo>
                      <a:pt x="58" y="80"/>
                    </a:lnTo>
                    <a:lnTo>
                      <a:pt x="47" y="77"/>
                    </a:lnTo>
                    <a:lnTo>
                      <a:pt x="36" y="74"/>
                    </a:lnTo>
                    <a:lnTo>
                      <a:pt x="36" y="74"/>
                    </a:lnTo>
                    <a:lnTo>
                      <a:pt x="25" y="68"/>
                    </a:lnTo>
                    <a:lnTo>
                      <a:pt x="15" y="62"/>
                    </a:lnTo>
                    <a:lnTo>
                      <a:pt x="15" y="62"/>
                    </a:lnTo>
                    <a:lnTo>
                      <a:pt x="7" y="53"/>
                    </a:lnTo>
                    <a:lnTo>
                      <a:pt x="3" y="50"/>
                    </a:lnTo>
                    <a:lnTo>
                      <a:pt x="1" y="44"/>
                    </a:lnTo>
                    <a:lnTo>
                      <a:pt x="1" y="44"/>
                    </a:lnTo>
                    <a:lnTo>
                      <a:pt x="0" y="37"/>
                    </a:lnTo>
                    <a:lnTo>
                      <a:pt x="0" y="37"/>
                    </a:lnTo>
                    <a:lnTo>
                      <a:pt x="0" y="36"/>
                    </a:lnTo>
                    <a:lnTo>
                      <a:pt x="0" y="35"/>
                    </a:lnTo>
                    <a:lnTo>
                      <a:pt x="0" y="31"/>
                    </a:lnTo>
                    <a:lnTo>
                      <a:pt x="0" y="2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11"/>
                    </a:lnTo>
                    <a:lnTo>
                      <a:pt x="9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6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7"/>
                    </a:lnTo>
                    <a:lnTo>
                      <a:pt x="127" y="47"/>
                    </a:lnTo>
                    <a:lnTo>
                      <a:pt x="127" y="47"/>
                    </a:lnTo>
                    <a:lnTo>
                      <a:pt x="150" y="47"/>
                    </a:lnTo>
                    <a:lnTo>
                      <a:pt x="172" y="45"/>
                    </a:lnTo>
                    <a:lnTo>
                      <a:pt x="172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7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6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7" y="11"/>
                    </a:lnTo>
                    <a:lnTo>
                      <a:pt x="250" y="6"/>
                    </a:lnTo>
                    <a:lnTo>
                      <a:pt x="250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4" y="0"/>
                    </a:lnTo>
                    <a:lnTo>
                      <a:pt x="254" y="20"/>
                    </a:lnTo>
                    <a:lnTo>
                      <a:pt x="254" y="31"/>
                    </a:lnTo>
                    <a:lnTo>
                      <a:pt x="254" y="35"/>
                    </a:lnTo>
                    <a:lnTo>
                      <a:pt x="254" y="3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33" name="Freeform 704"/>
              <p:cNvSpPr/>
              <p:nvPr/>
            </p:nvSpPr>
            <p:spPr bwMode="auto">
              <a:xfrm>
                <a:off x="9177337" y="1860550"/>
                <a:ext cx="133350" cy="44450"/>
              </a:xfrm>
              <a:custGeom>
                <a:avLst/>
                <a:gdLst>
                  <a:gd name="T0" fmla="*/ 254 w 254"/>
                  <a:gd name="T1" fmla="*/ 72 h 83"/>
                  <a:gd name="T2" fmla="*/ 252 w 254"/>
                  <a:gd name="T3" fmla="*/ 72 h 83"/>
                  <a:gd name="T4" fmla="*/ 252 w 254"/>
                  <a:gd name="T5" fmla="*/ 69 h 83"/>
                  <a:gd name="T6" fmla="*/ 252 w 254"/>
                  <a:gd name="T7" fmla="*/ 56 h 83"/>
                  <a:gd name="T8" fmla="*/ 252 w 254"/>
                  <a:gd name="T9" fmla="*/ 40 h 83"/>
                  <a:gd name="T10" fmla="*/ 246 w 254"/>
                  <a:gd name="T11" fmla="*/ 50 h 83"/>
                  <a:gd name="T12" fmla="*/ 237 w 254"/>
                  <a:gd name="T13" fmla="*/ 57 h 83"/>
                  <a:gd name="T14" fmla="*/ 218 w 254"/>
                  <a:gd name="T15" fmla="*/ 68 h 83"/>
                  <a:gd name="T16" fmla="*/ 207 w 254"/>
                  <a:gd name="T17" fmla="*/ 73 h 83"/>
                  <a:gd name="T18" fmla="*/ 195 w 254"/>
                  <a:gd name="T19" fmla="*/ 75 h 83"/>
                  <a:gd name="T20" fmla="*/ 173 w 254"/>
                  <a:gd name="T21" fmla="*/ 79 h 83"/>
                  <a:gd name="T22" fmla="*/ 127 w 254"/>
                  <a:gd name="T23" fmla="*/ 83 h 83"/>
                  <a:gd name="T24" fmla="*/ 104 w 254"/>
                  <a:gd name="T25" fmla="*/ 82 h 83"/>
                  <a:gd name="T26" fmla="*/ 81 w 254"/>
                  <a:gd name="T27" fmla="*/ 79 h 83"/>
                  <a:gd name="T28" fmla="*/ 58 w 254"/>
                  <a:gd name="T29" fmla="*/ 75 h 83"/>
                  <a:gd name="T30" fmla="*/ 36 w 254"/>
                  <a:gd name="T31" fmla="*/ 68 h 83"/>
                  <a:gd name="T32" fmla="*/ 25 w 254"/>
                  <a:gd name="T33" fmla="*/ 63 h 83"/>
                  <a:gd name="T34" fmla="*/ 15 w 254"/>
                  <a:gd name="T35" fmla="*/ 57 h 83"/>
                  <a:gd name="T36" fmla="*/ 4 w 254"/>
                  <a:gd name="T37" fmla="*/ 45 h 83"/>
                  <a:gd name="T38" fmla="*/ 2 w 254"/>
                  <a:gd name="T39" fmla="*/ 56 h 83"/>
                  <a:gd name="T40" fmla="*/ 2 w 254"/>
                  <a:gd name="T41" fmla="*/ 69 h 83"/>
                  <a:gd name="T42" fmla="*/ 2 w 254"/>
                  <a:gd name="T43" fmla="*/ 72 h 83"/>
                  <a:gd name="T44" fmla="*/ 0 w 254"/>
                  <a:gd name="T45" fmla="*/ 72 h 83"/>
                  <a:gd name="T46" fmla="*/ 0 w 254"/>
                  <a:gd name="T47" fmla="*/ 67 h 83"/>
                  <a:gd name="T48" fmla="*/ 0 w 254"/>
                  <a:gd name="T49" fmla="*/ 33 h 83"/>
                  <a:gd name="T50" fmla="*/ 0 w 254"/>
                  <a:gd name="T51" fmla="*/ 33 h 83"/>
                  <a:gd name="T52" fmla="*/ 0 w 254"/>
                  <a:gd name="T53" fmla="*/ 31 h 83"/>
                  <a:gd name="T54" fmla="*/ 0 w 254"/>
                  <a:gd name="T55" fmla="*/ 16 h 83"/>
                  <a:gd name="T56" fmla="*/ 2 w 254"/>
                  <a:gd name="T57" fmla="*/ 0 h 83"/>
                  <a:gd name="T58" fmla="*/ 2 w 254"/>
                  <a:gd name="T59" fmla="*/ 1 h 83"/>
                  <a:gd name="T60" fmla="*/ 3 w 254"/>
                  <a:gd name="T61" fmla="*/ 6 h 83"/>
                  <a:gd name="T62" fmla="*/ 6 w 254"/>
                  <a:gd name="T63" fmla="*/ 11 h 83"/>
                  <a:gd name="T64" fmla="*/ 18 w 254"/>
                  <a:gd name="T65" fmla="*/ 23 h 83"/>
                  <a:gd name="T66" fmla="*/ 26 w 254"/>
                  <a:gd name="T67" fmla="*/ 29 h 83"/>
                  <a:gd name="T68" fmla="*/ 37 w 254"/>
                  <a:gd name="T69" fmla="*/ 34 h 83"/>
                  <a:gd name="T70" fmla="*/ 59 w 254"/>
                  <a:gd name="T71" fmla="*/ 41 h 83"/>
                  <a:gd name="T72" fmla="*/ 81 w 254"/>
                  <a:gd name="T73" fmla="*/ 45 h 83"/>
                  <a:gd name="T74" fmla="*/ 104 w 254"/>
                  <a:gd name="T75" fmla="*/ 48 h 83"/>
                  <a:gd name="T76" fmla="*/ 127 w 254"/>
                  <a:gd name="T77" fmla="*/ 49 h 83"/>
                  <a:gd name="T78" fmla="*/ 172 w 254"/>
                  <a:gd name="T79" fmla="*/ 45 h 83"/>
                  <a:gd name="T80" fmla="*/ 195 w 254"/>
                  <a:gd name="T81" fmla="*/ 41 h 83"/>
                  <a:gd name="T82" fmla="*/ 206 w 254"/>
                  <a:gd name="T83" fmla="*/ 39 h 83"/>
                  <a:gd name="T84" fmla="*/ 217 w 254"/>
                  <a:gd name="T85" fmla="*/ 34 h 83"/>
                  <a:gd name="T86" fmla="*/ 236 w 254"/>
                  <a:gd name="T87" fmla="*/ 23 h 83"/>
                  <a:gd name="T88" fmla="*/ 245 w 254"/>
                  <a:gd name="T89" fmla="*/ 16 h 83"/>
                  <a:gd name="T90" fmla="*/ 250 w 254"/>
                  <a:gd name="T91" fmla="*/ 6 h 83"/>
                  <a:gd name="T92" fmla="*/ 252 w 254"/>
                  <a:gd name="T93" fmla="*/ 1 h 83"/>
                  <a:gd name="T94" fmla="*/ 252 w 254"/>
                  <a:gd name="T95" fmla="*/ 0 h 83"/>
                  <a:gd name="T96" fmla="*/ 254 w 254"/>
                  <a:gd name="T97" fmla="*/ 16 h 83"/>
                  <a:gd name="T98" fmla="*/ 254 w 254"/>
                  <a:gd name="T99" fmla="*/ 31 h 83"/>
                  <a:gd name="T100" fmla="*/ 254 w 254"/>
                  <a:gd name="T101" fmla="*/ 32 h 83"/>
                  <a:gd name="T102" fmla="*/ 254 w 254"/>
                  <a:gd name="T103" fmla="*/ 33 h 83"/>
                  <a:gd name="T104" fmla="*/ 254 w 254"/>
                  <a:gd name="T105" fmla="*/ 67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54" h="83">
                    <a:moveTo>
                      <a:pt x="254" y="69"/>
                    </a:moveTo>
                    <a:lnTo>
                      <a:pt x="254" y="72"/>
                    </a:lnTo>
                    <a:lnTo>
                      <a:pt x="252" y="72"/>
                    </a:lnTo>
                    <a:lnTo>
                      <a:pt x="252" y="72"/>
                    </a:lnTo>
                    <a:lnTo>
                      <a:pt x="252" y="72"/>
                    </a:lnTo>
                    <a:lnTo>
                      <a:pt x="252" y="69"/>
                    </a:lnTo>
                    <a:lnTo>
                      <a:pt x="252" y="67"/>
                    </a:lnTo>
                    <a:lnTo>
                      <a:pt x="252" y="56"/>
                    </a:lnTo>
                    <a:lnTo>
                      <a:pt x="252" y="40"/>
                    </a:lnTo>
                    <a:lnTo>
                      <a:pt x="252" y="40"/>
                    </a:lnTo>
                    <a:lnTo>
                      <a:pt x="248" y="45"/>
                    </a:lnTo>
                    <a:lnTo>
                      <a:pt x="246" y="50"/>
                    </a:lnTo>
                    <a:lnTo>
                      <a:pt x="237" y="57"/>
                    </a:lnTo>
                    <a:lnTo>
                      <a:pt x="237" y="57"/>
                    </a:lnTo>
                    <a:lnTo>
                      <a:pt x="228" y="63"/>
                    </a:lnTo>
                    <a:lnTo>
                      <a:pt x="218" y="68"/>
                    </a:lnTo>
                    <a:lnTo>
                      <a:pt x="218" y="68"/>
                    </a:lnTo>
                    <a:lnTo>
                      <a:pt x="207" y="73"/>
                    </a:lnTo>
                    <a:lnTo>
                      <a:pt x="195" y="75"/>
                    </a:lnTo>
                    <a:lnTo>
                      <a:pt x="195" y="75"/>
                    </a:lnTo>
                    <a:lnTo>
                      <a:pt x="173" y="79"/>
                    </a:lnTo>
                    <a:lnTo>
                      <a:pt x="173" y="79"/>
                    </a:lnTo>
                    <a:lnTo>
                      <a:pt x="150" y="82"/>
                    </a:lnTo>
                    <a:lnTo>
                      <a:pt x="127" y="83"/>
                    </a:lnTo>
                    <a:lnTo>
                      <a:pt x="127" y="83"/>
                    </a:lnTo>
                    <a:lnTo>
                      <a:pt x="104" y="82"/>
                    </a:lnTo>
                    <a:lnTo>
                      <a:pt x="81" y="79"/>
                    </a:lnTo>
                    <a:lnTo>
                      <a:pt x="81" y="79"/>
                    </a:lnTo>
                    <a:lnTo>
                      <a:pt x="58" y="75"/>
                    </a:lnTo>
                    <a:lnTo>
                      <a:pt x="58" y="75"/>
                    </a:lnTo>
                    <a:lnTo>
                      <a:pt x="47" y="73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25" y="63"/>
                    </a:lnTo>
                    <a:lnTo>
                      <a:pt x="15" y="57"/>
                    </a:lnTo>
                    <a:lnTo>
                      <a:pt x="15" y="57"/>
                    </a:lnTo>
                    <a:lnTo>
                      <a:pt x="8" y="50"/>
                    </a:lnTo>
                    <a:lnTo>
                      <a:pt x="4" y="45"/>
                    </a:lnTo>
                    <a:lnTo>
                      <a:pt x="2" y="40"/>
                    </a:lnTo>
                    <a:lnTo>
                      <a:pt x="2" y="56"/>
                    </a:lnTo>
                    <a:lnTo>
                      <a:pt x="2" y="67"/>
                    </a:lnTo>
                    <a:lnTo>
                      <a:pt x="2" y="69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2"/>
                    </a:lnTo>
                    <a:lnTo>
                      <a:pt x="0" y="69"/>
                    </a:lnTo>
                    <a:lnTo>
                      <a:pt x="0" y="67"/>
                    </a:lnTo>
                    <a:lnTo>
                      <a:pt x="0" y="56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3"/>
                    </a:lnTo>
                    <a:lnTo>
                      <a:pt x="0" y="32"/>
                    </a:lnTo>
                    <a:lnTo>
                      <a:pt x="0" y="31"/>
                    </a:lnTo>
                    <a:lnTo>
                      <a:pt x="0" y="27"/>
                    </a:lnTo>
                    <a:lnTo>
                      <a:pt x="0" y="16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11"/>
                    </a:lnTo>
                    <a:lnTo>
                      <a:pt x="9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6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9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8"/>
                    </a:lnTo>
                    <a:lnTo>
                      <a:pt x="127" y="49"/>
                    </a:lnTo>
                    <a:lnTo>
                      <a:pt x="127" y="49"/>
                    </a:lnTo>
                    <a:lnTo>
                      <a:pt x="150" y="48"/>
                    </a:lnTo>
                    <a:lnTo>
                      <a:pt x="172" y="45"/>
                    </a:lnTo>
                    <a:lnTo>
                      <a:pt x="172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9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6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7" y="11"/>
                    </a:lnTo>
                    <a:lnTo>
                      <a:pt x="250" y="6"/>
                    </a:lnTo>
                    <a:lnTo>
                      <a:pt x="250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4" y="0"/>
                    </a:lnTo>
                    <a:lnTo>
                      <a:pt x="254" y="16"/>
                    </a:lnTo>
                    <a:lnTo>
                      <a:pt x="254" y="27"/>
                    </a:lnTo>
                    <a:lnTo>
                      <a:pt x="254" y="31"/>
                    </a:lnTo>
                    <a:lnTo>
                      <a:pt x="254" y="32"/>
                    </a:lnTo>
                    <a:lnTo>
                      <a:pt x="254" y="32"/>
                    </a:lnTo>
                    <a:lnTo>
                      <a:pt x="254" y="33"/>
                    </a:lnTo>
                    <a:lnTo>
                      <a:pt x="254" y="33"/>
                    </a:lnTo>
                    <a:lnTo>
                      <a:pt x="254" y="56"/>
                    </a:lnTo>
                    <a:lnTo>
                      <a:pt x="254" y="67"/>
                    </a:lnTo>
                    <a:lnTo>
                      <a:pt x="25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34" name="Freeform 705"/>
              <p:cNvSpPr/>
              <p:nvPr/>
            </p:nvSpPr>
            <p:spPr bwMode="auto">
              <a:xfrm>
                <a:off x="9177337" y="1820863"/>
                <a:ext cx="133350" cy="47625"/>
              </a:xfrm>
              <a:custGeom>
                <a:avLst/>
                <a:gdLst>
                  <a:gd name="T0" fmla="*/ 254 w 254"/>
                  <a:gd name="T1" fmla="*/ 76 h 90"/>
                  <a:gd name="T2" fmla="*/ 252 w 254"/>
                  <a:gd name="T3" fmla="*/ 76 h 90"/>
                  <a:gd name="T4" fmla="*/ 252 w 254"/>
                  <a:gd name="T5" fmla="*/ 69 h 90"/>
                  <a:gd name="T6" fmla="*/ 252 w 254"/>
                  <a:gd name="T7" fmla="*/ 48 h 90"/>
                  <a:gd name="T8" fmla="*/ 248 w 254"/>
                  <a:gd name="T9" fmla="*/ 53 h 90"/>
                  <a:gd name="T10" fmla="*/ 237 w 254"/>
                  <a:gd name="T11" fmla="*/ 65 h 90"/>
                  <a:gd name="T12" fmla="*/ 228 w 254"/>
                  <a:gd name="T13" fmla="*/ 71 h 90"/>
                  <a:gd name="T14" fmla="*/ 218 w 254"/>
                  <a:gd name="T15" fmla="*/ 76 h 90"/>
                  <a:gd name="T16" fmla="*/ 195 w 254"/>
                  <a:gd name="T17" fmla="*/ 84 h 90"/>
                  <a:gd name="T18" fmla="*/ 173 w 254"/>
                  <a:gd name="T19" fmla="*/ 87 h 90"/>
                  <a:gd name="T20" fmla="*/ 150 w 254"/>
                  <a:gd name="T21" fmla="*/ 90 h 90"/>
                  <a:gd name="T22" fmla="*/ 127 w 254"/>
                  <a:gd name="T23" fmla="*/ 90 h 90"/>
                  <a:gd name="T24" fmla="*/ 81 w 254"/>
                  <a:gd name="T25" fmla="*/ 87 h 90"/>
                  <a:gd name="T26" fmla="*/ 58 w 254"/>
                  <a:gd name="T27" fmla="*/ 84 h 90"/>
                  <a:gd name="T28" fmla="*/ 47 w 254"/>
                  <a:gd name="T29" fmla="*/ 80 h 90"/>
                  <a:gd name="T30" fmla="*/ 36 w 254"/>
                  <a:gd name="T31" fmla="*/ 76 h 90"/>
                  <a:gd name="T32" fmla="*/ 15 w 254"/>
                  <a:gd name="T33" fmla="*/ 65 h 90"/>
                  <a:gd name="T34" fmla="*/ 8 w 254"/>
                  <a:gd name="T35" fmla="*/ 58 h 90"/>
                  <a:gd name="T36" fmla="*/ 2 w 254"/>
                  <a:gd name="T37" fmla="*/ 48 h 90"/>
                  <a:gd name="T38" fmla="*/ 2 w 254"/>
                  <a:gd name="T39" fmla="*/ 69 h 90"/>
                  <a:gd name="T40" fmla="*/ 2 w 254"/>
                  <a:gd name="T41" fmla="*/ 76 h 90"/>
                  <a:gd name="T42" fmla="*/ 0 w 254"/>
                  <a:gd name="T43" fmla="*/ 76 h 90"/>
                  <a:gd name="T44" fmla="*/ 0 w 254"/>
                  <a:gd name="T45" fmla="*/ 60 h 90"/>
                  <a:gd name="T46" fmla="*/ 0 w 254"/>
                  <a:gd name="T47" fmla="*/ 35 h 90"/>
                  <a:gd name="T48" fmla="*/ 0 w 254"/>
                  <a:gd name="T49" fmla="*/ 1 h 90"/>
                  <a:gd name="T50" fmla="*/ 0 w 254"/>
                  <a:gd name="T51" fmla="*/ 1 h 90"/>
                  <a:gd name="T52" fmla="*/ 2 w 254"/>
                  <a:gd name="T53" fmla="*/ 0 h 90"/>
                  <a:gd name="T54" fmla="*/ 2 w 254"/>
                  <a:gd name="T55" fmla="*/ 1 h 90"/>
                  <a:gd name="T56" fmla="*/ 3 w 254"/>
                  <a:gd name="T57" fmla="*/ 6 h 90"/>
                  <a:gd name="T58" fmla="*/ 6 w 254"/>
                  <a:gd name="T59" fmla="*/ 11 h 90"/>
                  <a:gd name="T60" fmla="*/ 18 w 254"/>
                  <a:gd name="T61" fmla="*/ 23 h 90"/>
                  <a:gd name="T62" fmla="*/ 26 w 254"/>
                  <a:gd name="T63" fmla="*/ 29 h 90"/>
                  <a:gd name="T64" fmla="*/ 37 w 254"/>
                  <a:gd name="T65" fmla="*/ 34 h 90"/>
                  <a:gd name="T66" fmla="*/ 59 w 254"/>
                  <a:gd name="T67" fmla="*/ 41 h 90"/>
                  <a:gd name="T68" fmla="*/ 81 w 254"/>
                  <a:gd name="T69" fmla="*/ 45 h 90"/>
                  <a:gd name="T70" fmla="*/ 104 w 254"/>
                  <a:gd name="T71" fmla="*/ 47 h 90"/>
                  <a:gd name="T72" fmla="*/ 127 w 254"/>
                  <a:gd name="T73" fmla="*/ 47 h 90"/>
                  <a:gd name="T74" fmla="*/ 172 w 254"/>
                  <a:gd name="T75" fmla="*/ 45 h 90"/>
                  <a:gd name="T76" fmla="*/ 195 w 254"/>
                  <a:gd name="T77" fmla="*/ 41 h 90"/>
                  <a:gd name="T78" fmla="*/ 206 w 254"/>
                  <a:gd name="T79" fmla="*/ 37 h 90"/>
                  <a:gd name="T80" fmla="*/ 217 w 254"/>
                  <a:gd name="T81" fmla="*/ 34 h 90"/>
                  <a:gd name="T82" fmla="*/ 236 w 254"/>
                  <a:gd name="T83" fmla="*/ 23 h 90"/>
                  <a:gd name="T84" fmla="*/ 245 w 254"/>
                  <a:gd name="T85" fmla="*/ 16 h 90"/>
                  <a:gd name="T86" fmla="*/ 250 w 254"/>
                  <a:gd name="T87" fmla="*/ 6 h 90"/>
                  <a:gd name="T88" fmla="*/ 252 w 254"/>
                  <a:gd name="T89" fmla="*/ 1 h 90"/>
                  <a:gd name="T90" fmla="*/ 252 w 254"/>
                  <a:gd name="T91" fmla="*/ 0 h 90"/>
                  <a:gd name="T92" fmla="*/ 254 w 254"/>
                  <a:gd name="T93" fmla="*/ 1 h 90"/>
                  <a:gd name="T94" fmla="*/ 254 w 254"/>
                  <a:gd name="T95" fmla="*/ 35 h 90"/>
                  <a:gd name="T96" fmla="*/ 254 w 254"/>
                  <a:gd name="T97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54" h="90">
                    <a:moveTo>
                      <a:pt x="254" y="69"/>
                    </a:moveTo>
                    <a:lnTo>
                      <a:pt x="254" y="76"/>
                    </a:lnTo>
                    <a:lnTo>
                      <a:pt x="252" y="76"/>
                    </a:lnTo>
                    <a:lnTo>
                      <a:pt x="252" y="76"/>
                    </a:lnTo>
                    <a:lnTo>
                      <a:pt x="252" y="76"/>
                    </a:lnTo>
                    <a:lnTo>
                      <a:pt x="252" y="69"/>
                    </a:lnTo>
                    <a:lnTo>
                      <a:pt x="252" y="60"/>
                    </a:lnTo>
                    <a:lnTo>
                      <a:pt x="252" y="48"/>
                    </a:lnTo>
                    <a:lnTo>
                      <a:pt x="252" y="48"/>
                    </a:lnTo>
                    <a:lnTo>
                      <a:pt x="248" y="53"/>
                    </a:lnTo>
                    <a:lnTo>
                      <a:pt x="246" y="58"/>
                    </a:lnTo>
                    <a:lnTo>
                      <a:pt x="237" y="65"/>
                    </a:lnTo>
                    <a:lnTo>
                      <a:pt x="237" y="65"/>
                    </a:lnTo>
                    <a:lnTo>
                      <a:pt x="228" y="71"/>
                    </a:lnTo>
                    <a:lnTo>
                      <a:pt x="218" y="76"/>
                    </a:lnTo>
                    <a:lnTo>
                      <a:pt x="218" y="76"/>
                    </a:lnTo>
                    <a:lnTo>
                      <a:pt x="207" y="80"/>
                    </a:lnTo>
                    <a:lnTo>
                      <a:pt x="195" y="84"/>
                    </a:lnTo>
                    <a:lnTo>
                      <a:pt x="195" y="84"/>
                    </a:lnTo>
                    <a:lnTo>
                      <a:pt x="173" y="87"/>
                    </a:lnTo>
                    <a:lnTo>
                      <a:pt x="173" y="87"/>
                    </a:lnTo>
                    <a:lnTo>
                      <a:pt x="150" y="90"/>
                    </a:lnTo>
                    <a:lnTo>
                      <a:pt x="127" y="90"/>
                    </a:lnTo>
                    <a:lnTo>
                      <a:pt x="127" y="90"/>
                    </a:lnTo>
                    <a:lnTo>
                      <a:pt x="104" y="90"/>
                    </a:lnTo>
                    <a:lnTo>
                      <a:pt x="81" y="87"/>
                    </a:lnTo>
                    <a:lnTo>
                      <a:pt x="81" y="87"/>
                    </a:lnTo>
                    <a:lnTo>
                      <a:pt x="58" y="84"/>
                    </a:lnTo>
                    <a:lnTo>
                      <a:pt x="58" y="84"/>
                    </a:lnTo>
                    <a:lnTo>
                      <a:pt x="47" y="80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25" y="71"/>
                    </a:lnTo>
                    <a:lnTo>
                      <a:pt x="15" y="65"/>
                    </a:lnTo>
                    <a:lnTo>
                      <a:pt x="15" y="65"/>
                    </a:lnTo>
                    <a:lnTo>
                      <a:pt x="8" y="58"/>
                    </a:lnTo>
                    <a:lnTo>
                      <a:pt x="4" y="53"/>
                    </a:lnTo>
                    <a:lnTo>
                      <a:pt x="2" y="48"/>
                    </a:lnTo>
                    <a:lnTo>
                      <a:pt x="2" y="60"/>
                    </a:lnTo>
                    <a:lnTo>
                      <a:pt x="2" y="69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69"/>
                    </a:lnTo>
                    <a:lnTo>
                      <a:pt x="0" y="60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0" y="24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1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1"/>
                    </a:lnTo>
                    <a:lnTo>
                      <a:pt x="2" y="1"/>
                    </a:lnTo>
                    <a:lnTo>
                      <a:pt x="3" y="6"/>
                    </a:lnTo>
                    <a:lnTo>
                      <a:pt x="3" y="6"/>
                    </a:lnTo>
                    <a:lnTo>
                      <a:pt x="6" y="11"/>
                    </a:lnTo>
                    <a:lnTo>
                      <a:pt x="9" y="16"/>
                    </a:lnTo>
                    <a:lnTo>
                      <a:pt x="18" y="23"/>
                    </a:lnTo>
                    <a:lnTo>
                      <a:pt x="18" y="23"/>
                    </a:lnTo>
                    <a:lnTo>
                      <a:pt x="26" y="29"/>
                    </a:lnTo>
                    <a:lnTo>
                      <a:pt x="37" y="34"/>
                    </a:lnTo>
                    <a:lnTo>
                      <a:pt x="37" y="34"/>
                    </a:lnTo>
                    <a:lnTo>
                      <a:pt x="48" y="37"/>
                    </a:lnTo>
                    <a:lnTo>
                      <a:pt x="59" y="41"/>
                    </a:lnTo>
                    <a:lnTo>
                      <a:pt x="59" y="41"/>
                    </a:lnTo>
                    <a:lnTo>
                      <a:pt x="81" y="45"/>
                    </a:lnTo>
                    <a:lnTo>
                      <a:pt x="81" y="45"/>
                    </a:lnTo>
                    <a:lnTo>
                      <a:pt x="104" y="47"/>
                    </a:lnTo>
                    <a:lnTo>
                      <a:pt x="127" y="47"/>
                    </a:lnTo>
                    <a:lnTo>
                      <a:pt x="127" y="47"/>
                    </a:lnTo>
                    <a:lnTo>
                      <a:pt x="150" y="47"/>
                    </a:lnTo>
                    <a:lnTo>
                      <a:pt x="172" y="45"/>
                    </a:lnTo>
                    <a:lnTo>
                      <a:pt x="172" y="45"/>
                    </a:lnTo>
                    <a:lnTo>
                      <a:pt x="195" y="41"/>
                    </a:lnTo>
                    <a:lnTo>
                      <a:pt x="195" y="41"/>
                    </a:lnTo>
                    <a:lnTo>
                      <a:pt x="206" y="37"/>
                    </a:lnTo>
                    <a:lnTo>
                      <a:pt x="217" y="34"/>
                    </a:lnTo>
                    <a:lnTo>
                      <a:pt x="217" y="34"/>
                    </a:lnTo>
                    <a:lnTo>
                      <a:pt x="226" y="29"/>
                    </a:lnTo>
                    <a:lnTo>
                      <a:pt x="236" y="23"/>
                    </a:lnTo>
                    <a:lnTo>
                      <a:pt x="236" y="23"/>
                    </a:lnTo>
                    <a:lnTo>
                      <a:pt x="245" y="16"/>
                    </a:lnTo>
                    <a:lnTo>
                      <a:pt x="247" y="11"/>
                    </a:lnTo>
                    <a:lnTo>
                      <a:pt x="250" y="6"/>
                    </a:lnTo>
                    <a:lnTo>
                      <a:pt x="250" y="6"/>
                    </a:lnTo>
                    <a:lnTo>
                      <a:pt x="252" y="1"/>
                    </a:lnTo>
                    <a:lnTo>
                      <a:pt x="252" y="1"/>
                    </a:lnTo>
                    <a:lnTo>
                      <a:pt x="252" y="0"/>
                    </a:lnTo>
                    <a:lnTo>
                      <a:pt x="254" y="1"/>
                    </a:lnTo>
                    <a:lnTo>
                      <a:pt x="254" y="1"/>
                    </a:lnTo>
                    <a:lnTo>
                      <a:pt x="254" y="24"/>
                    </a:lnTo>
                    <a:lnTo>
                      <a:pt x="254" y="35"/>
                    </a:lnTo>
                    <a:lnTo>
                      <a:pt x="254" y="37"/>
                    </a:lnTo>
                    <a:lnTo>
                      <a:pt x="254" y="60"/>
                    </a:lnTo>
                    <a:lnTo>
                      <a:pt x="254" y="6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35" name="Freeform 706"/>
              <p:cNvSpPr>
                <a:spLocks noEditPoints="1"/>
              </p:cNvSpPr>
              <p:nvPr/>
            </p:nvSpPr>
            <p:spPr bwMode="auto">
              <a:xfrm>
                <a:off x="9177337" y="1776413"/>
                <a:ext cx="133350" cy="46037"/>
              </a:xfrm>
              <a:custGeom>
                <a:avLst/>
                <a:gdLst>
                  <a:gd name="T0" fmla="*/ 254 w 254"/>
                  <a:gd name="T1" fmla="*/ 84 h 88"/>
                  <a:gd name="T2" fmla="*/ 252 w 254"/>
                  <a:gd name="T3" fmla="*/ 83 h 88"/>
                  <a:gd name="T4" fmla="*/ 252 w 254"/>
                  <a:gd name="T5" fmla="*/ 67 h 88"/>
                  <a:gd name="T6" fmla="*/ 246 w 254"/>
                  <a:gd name="T7" fmla="*/ 60 h 88"/>
                  <a:gd name="T8" fmla="*/ 230 w 254"/>
                  <a:gd name="T9" fmla="*/ 69 h 88"/>
                  <a:gd name="T10" fmla="*/ 197 w 254"/>
                  <a:gd name="T11" fmla="*/ 80 h 88"/>
                  <a:gd name="T12" fmla="*/ 162 w 254"/>
                  <a:gd name="T13" fmla="*/ 85 h 88"/>
                  <a:gd name="T14" fmla="*/ 127 w 254"/>
                  <a:gd name="T15" fmla="*/ 88 h 88"/>
                  <a:gd name="T16" fmla="*/ 92 w 254"/>
                  <a:gd name="T17" fmla="*/ 85 h 88"/>
                  <a:gd name="T18" fmla="*/ 57 w 254"/>
                  <a:gd name="T19" fmla="*/ 80 h 88"/>
                  <a:gd name="T20" fmla="*/ 23 w 254"/>
                  <a:gd name="T21" fmla="*/ 69 h 88"/>
                  <a:gd name="T22" fmla="*/ 8 w 254"/>
                  <a:gd name="T23" fmla="*/ 60 h 88"/>
                  <a:gd name="T24" fmla="*/ 2 w 254"/>
                  <a:gd name="T25" fmla="*/ 52 h 88"/>
                  <a:gd name="T26" fmla="*/ 2 w 254"/>
                  <a:gd name="T27" fmla="*/ 80 h 88"/>
                  <a:gd name="T28" fmla="*/ 2 w 254"/>
                  <a:gd name="T29" fmla="*/ 83 h 88"/>
                  <a:gd name="T30" fmla="*/ 0 w 254"/>
                  <a:gd name="T31" fmla="*/ 83 h 88"/>
                  <a:gd name="T32" fmla="*/ 0 w 254"/>
                  <a:gd name="T33" fmla="*/ 67 h 88"/>
                  <a:gd name="T34" fmla="*/ 0 w 254"/>
                  <a:gd name="T35" fmla="*/ 39 h 88"/>
                  <a:gd name="T36" fmla="*/ 4 w 254"/>
                  <a:gd name="T37" fmla="*/ 31 h 88"/>
                  <a:gd name="T38" fmla="*/ 15 w 254"/>
                  <a:gd name="T39" fmla="*/ 22 h 88"/>
                  <a:gd name="T40" fmla="*/ 40 w 254"/>
                  <a:gd name="T41" fmla="*/ 11 h 88"/>
                  <a:gd name="T42" fmla="*/ 74 w 254"/>
                  <a:gd name="T43" fmla="*/ 4 h 88"/>
                  <a:gd name="T44" fmla="*/ 109 w 254"/>
                  <a:gd name="T45" fmla="*/ 0 h 88"/>
                  <a:gd name="T46" fmla="*/ 144 w 254"/>
                  <a:gd name="T47" fmla="*/ 0 h 88"/>
                  <a:gd name="T48" fmla="*/ 179 w 254"/>
                  <a:gd name="T49" fmla="*/ 4 h 88"/>
                  <a:gd name="T50" fmla="*/ 214 w 254"/>
                  <a:gd name="T51" fmla="*/ 11 h 88"/>
                  <a:gd name="T52" fmla="*/ 239 w 254"/>
                  <a:gd name="T53" fmla="*/ 22 h 88"/>
                  <a:gd name="T54" fmla="*/ 250 w 254"/>
                  <a:gd name="T55" fmla="*/ 31 h 88"/>
                  <a:gd name="T56" fmla="*/ 253 w 254"/>
                  <a:gd name="T57" fmla="*/ 39 h 88"/>
                  <a:gd name="T58" fmla="*/ 254 w 254"/>
                  <a:gd name="T59" fmla="*/ 78 h 88"/>
                  <a:gd name="T60" fmla="*/ 214 w 254"/>
                  <a:gd name="T61" fmla="*/ 33 h 88"/>
                  <a:gd name="T62" fmla="*/ 213 w 254"/>
                  <a:gd name="T63" fmla="*/ 28 h 88"/>
                  <a:gd name="T64" fmla="*/ 210 w 254"/>
                  <a:gd name="T65" fmla="*/ 23 h 88"/>
                  <a:gd name="T66" fmla="*/ 199 w 254"/>
                  <a:gd name="T67" fmla="*/ 17 h 88"/>
                  <a:gd name="T68" fmla="*/ 176 w 254"/>
                  <a:gd name="T69" fmla="*/ 10 h 88"/>
                  <a:gd name="T70" fmla="*/ 134 w 254"/>
                  <a:gd name="T71" fmla="*/ 5 h 88"/>
                  <a:gd name="T72" fmla="*/ 102 w 254"/>
                  <a:gd name="T73" fmla="*/ 5 h 88"/>
                  <a:gd name="T74" fmla="*/ 77 w 254"/>
                  <a:gd name="T75" fmla="*/ 10 h 88"/>
                  <a:gd name="T76" fmla="*/ 54 w 254"/>
                  <a:gd name="T77" fmla="*/ 17 h 88"/>
                  <a:gd name="T78" fmla="*/ 45 w 254"/>
                  <a:gd name="T79" fmla="*/ 23 h 88"/>
                  <a:gd name="T80" fmla="*/ 40 w 254"/>
                  <a:gd name="T81" fmla="*/ 31 h 88"/>
                  <a:gd name="T82" fmla="*/ 40 w 254"/>
                  <a:gd name="T83" fmla="*/ 35 h 88"/>
                  <a:gd name="T84" fmla="*/ 45 w 254"/>
                  <a:gd name="T85" fmla="*/ 43 h 88"/>
                  <a:gd name="T86" fmla="*/ 54 w 254"/>
                  <a:gd name="T87" fmla="*/ 49 h 88"/>
                  <a:gd name="T88" fmla="*/ 77 w 254"/>
                  <a:gd name="T89" fmla="*/ 56 h 88"/>
                  <a:gd name="T90" fmla="*/ 102 w 254"/>
                  <a:gd name="T91" fmla="*/ 60 h 88"/>
                  <a:gd name="T92" fmla="*/ 134 w 254"/>
                  <a:gd name="T93" fmla="*/ 61 h 88"/>
                  <a:gd name="T94" fmla="*/ 176 w 254"/>
                  <a:gd name="T95" fmla="*/ 56 h 88"/>
                  <a:gd name="T96" fmla="*/ 199 w 254"/>
                  <a:gd name="T97" fmla="*/ 49 h 88"/>
                  <a:gd name="T98" fmla="*/ 210 w 254"/>
                  <a:gd name="T99" fmla="*/ 43 h 88"/>
                  <a:gd name="T100" fmla="*/ 213 w 254"/>
                  <a:gd name="T101" fmla="*/ 38 h 88"/>
                  <a:gd name="T102" fmla="*/ 214 w 254"/>
                  <a:gd name="T103" fmla="*/ 33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54" h="88">
                    <a:moveTo>
                      <a:pt x="254" y="83"/>
                    </a:moveTo>
                    <a:lnTo>
                      <a:pt x="254" y="83"/>
                    </a:lnTo>
                    <a:lnTo>
                      <a:pt x="254" y="84"/>
                    </a:lnTo>
                    <a:lnTo>
                      <a:pt x="252" y="83"/>
                    </a:lnTo>
                    <a:lnTo>
                      <a:pt x="252" y="83"/>
                    </a:lnTo>
                    <a:lnTo>
                      <a:pt x="252" y="83"/>
                    </a:lnTo>
                    <a:lnTo>
                      <a:pt x="252" y="80"/>
                    </a:lnTo>
                    <a:lnTo>
                      <a:pt x="252" y="78"/>
                    </a:lnTo>
                    <a:lnTo>
                      <a:pt x="252" y="67"/>
                    </a:lnTo>
                    <a:lnTo>
                      <a:pt x="252" y="52"/>
                    </a:lnTo>
                    <a:lnTo>
                      <a:pt x="252" y="52"/>
                    </a:lnTo>
                    <a:lnTo>
                      <a:pt x="246" y="60"/>
                    </a:lnTo>
                    <a:lnTo>
                      <a:pt x="246" y="60"/>
                    </a:lnTo>
                    <a:lnTo>
                      <a:pt x="239" y="65"/>
                    </a:lnTo>
                    <a:lnTo>
                      <a:pt x="230" y="69"/>
                    </a:lnTo>
                    <a:lnTo>
                      <a:pt x="230" y="69"/>
                    </a:lnTo>
                    <a:lnTo>
                      <a:pt x="214" y="76"/>
                    </a:lnTo>
                    <a:lnTo>
                      <a:pt x="197" y="80"/>
                    </a:lnTo>
                    <a:lnTo>
                      <a:pt x="197" y="80"/>
                    </a:lnTo>
                    <a:lnTo>
                      <a:pt x="179" y="83"/>
                    </a:lnTo>
                    <a:lnTo>
                      <a:pt x="162" y="85"/>
                    </a:lnTo>
                    <a:lnTo>
                      <a:pt x="162" y="85"/>
                    </a:lnTo>
                    <a:lnTo>
                      <a:pt x="144" y="86"/>
                    </a:lnTo>
                    <a:lnTo>
                      <a:pt x="127" y="88"/>
                    </a:lnTo>
                    <a:lnTo>
                      <a:pt x="127" y="88"/>
                    </a:lnTo>
                    <a:lnTo>
                      <a:pt x="109" y="86"/>
                    </a:lnTo>
                    <a:lnTo>
                      <a:pt x="92" y="85"/>
                    </a:lnTo>
                    <a:lnTo>
                      <a:pt x="92" y="85"/>
                    </a:lnTo>
                    <a:lnTo>
                      <a:pt x="74" y="83"/>
                    </a:lnTo>
                    <a:lnTo>
                      <a:pt x="57" y="80"/>
                    </a:lnTo>
                    <a:lnTo>
                      <a:pt x="57" y="80"/>
                    </a:lnTo>
                    <a:lnTo>
                      <a:pt x="40" y="76"/>
                    </a:lnTo>
                    <a:lnTo>
                      <a:pt x="23" y="69"/>
                    </a:lnTo>
                    <a:lnTo>
                      <a:pt x="23" y="69"/>
                    </a:lnTo>
                    <a:lnTo>
                      <a:pt x="15" y="65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2" y="52"/>
                    </a:lnTo>
                    <a:lnTo>
                      <a:pt x="2" y="67"/>
                    </a:lnTo>
                    <a:lnTo>
                      <a:pt x="2" y="78"/>
                    </a:lnTo>
                    <a:lnTo>
                      <a:pt x="2" y="80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2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3"/>
                    </a:lnTo>
                    <a:lnTo>
                      <a:pt x="0" y="80"/>
                    </a:lnTo>
                    <a:lnTo>
                      <a:pt x="0" y="78"/>
                    </a:lnTo>
                    <a:lnTo>
                      <a:pt x="0" y="67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39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4" y="31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5" y="22"/>
                    </a:lnTo>
                    <a:lnTo>
                      <a:pt x="23" y="18"/>
                    </a:lnTo>
                    <a:lnTo>
                      <a:pt x="23" y="18"/>
                    </a:lnTo>
                    <a:lnTo>
                      <a:pt x="40" y="11"/>
                    </a:lnTo>
                    <a:lnTo>
                      <a:pt x="57" y="8"/>
                    </a:lnTo>
                    <a:lnTo>
                      <a:pt x="57" y="8"/>
                    </a:lnTo>
                    <a:lnTo>
                      <a:pt x="74" y="4"/>
                    </a:lnTo>
                    <a:lnTo>
                      <a:pt x="92" y="1"/>
                    </a:lnTo>
                    <a:lnTo>
                      <a:pt x="92" y="1"/>
                    </a:lnTo>
                    <a:lnTo>
                      <a:pt x="109" y="0"/>
                    </a:lnTo>
                    <a:lnTo>
                      <a:pt x="127" y="0"/>
                    </a:lnTo>
                    <a:lnTo>
                      <a:pt x="127" y="0"/>
                    </a:lnTo>
                    <a:lnTo>
                      <a:pt x="144" y="0"/>
                    </a:lnTo>
                    <a:lnTo>
                      <a:pt x="162" y="1"/>
                    </a:lnTo>
                    <a:lnTo>
                      <a:pt x="162" y="1"/>
                    </a:lnTo>
                    <a:lnTo>
                      <a:pt x="179" y="4"/>
                    </a:lnTo>
                    <a:lnTo>
                      <a:pt x="197" y="8"/>
                    </a:lnTo>
                    <a:lnTo>
                      <a:pt x="197" y="8"/>
                    </a:lnTo>
                    <a:lnTo>
                      <a:pt x="214" y="11"/>
                    </a:lnTo>
                    <a:lnTo>
                      <a:pt x="230" y="18"/>
                    </a:lnTo>
                    <a:lnTo>
                      <a:pt x="230" y="18"/>
                    </a:lnTo>
                    <a:lnTo>
                      <a:pt x="239" y="22"/>
                    </a:lnTo>
                    <a:lnTo>
                      <a:pt x="246" y="28"/>
                    </a:lnTo>
                    <a:lnTo>
                      <a:pt x="246" y="28"/>
                    </a:lnTo>
                    <a:lnTo>
                      <a:pt x="250" y="31"/>
                    </a:lnTo>
                    <a:lnTo>
                      <a:pt x="252" y="34"/>
                    </a:lnTo>
                    <a:lnTo>
                      <a:pt x="252" y="34"/>
                    </a:lnTo>
                    <a:lnTo>
                      <a:pt x="253" y="39"/>
                    </a:lnTo>
                    <a:lnTo>
                      <a:pt x="254" y="44"/>
                    </a:lnTo>
                    <a:lnTo>
                      <a:pt x="254" y="67"/>
                    </a:lnTo>
                    <a:lnTo>
                      <a:pt x="254" y="78"/>
                    </a:lnTo>
                    <a:lnTo>
                      <a:pt x="254" y="80"/>
                    </a:lnTo>
                    <a:lnTo>
                      <a:pt x="254" y="83"/>
                    </a:lnTo>
                    <a:close/>
                    <a:moveTo>
                      <a:pt x="214" y="33"/>
                    </a:moveTo>
                    <a:lnTo>
                      <a:pt x="214" y="33"/>
                    </a:lnTo>
                    <a:lnTo>
                      <a:pt x="214" y="31"/>
                    </a:lnTo>
                    <a:lnTo>
                      <a:pt x="213" y="28"/>
                    </a:lnTo>
                    <a:lnTo>
                      <a:pt x="213" y="28"/>
                    </a:lnTo>
                    <a:lnTo>
                      <a:pt x="210" y="23"/>
                    </a:lnTo>
                    <a:lnTo>
                      <a:pt x="210" y="23"/>
                    </a:lnTo>
                    <a:lnTo>
                      <a:pt x="205" y="20"/>
                    </a:lnTo>
                    <a:lnTo>
                      <a:pt x="199" y="17"/>
                    </a:lnTo>
                    <a:lnTo>
                      <a:pt x="199" y="17"/>
                    </a:lnTo>
                    <a:lnTo>
                      <a:pt x="188" y="12"/>
                    </a:lnTo>
                    <a:lnTo>
                      <a:pt x="176" y="10"/>
                    </a:lnTo>
                    <a:lnTo>
                      <a:pt x="176" y="10"/>
                    </a:lnTo>
                    <a:lnTo>
                      <a:pt x="155" y="6"/>
                    </a:lnTo>
                    <a:lnTo>
                      <a:pt x="134" y="5"/>
                    </a:lnTo>
                    <a:lnTo>
                      <a:pt x="134" y="5"/>
                    </a:lnTo>
                    <a:lnTo>
                      <a:pt x="127" y="4"/>
                    </a:lnTo>
                    <a:lnTo>
                      <a:pt x="127" y="4"/>
                    </a:lnTo>
                    <a:lnTo>
                      <a:pt x="102" y="5"/>
                    </a:lnTo>
                    <a:lnTo>
                      <a:pt x="89" y="8"/>
                    </a:lnTo>
                    <a:lnTo>
                      <a:pt x="77" y="10"/>
                    </a:lnTo>
                    <a:lnTo>
                      <a:pt x="77" y="10"/>
                    </a:lnTo>
                    <a:lnTo>
                      <a:pt x="66" y="12"/>
                    </a:lnTo>
                    <a:lnTo>
                      <a:pt x="54" y="17"/>
                    </a:lnTo>
                    <a:lnTo>
                      <a:pt x="54" y="17"/>
                    </a:lnTo>
                    <a:lnTo>
                      <a:pt x="49" y="20"/>
                    </a:lnTo>
                    <a:lnTo>
                      <a:pt x="45" y="23"/>
                    </a:lnTo>
                    <a:lnTo>
                      <a:pt x="45" y="23"/>
                    </a:lnTo>
                    <a:lnTo>
                      <a:pt x="41" y="28"/>
                    </a:lnTo>
                    <a:lnTo>
                      <a:pt x="41" y="28"/>
                    </a:lnTo>
                    <a:lnTo>
                      <a:pt x="40" y="31"/>
                    </a:lnTo>
                    <a:lnTo>
                      <a:pt x="38" y="33"/>
                    </a:lnTo>
                    <a:lnTo>
                      <a:pt x="38" y="33"/>
                    </a:lnTo>
                    <a:lnTo>
                      <a:pt x="40" y="35"/>
                    </a:lnTo>
                    <a:lnTo>
                      <a:pt x="41" y="38"/>
                    </a:lnTo>
                    <a:lnTo>
                      <a:pt x="41" y="38"/>
                    </a:lnTo>
                    <a:lnTo>
                      <a:pt x="45" y="43"/>
                    </a:lnTo>
                    <a:lnTo>
                      <a:pt x="45" y="43"/>
                    </a:lnTo>
                    <a:lnTo>
                      <a:pt x="49" y="46"/>
                    </a:lnTo>
                    <a:lnTo>
                      <a:pt x="54" y="49"/>
                    </a:lnTo>
                    <a:lnTo>
                      <a:pt x="54" y="49"/>
                    </a:lnTo>
                    <a:lnTo>
                      <a:pt x="66" y="54"/>
                    </a:lnTo>
                    <a:lnTo>
                      <a:pt x="77" y="56"/>
                    </a:lnTo>
                    <a:lnTo>
                      <a:pt x="77" y="56"/>
                    </a:lnTo>
                    <a:lnTo>
                      <a:pt x="89" y="59"/>
                    </a:lnTo>
                    <a:lnTo>
                      <a:pt x="102" y="60"/>
                    </a:lnTo>
                    <a:lnTo>
                      <a:pt x="127" y="61"/>
                    </a:lnTo>
                    <a:lnTo>
                      <a:pt x="127" y="61"/>
                    </a:lnTo>
                    <a:lnTo>
                      <a:pt x="134" y="61"/>
                    </a:lnTo>
                    <a:lnTo>
                      <a:pt x="134" y="61"/>
                    </a:lnTo>
                    <a:lnTo>
                      <a:pt x="155" y="60"/>
                    </a:lnTo>
                    <a:lnTo>
                      <a:pt x="176" y="56"/>
                    </a:lnTo>
                    <a:lnTo>
                      <a:pt x="176" y="56"/>
                    </a:lnTo>
                    <a:lnTo>
                      <a:pt x="188" y="54"/>
                    </a:lnTo>
                    <a:lnTo>
                      <a:pt x="199" y="49"/>
                    </a:lnTo>
                    <a:lnTo>
                      <a:pt x="199" y="49"/>
                    </a:lnTo>
                    <a:lnTo>
                      <a:pt x="205" y="46"/>
                    </a:lnTo>
                    <a:lnTo>
                      <a:pt x="210" y="43"/>
                    </a:lnTo>
                    <a:lnTo>
                      <a:pt x="210" y="43"/>
                    </a:lnTo>
                    <a:lnTo>
                      <a:pt x="213" y="38"/>
                    </a:lnTo>
                    <a:lnTo>
                      <a:pt x="213" y="38"/>
                    </a:lnTo>
                    <a:lnTo>
                      <a:pt x="214" y="35"/>
                    </a:lnTo>
                    <a:lnTo>
                      <a:pt x="214" y="33"/>
                    </a:lnTo>
                    <a:lnTo>
                      <a:pt x="214" y="3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36" name="Freeform 707"/>
              <p:cNvSpPr>
                <a:spLocks noEditPoints="1"/>
              </p:cNvSpPr>
              <p:nvPr/>
            </p:nvSpPr>
            <p:spPr bwMode="auto">
              <a:xfrm>
                <a:off x="9229725" y="1781175"/>
                <a:ext cx="28575" cy="26987"/>
              </a:xfrm>
              <a:custGeom>
                <a:avLst/>
                <a:gdLst>
                  <a:gd name="T0" fmla="*/ 41 w 56"/>
                  <a:gd name="T1" fmla="*/ 15 h 51"/>
                  <a:gd name="T2" fmla="*/ 40 w 56"/>
                  <a:gd name="T3" fmla="*/ 14 h 51"/>
                  <a:gd name="T4" fmla="*/ 35 w 56"/>
                  <a:gd name="T5" fmla="*/ 10 h 51"/>
                  <a:gd name="T6" fmla="*/ 35 w 56"/>
                  <a:gd name="T7" fmla="*/ 23 h 51"/>
                  <a:gd name="T8" fmla="*/ 50 w 56"/>
                  <a:gd name="T9" fmla="*/ 26 h 51"/>
                  <a:gd name="T10" fmla="*/ 56 w 56"/>
                  <a:gd name="T11" fmla="*/ 32 h 51"/>
                  <a:gd name="T12" fmla="*/ 56 w 56"/>
                  <a:gd name="T13" fmla="*/ 35 h 51"/>
                  <a:gd name="T14" fmla="*/ 55 w 56"/>
                  <a:gd name="T15" fmla="*/ 38 h 51"/>
                  <a:gd name="T16" fmla="*/ 43 w 56"/>
                  <a:gd name="T17" fmla="*/ 46 h 51"/>
                  <a:gd name="T18" fmla="*/ 35 w 56"/>
                  <a:gd name="T19" fmla="*/ 51 h 51"/>
                  <a:gd name="T20" fmla="*/ 21 w 56"/>
                  <a:gd name="T21" fmla="*/ 47 h 51"/>
                  <a:gd name="T22" fmla="*/ 12 w 56"/>
                  <a:gd name="T23" fmla="*/ 46 h 51"/>
                  <a:gd name="T24" fmla="*/ 1 w 56"/>
                  <a:gd name="T25" fmla="*/ 38 h 51"/>
                  <a:gd name="T26" fmla="*/ 0 w 56"/>
                  <a:gd name="T27" fmla="*/ 35 h 51"/>
                  <a:gd name="T28" fmla="*/ 15 w 56"/>
                  <a:gd name="T29" fmla="*/ 35 h 51"/>
                  <a:gd name="T30" fmla="*/ 16 w 56"/>
                  <a:gd name="T31" fmla="*/ 37 h 51"/>
                  <a:gd name="T32" fmla="*/ 21 w 56"/>
                  <a:gd name="T33" fmla="*/ 27 h 51"/>
                  <a:gd name="T34" fmla="*/ 12 w 56"/>
                  <a:gd name="T35" fmla="*/ 26 h 51"/>
                  <a:gd name="T36" fmla="*/ 1 w 56"/>
                  <a:gd name="T37" fmla="*/ 20 h 51"/>
                  <a:gd name="T38" fmla="*/ 0 w 56"/>
                  <a:gd name="T39" fmla="*/ 15 h 51"/>
                  <a:gd name="T40" fmla="*/ 0 w 56"/>
                  <a:gd name="T41" fmla="*/ 13 h 51"/>
                  <a:gd name="T42" fmla="*/ 6 w 56"/>
                  <a:gd name="T43" fmla="*/ 8 h 51"/>
                  <a:gd name="T44" fmla="*/ 21 w 56"/>
                  <a:gd name="T45" fmla="*/ 3 h 51"/>
                  <a:gd name="T46" fmla="*/ 35 w 56"/>
                  <a:gd name="T47" fmla="*/ 0 h 51"/>
                  <a:gd name="T48" fmla="*/ 35 w 56"/>
                  <a:gd name="T49" fmla="*/ 3 h 51"/>
                  <a:gd name="T50" fmla="*/ 50 w 56"/>
                  <a:gd name="T51" fmla="*/ 8 h 51"/>
                  <a:gd name="T52" fmla="*/ 56 w 56"/>
                  <a:gd name="T53" fmla="*/ 13 h 51"/>
                  <a:gd name="T54" fmla="*/ 56 w 56"/>
                  <a:gd name="T55" fmla="*/ 15 h 51"/>
                  <a:gd name="T56" fmla="*/ 41 w 56"/>
                  <a:gd name="T57" fmla="*/ 35 h 51"/>
                  <a:gd name="T58" fmla="*/ 39 w 56"/>
                  <a:gd name="T59" fmla="*/ 31 h 51"/>
                  <a:gd name="T60" fmla="*/ 35 w 56"/>
                  <a:gd name="T61" fmla="*/ 40 h 51"/>
                  <a:gd name="T62" fmla="*/ 39 w 56"/>
                  <a:gd name="T63" fmla="*/ 37 h 51"/>
                  <a:gd name="T64" fmla="*/ 41 w 56"/>
                  <a:gd name="T65" fmla="*/ 35 h 51"/>
                  <a:gd name="T66" fmla="*/ 21 w 56"/>
                  <a:gd name="T67" fmla="*/ 20 h 51"/>
                  <a:gd name="T68" fmla="*/ 21 w 56"/>
                  <a:gd name="T69" fmla="*/ 10 h 51"/>
                  <a:gd name="T70" fmla="*/ 15 w 56"/>
                  <a:gd name="T71" fmla="*/ 14 h 51"/>
                  <a:gd name="T72" fmla="*/ 15 w 56"/>
                  <a:gd name="T73" fmla="*/ 15 h 51"/>
                  <a:gd name="T74" fmla="*/ 16 w 56"/>
                  <a:gd name="T75" fmla="*/ 19 h 51"/>
                  <a:gd name="T76" fmla="*/ 21 w 56"/>
                  <a:gd name="T77" fmla="*/ 2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56" h="51">
                    <a:moveTo>
                      <a:pt x="56" y="15"/>
                    </a:moveTo>
                    <a:lnTo>
                      <a:pt x="41" y="15"/>
                    </a:lnTo>
                    <a:lnTo>
                      <a:pt x="41" y="15"/>
                    </a:lnTo>
                    <a:lnTo>
                      <a:pt x="40" y="14"/>
                    </a:lnTo>
                    <a:lnTo>
                      <a:pt x="39" y="13"/>
                    </a:lnTo>
                    <a:lnTo>
                      <a:pt x="35" y="10"/>
                    </a:lnTo>
                    <a:lnTo>
                      <a:pt x="35" y="23"/>
                    </a:lnTo>
                    <a:lnTo>
                      <a:pt x="35" y="23"/>
                    </a:lnTo>
                    <a:lnTo>
                      <a:pt x="43" y="24"/>
                    </a:lnTo>
                    <a:lnTo>
                      <a:pt x="50" y="26"/>
                    </a:lnTo>
                    <a:lnTo>
                      <a:pt x="55" y="30"/>
                    </a:lnTo>
                    <a:lnTo>
                      <a:pt x="56" y="32"/>
                    </a:lnTo>
                    <a:lnTo>
                      <a:pt x="56" y="35"/>
                    </a:lnTo>
                    <a:lnTo>
                      <a:pt x="56" y="35"/>
                    </a:lnTo>
                    <a:lnTo>
                      <a:pt x="56" y="37"/>
                    </a:lnTo>
                    <a:lnTo>
                      <a:pt x="55" y="38"/>
                    </a:lnTo>
                    <a:lnTo>
                      <a:pt x="50" y="43"/>
                    </a:lnTo>
                    <a:lnTo>
                      <a:pt x="43" y="46"/>
                    </a:lnTo>
                    <a:lnTo>
                      <a:pt x="35" y="47"/>
                    </a:lnTo>
                    <a:lnTo>
                      <a:pt x="35" y="51"/>
                    </a:lnTo>
                    <a:lnTo>
                      <a:pt x="21" y="51"/>
                    </a:lnTo>
                    <a:lnTo>
                      <a:pt x="21" y="47"/>
                    </a:lnTo>
                    <a:lnTo>
                      <a:pt x="21" y="47"/>
                    </a:lnTo>
                    <a:lnTo>
                      <a:pt x="12" y="46"/>
                    </a:lnTo>
                    <a:lnTo>
                      <a:pt x="6" y="43"/>
                    </a:lnTo>
                    <a:lnTo>
                      <a:pt x="1" y="38"/>
                    </a:lnTo>
                    <a:lnTo>
                      <a:pt x="0" y="37"/>
                    </a:lnTo>
                    <a:lnTo>
                      <a:pt x="0" y="35"/>
                    </a:lnTo>
                    <a:lnTo>
                      <a:pt x="15" y="35"/>
                    </a:lnTo>
                    <a:lnTo>
                      <a:pt x="15" y="35"/>
                    </a:lnTo>
                    <a:lnTo>
                      <a:pt x="15" y="36"/>
                    </a:lnTo>
                    <a:lnTo>
                      <a:pt x="16" y="37"/>
                    </a:lnTo>
                    <a:lnTo>
                      <a:pt x="21" y="40"/>
                    </a:lnTo>
                    <a:lnTo>
                      <a:pt x="21" y="27"/>
                    </a:lnTo>
                    <a:lnTo>
                      <a:pt x="21" y="27"/>
                    </a:lnTo>
                    <a:lnTo>
                      <a:pt x="12" y="26"/>
                    </a:lnTo>
                    <a:lnTo>
                      <a:pt x="6" y="24"/>
                    </a:lnTo>
                    <a:lnTo>
                      <a:pt x="1" y="20"/>
                    </a:lnTo>
                    <a:lnTo>
                      <a:pt x="0" y="18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3"/>
                    </a:lnTo>
                    <a:lnTo>
                      <a:pt x="1" y="12"/>
                    </a:lnTo>
                    <a:lnTo>
                      <a:pt x="6" y="8"/>
                    </a:lnTo>
                    <a:lnTo>
                      <a:pt x="12" y="4"/>
                    </a:lnTo>
                    <a:lnTo>
                      <a:pt x="21" y="3"/>
                    </a:lnTo>
                    <a:lnTo>
                      <a:pt x="21" y="0"/>
                    </a:lnTo>
                    <a:lnTo>
                      <a:pt x="35" y="0"/>
                    </a:lnTo>
                    <a:lnTo>
                      <a:pt x="35" y="3"/>
                    </a:lnTo>
                    <a:lnTo>
                      <a:pt x="35" y="3"/>
                    </a:lnTo>
                    <a:lnTo>
                      <a:pt x="43" y="4"/>
                    </a:lnTo>
                    <a:lnTo>
                      <a:pt x="50" y="8"/>
                    </a:lnTo>
                    <a:lnTo>
                      <a:pt x="55" y="12"/>
                    </a:lnTo>
                    <a:lnTo>
                      <a:pt x="56" y="13"/>
                    </a:lnTo>
                    <a:lnTo>
                      <a:pt x="56" y="15"/>
                    </a:lnTo>
                    <a:lnTo>
                      <a:pt x="56" y="15"/>
                    </a:lnTo>
                    <a:close/>
                    <a:moveTo>
                      <a:pt x="41" y="35"/>
                    </a:moveTo>
                    <a:lnTo>
                      <a:pt x="41" y="35"/>
                    </a:lnTo>
                    <a:lnTo>
                      <a:pt x="40" y="34"/>
                    </a:lnTo>
                    <a:lnTo>
                      <a:pt x="39" y="31"/>
                    </a:lnTo>
                    <a:lnTo>
                      <a:pt x="35" y="30"/>
                    </a:lnTo>
                    <a:lnTo>
                      <a:pt x="35" y="40"/>
                    </a:lnTo>
                    <a:lnTo>
                      <a:pt x="35" y="40"/>
                    </a:lnTo>
                    <a:lnTo>
                      <a:pt x="39" y="37"/>
                    </a:lnTo>
                    <a:lnTo>
                      <a:pt x="40" y="36"/>
                    </a:lnTo>
                    <a:lnTo>
                      <a:pt x="41" y="35"/>
                    </a:lnTo>
                    <a:lnTo>
                      <a:pt x="41" y="35"/>
                    </a:lnTo>
                    <a:close/>
                    <a:moveTo>
                      <a:pt x="21" y="20"/>
                    </a:moveTo>
                    <a:lnTo>
                      <a:pt x="21" y="10"/>
                    </a:lnTo>
                    <a:lnTo>
                      <a:pt x="21" y="10"/>
                    </a:lnTo>
                    <a:lnTo>
                      <a:pt x="16" y="13"/>
                    </a:lnTo>
                    <a:lnTo>
                      <a:pt x="15" y="14"/>
                    </a:lnTo>
                    <a:lnTo>
                      <a:pt x="15" y="15"/>
                    </a:lnTo>
                    <a:lnTo>
                      <a:pt x="15" y="15"/>
                    </a:lnTo>
                    <a:lnTo>
                      <a:pt x="15" y="17"/>
                    </a:lnTo>
                    <a:lnTo>
                      <a:pt x="16" y="19"/>
                    </a:lnTo>
                    <a:lnTo>
                      <a:pt x="21" y="20"/>
                    </a:lnTo>
                    <a:lnTo>
                      <a:pt x="21" y="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</p:grpSp>
      <p:grpSp>
        <p:nvGrpSpPr>
          <p:cNvPr id="39" name="Group 58"/>
          <p:cNvGrpSpPr/>
          <p:nvPr/>
        </p:nvGrpSpPr>
        <p:grpSpPr>
          <a:xfrm>
            <a:off x="7381366" y="2656168"/>
            <a:ext cx="447178" cy="268612"/>
            <a:chOff x="3548773" y="1276112"/>
            <a:chExt cx="436020" cy="261910"/>
          </a:xfrm>
          <a:solidFill>
            <a:schemeClr val="bg1"/>
          </a:solidFill>
        </p:grpSpPr>
        <p:sp>
          <p:nvSpPr>
            <p:cNvPr id="40" name="Freeform 40"/>
            <p:cNvSpPr>
              <a:spLocks noEditPoints="1"/>
            </p:cNvSpPr>
            <p:nvPr/>
          </p:nvSpPr>
          <p:spPr bwMode="auto">
            <a:xfrm>
              <a:off x="3548773" y="1276112"/>
              <a:ext cx="436020" cy="261910"/>
            </a:xfrm>
            <a:custGeom>
              <a:avLst/>
              <a:gdLst>
                <a:gd name="T0" fmla="*/ 543 w 1172"/>
                <a:gd name="T1" fmla="*/ 662 h 704"/>
                <a:gd name="T2" fmla="*/ 484 w 1172"/>
                <a:gd name="T3" fmla="*/ 654 h 704"/>
                <a:gd name="T4" fmla="*/ 428 w 1172"/>
                <a:gd name="T5" fmla="*/ 639 h 704"/>
                <a:gd name="T6" fmla="*/ 375 w 1172"/>
                <a:gd name="T7" fmla="*/ 618 h 704"/>
                <a:gd name="T8" fmla="*/ 325 w 1172"/>
                <a:gd name="T9" fmla="*/ 591 h 704"/>
                <a:gd name="T10" fmla="*/ 262 w 1172"/>
                <a:gd name="T11" fmla="*/ 549 h 704"/>
                <a:gd name="T12" fmla="*/ 172 w 1172"/>
                <a:gd name="T13" fmla="*/ 471 h 704"/>
                <a:gd name="T14" fmla="*/ 84 w 1172"/>
                <a:gd name="T15" fmla="*/ 383 h 704"/>
                <a:gd name="T16" fmla="*/ 124 w 1172"/>
                <a:gd name="T17" fmla="*/ 281 h 704"/>
                <a:gd name="T18" fmla="*/ 224 w 1172"/>
                <a:gd name="T19" fmla="*/ 192 h 704"/>
                <a:gd name="T20" fmla="*/ 320 w 1172"/>
                <a:gd name="T21" fmla="*/ 121 h 704"/>
                <a:gd name="T22" fmla="*/ 401 w 1172"/>
                <a:gd name="T23" fmla="*/ 79 h 704"/>
                <a:gd name="T24" fmla="*/ 449 w 1172"/>
                <a:gd name="T25" fmla="*/ 61 h 704"/>
                <a:gd name="T26" fmla="*/ 499 w 1172"/>
                <a:gd name="T27" fmla="*/ 48 h 704"/>
                <a:gd name="T28" fmla="*/ 551 w 1172"/>
                <a:gd name="T29" fmla="*/ 40 h 704"/>
                <a:gd name="T30" fmla="*/ 607 w 1172"/>
                <a:gd name="T31" fmla="*/ 40 h 704"/>
                <a:gd name="T32" fmla="*/ 669 w 1172"/>
                <a:gd name="T33" fmla="*/ 47 h 704"/>
                <a:gd name="T34" fmla="*/ 727 w 1172"/>
                <a:gd name="T35" fmla="*/ 61 h 704"/>
                <a:gd name="T36" fmla="*/ 783 w 1172"/>
                <a:gd name="T37" fmla="*/ 81 h 704"/>
                <a:gd name="T38" fmla="*/ 837 w 1172"/>
                <a:gd name="T39" fmla="*/ 108 h 704"/>
                <a:gd name="T40" fmla="*/ 888 w 1172"/>
                <a:gd name="T41" fmla="*/ 140 h 704"/>
                <a:gd name="T42" fmla="*/ 983 w 1172"/>
                <a:gd name="T43" fmla="*/ 214 h 704"/>
                <a:gd name="T44" fmla="*/ 1067 w 1172"/>
                <a:gd name="T45" fmla="*/ 297 h 704"/>
                <a:gd name="T46" fmla="*/ 1094 w 1172"/>
                <a:gd name="T47" fmla="*/ 380 h 704"/>
                <a:gd name="T48" fmla="*/ 1013 w 1172"/>
                <a:gd name="T49" fmla="*/ 459 h 704"/>
                <a:gd name="T50" fmla="*/ 922 w 1172"/>
                <a:gd name="T51" fmla="*/ 536 h 704"/>
                <a:gd name="T52" fmla="*/ 857 w 1172"/>
                <a:gd name="T53" fmla="*/ 581 h 704"/>
                <a:gd name="T54" fmla="*/ 804 w 1172"/>
                <a:gd name="T55" fmla="*/ 611 h 704"/>
                <a:gd name="T56" fmla="*/ 747 w 1172"/>
                <a:gd name="T57" fmla="*/ 634 h 704"/>
                <a:gd name="T58" fmla="*/ 689 w 1172"/>
                <a:gd name="T59" fmla="*/ 652 h 704"/>
                <a:gd name="T60" fmla="*/ 629 w 1172"/>
                <a:gd name="T61" fmla="*/ 662 h 704"/>
                <a:gd name="T62" fmla="*/ 587 w 1172"/>
                <a:gd name="T63" fmla="*/ 0 h 704"/>
                <a:gd name="T64" fmla="*/ 527 w 1172"/>
                <a:gd name="T65" fmla="*/ 4 h 704"/>
                <a:gd name="T66" fmla="*/ 470 w 1172"/>
                <a:gd name="T67" fmla="*/ 14 h 704"/>
                <a:gd name="T68" fmla="*/ 415 w 1172"/>
                <a:gd name="T69" fmla="*/ 32 h 704"/>
                <a:gd name="T70" fmla="*/ 361 w 1172"/>
                <a:gd name="T71" fmla="*/ 54 h 704"/>
                <a:gd name="T72" fmla="*/ 308 w 1172"/>
                <a:gd name="T73" fmla="*/ 84 h 704"/>
                <a:gd name="T74" fmla="*/ 219 w 1172"/>
                <a:gd name="T75" fmla="*/ 145 h 704"/>
                <a:gd name="T76" fmla="*/ 112 w 1172"/>
                <a:gd name="T77" fmla="*/ 239 h 704"/>
                <a:gd name="T78" fmla="*/ 0 w 1172"/>
                <a:gd name="T79" fmla="*/ 351 h 704"/>
                <a:gd name="T80" fmla="*/ 162 w 1172"/>
                <a:gd name="T81" fmla="*/ 516 h 704"/>
                <a:gd name="T82" fmla="*/ 261 w 1172"/>
                <a:gd name="T83" fmla="*/ 597 h 704"/>
                <a:gd name="T84" fmla="*/ 314 w 1172"/>
                <a:gd name="T85" fmla="*/ 631 h 704"/>
                <a:gd name="T86" fmla="*/ 369 w 1172"/>
                <a:gd name="T87" fmla="*/ 659 h 704"/>
                <a:gd name="T88" fmla="*/ 429 w 1172"/>
                <a:gd name="T89" fmla="*/ 681 h 704"/>
                <a:gd name="T90" fmla="*/ 493 w 1172"/>
                <a:gd name="T91" fmla="*/ 696 h 704"/>
                <a:gd name="T92" fmla="*/ 562 w 1172"/>
                <a:gd name="T93" fmla="*/ 702 h 704"/>
                <a:gd name="T94" fmla="*/ 634 w 1172"/>
                <a:gd name="T95" fmla="*/ 700 h 704"/>
                <a:gd name="T96" fmla="*/ 703 w 1172"/>
                <a:gd name="T97" fmla="*/ 688 h 704"/>
                <a:gd name="T98" fmla="*/ 769 w 1172"/>
                <a:gd name="T99" fmla="*/ 668 h 704"/>
                <a:gd name="T100" fmla="*/ 832 w 1172"/>
                <a:gd name="T101" fmla="*/ 640 h 704"/>
                <a:gd name="T102" fmla="*/ 890 w 1172"/>
                <a:gd name="T103" fmla="*/ 606 h 704"/>
                <a:gd name="T104" fmla="*/ 962 w 1172"/>
                <a:gd name="T105" fmla="*/ 554 h 704"/>
                <a:gd name="T106" fmla="*/ 1061 w 1172"/>
                <a:gd name="T107" fmla="*/ 468 h 704"/>
                <a:gd name="T108" fmla="*/ 1146 w 1172"/>
                <a:gd name="T109" fmla="*/ 326 h 704"/>
                <a:gd name="T110" fmla="*/ 1060 w 1172"/>
                <a:gd name="T111" fmla="*/ 233 h 704"/>
                <a:gd name="T112" fmla="*/ 960 w 1172"/>
                <a:gd name="T113" fmla="*/ 144 h 704"/>
                <a:gd name="T114" fmla="*/ 888 w 1172"/>
                <a:gd name="T115" fmla="*/ 93 h 704"/>
                <a:gd name="T116" fmla="*/ 830 w 1172"/>
                <a:gd name="T117" fmla="*/ 60 h 704"/>
                <a:gd name="T118" fmla="*/ 767 w 1172"/>
                <a:gd name="T119" fmla="*/ 33 h 704"/>
                <a:gd name="T120" fmla="*/ 702 w 1172"/>
                <a:gd name="T121" fmla="*/ 13 h 704"/>
                <a:gd name="T122" fmla="*/ 634 w 1172"/>
                <a:gd name="T123" fmla="*/ 3 h 7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172" h="704">
                  <a:moveTo>
                    <a:pt x="587" y="665"/>
                  </a:moveTo>
                  <a:lnTo>
                    <a:pt x="565" y="664"/>
                  </a:lnTo>
                  <a:lnTo>
                    <a:pt x="543" y="662"/>
                  </a:lnTo>
                  <a:lnTo>
                    <a:pt x="523" y="660"/>
                  </a:lnTo>
                  <a:lnTo>
                    <a:pt x="503" y="657"/>
                  </a:lnTo>
                  <a:lnTo>
                    <a:pt x="484" y="654"/>
                  </a:lnTo>
                  <a:lnTo>
                    <a:pt x="464" y="650"/>
                  </a:lnTo>
                  <a:lnTo>
                    <a:pt x="446" y="645"/>
                  </a:lnTo>
                  <a:lnTo>
                    <a:pt x="428" y="639"/>
                  </a:lnTo>
                  <a:lnTo>
                    <a:pt x="409" y="632"/>
                  </a:lnTo>
                  <a:lnTo>
                    <a:pt x="392" y="626"/>
                  </a:lnTo>
                  <a:lnTo>
                    <a:pt x="375" y="618"/>
                  </a:lnTo>
                  <a:lnTo>
                    <a:pt x="358" y="610"/>
                  </a:lnTo>
                  <a:lnTo>
                    <a:pt x="341" y="601"/>
                  </a:lnTo>
                  <a:lnTo>
                    <a:pt x="325" y="591"/>
                  </a:lnTo>
                  <a:lnTo>
                    <a:pt x="309" y="581"/>
                  </a:lnTo>
                  <a:lnTo>
                    <a:pt x="293" y="571"/>
                  </a:lnTo>
                  <a:lnTo>
                    <a:pt x="262" y="549"/>
                  </a:lnTo>
                  <a:lnTo>
                    <a:pt x="231" y="524"/>
                  </a:lnTo>
                  <a:lnTo>
                    <a:pt x="202" y="499"/>
                  </a:lnTo>
                  <a:lnTo>
                    <a:pt x="172" y="471"/>
                  </a:lnTo>
                  <a:lnTo>
                    <a:pt x="143" y="443"/>
                  </a:lnTo>
                  <a:lnTo>
                    <a:pt x="113" y="414"/>
                  </a:lnTo>
                  <a:lnTo>
                    <a:pt x="84" y="383"/>
                  </a:lnTo>
                  <a:lnTo>
                    <a:pt x="54" y="351"/>
                  </a:lnTo>
                  <a:lnTo>
                    <a:pt x="90" y="316"/>
                  </a:lnTo>
                  <a:lnTo>
                    <a:pt x="124" y="281"/>
                  </a:lnTo>
                  <a:lnTo>
                    <a:pt x="158" y="249"/>
                  </a:lnTo>
                  <a:lnTo>
                    <a:pt x="191" y="220"/>
                  </a:lnTo>
                  <a:lnTo>
                    <a:pt x="224" y="192"/>
                  </a:lnTo>
                  <a:lnTo>
                    <a:pt x="256" y="166"/>
                  </a:lnTo>
                  <a:lnTo>
                    <a:pt x="288" y="143"/>
                  </a:lnTo>
                  <a:lnTo>
                    <a:pt x="320" y="121"/>
                  </a:lnTo>
                  <a:lnTo>
                    <a:pt x="352" y="103"/>
                  </a:lnTo>
                  <a:lnTo>
                    <a:pt x="385" y="86"/>
                  </a:lnTo>
                  <a:lnTo>
                    <a:pt x="401" y="79"/>
                  </a:lnTo>
                  <a:lnTo>
                    <a:pt x="417" y="72"/>
                  </a:lnTo>
                  <a:lnTo>
                    <a:pt x="433" y="66"/>
                  </a:lnTo>
                  <a:lnTo>
                    <a:pt x="449" y="61"/>
                  </a:lnTo>
                  <a:lnTo>
                    <a:pt x="466" y="56"/>
                  </a:lnTo>
                  <a:lnTo>
                    <a:pt x="483" y="51"/>
                  </a:lnTo>
                  <a:lnTo>
                    <a:pt x="499" y="48"/>
                  </a:lnTo>
                  <a:lnTo>
                    <a:pt x="516" y="45"/>
                  </a:lnTo>
                  <a:lnTo>
                    <a:pt x="534" y="43"/>
                  </a:lnTo>
                  <a:lnTo>
                    <a:pt x="551" y="40"/>
                  </a:lnTo>
                  <a:lnTo>
                    <a:pt x="568" y="40"/>
                  </a:lnTo>
                  <a:lnTo>
                    <a:pt x="587" y="39"/>
                  </a:lnTo>
                  <a:lnTo>
                    <a:pt x="607" y="40"/>
                  </a:lnTo>
                  <a:lnTo>
                    <a:pt x="628" y="41"/>
                  </a:lnTo>
                  <a:lnTo>
                    <a:pt x="648" y="44"/>
                  </a:lnTo>
                  <a:lnTo>
                    <a:pt x="669" y="47"/>
                  </a:lnTo>
                  <a:lnTo>
                    <a:pt x="688" y="51"/>
                  </a:lnTo>
                  <a:lnTo>
                    <a:pt x="707" y="56"/>
                  </a:lnTo>
                  <a:lnTo>
                    <a:pt x="727" y="61"/>
                  </a:lnTo>
                  <a:lnTo>
                    <a:pt x="746" y="67"/>
                  </a:lnTo>
                  <a:lnTo>
                    <a:pt x="765" y="74"/>
                  </a:lnTo>
                  <a:lnTo>
                    <a:pt x="783" y="81"/>
                  </a:lnTo>
                  <a:lnTo>
                    <a:pt x="801" y="90"/>
                  </a:lnTo>
                  <a:lnTo>
                    <a:pt x="819" y="99"/>
                  </a:lnTo>
                  <a:lnTo>
                    <a:pt x="837" y="108"/>
                  </a:lnTo>
                  <a:lnTo>
                    <a:pt x="854" y="118"/>
                  </a:lnTo>
                  <a:lnTo>
                    <a:pt x="872" y="129"/>
                  </a:lnTo>
                  <a:lnTo>
                    <a:pt x="888" y="140"/>
                  </a:lnTo>
                  <a:lnTo>
                    <a:pt x="920" y="164"/>
                  </a:lnTo>
                  <a:lnTo>
                    <a:pt x="953" y="188"/>
                  </a:lnTo>
                  <a:lnTo>
                    <a:pt x="983" y="214"/>
                  </a:lnTo>
                  <a:lnTo>
                    <a:pt x="1012" y="241"/>
                  </a:lnTo>
                  <a:lnTo>
                    <a:pt x="1040" y="268"/>
                  </a:lnTo>
                  <a:lnTo>
                    <a:pt x="1067" y="297"/>
                  </a:lnTo>
                  <a:lnTo>
                    <a:pt x="1094" y="326"/>
                  </a:lnTo>
                  <a:lnTo>
                    <a:pt x="1119" y="354"/>
                  </a:lnTo>
                  <a:lnTo>
                    <a:pt x="1094" y="380"/>
                  </a:lnTo>
                  <a:lnTo>
                    <a:pt x="1068" y="407"/>
                  </a:lnTo>
                  <a:lnTo>
                    <a:pt x="1041" y="432"/>
                  </a:lnTo>
                  <a:lnTo>
                    <a:pt x="1013" y="459"/>
                  </a:lnTo>
                  <a:lnTo>
                    <a:pt x="984" y="485"/>
                  </a:lnTo>
                  <a:lnTo>
                    <a:pt x="954" y="511"/>
                  </a:lnTo>
                  <a:lnTo>
                    <a:pt x="922" y="536"/>
                  </a:lnTo>
                  <a:lnTo>
                    <a:pt x="890" y="560"/>
                  </a:lnTo>
                  <a:lnTo>
                    <a:pt x="874" y="571"/>
                  </a:lnTo>
                  <a:lnTo>
                    <a:pt x="857" y="581"/>
                  </a:lnTo>
                  <a:lnTo>
                    <a:pt x="839" y="591"/>
                  </a:lnTo>
                  <a:lnTo>
                    <a:pt x="822" y="602"/>
                  </a:lnTo>
                  <a:lnTo>
                    <a:pt x="804" y="611"/>
                  </a:lnTo>
                  <a:lnTo>
                    <a:pt x="785" y="619"/>
                  </a:lnTo>
                  <a:lnTo>
                    <a:pt x="767" y="627"/>
                  </a:lnTo>
                  <a:lnTo>
                    <a:pt x="747" y="634"/>
                  </a:lnTo>
                  <a:lnTo>
                    <a:pt x="729" y="641"/>
                  </a:lnTo>
                  <a:lnTo>
                    <a:pt x="710" y="647"/>
                  </a:lnTo>
                  <a:lnTo>
                    <a:pt x="689" y="652"/>
                  </a:lnTo>
                  <a:lnTo>
                    <a:pt x="670" y="656"/>
                  </a:lnTo>
                  <a:lnTo>
                    <a:pt x="649" y="659"/>
                  </a:lnTo>
                  <a:lnTo>
                    <a:pt x="629" y="662"/>
                  </a:lnTo>
                  <a:lnTo>
                    <a:pt x="607" y="664"/>
                  </a:lnTo>
                  <a:lnTo>
                    <a:pt x="587" y="665"/>
                  </a:lnTo>
                  <a:close/>
                  <a:moveTo>
                    <a:pt x="587" y="0"/>
                  </a:moveTo>
                  <a:lnTo>
                    <a:pt x="566" y="0"/>
                  </a:lnTo>
                  <a:lnTo>
                    <a:pt x="547" y="3"/>
                  </a:lnTo>
                  <a:lnTo>
                    <a:pt x="527" y="4"/>
                  </a:lnTo>
                  <a:lnTo>
                    <a:pt x="508" y="7"/>
                  </a:lnTo>
                  <a:lnTo>
                    <a:pt x="489" y="10"/>
                  </a:lnTo>
                  <a:lnTo>
                    <a:pt x="470" y="14"/>
                  </a:lnTo>
                  <a:lnTo>
                    <a:pt x="451" y="19"/>
                  </a:lnTo>
                  <a:lnTo>
                    <a:pt x="433" y="25"/>
                  </a:lnTo>
                  <a:lnTo>
                    <a:pt x="415" y="32"/>
                  </a:lnTo>
                  <a:lnTo>
                    <a:pt x="396" y="38"/>
                  </a:lnTo>
                  <a:lnTo>
                    <a:pt x="378" y="46"/>
                  </a:lnTo>
                  <a:lnTo>
                    <a:pt x="361" y="54"/>
                  </a:lnTo>
                  <a:lnTo>
                    <a:pt x="342" y="63"/>
                  </a:lnTo>
                  <a:lnTo>
                    <a:pt x="325" y="73"/>
                  </a:lnTo>
                  <a:lnTo>
                    <a:pt x="308" y="84"/>
                  </a:lnTo>
                  <a:lnTo>
                    <a:pt x="289" y="94"/>
                  </a:lnTo>
                  <a:lnTo>
                    <a:pt x="255" y="119"/>
                  </a:lnTo>
                  <a:lnTo>
                    <a:pt x="219" y="145"/>
                  </a:lnTo>
                  <a:lnTo>
                    <a:pt x="184" y="174"/>
                  </a:lnTo>
                  <a:lnTo>
                    <a:pt x="148" y="206"/>
                  </a:lnTo>
                  <a:lnTo>
                    <a:pt x="112" y="239"/>
                  </a:lnTo>
                  <a:lnTo>
                    <a:pt x="76" y="275"/>
                  </a:lnTo>
                  <a:lnTo>
                    <a:pt x="39" y="311"/>
                  </a:lnTo>
                  <a:lnTo>
                    <a:pt x="0" y="351"/>
                  </a:lnTo>
                  <a:lnTo>
                    <a:pt x="66" y="421"/>
                  </a:lnTo>
                  <a:lnTo>
                    <a:pt x="130" y="485"/>
                  </a:lnTo>
                  <a:lnTo>
                    <a:pt x="162" y="516"/>
                  </a:lnTo>
                  <a:lnTo>
                    <a:pt x="194" y="545"/>
                  </a:lnTo>
                  <a:lnTo>
                    <a:pt x="228" y="572"/>
                  </a:lnTo>
                  <a:lnTo>
                    <a:pt x="261" y="597"/>
                  </a:lnTo>
                  <a:lnTo>
                    <a:pt x="279" y="608"/>
                  </a:lnTo>
                  <a:lnTo>
                    <a:pt x="296" y="620"/>
                  </a:lnTo>
                  <a:lnTo>
                    <a:pt x="314" y="631"/>
                  </a:lnTo>
                  <a:lnTo>
                    <a:pt x="333" y="641"/>
                  </a:lnTo>
                  <a:lnTo>
                    <a:pt x="351" y="651"/>
                  </a:lnTo>
                  <a:lnTo>
                    <a:pt x="369" y="659"/>
                  </a:lnTo>
                  <a:lnTo>
                    <a:pt x="389" y="667"/>
                  </a:lnTo>
                  <a:lnTo>
                    <a:pt x="409" y="674"/>
                  </a:lnTo>
                  <a:lnTo>
                    <a:pt x="429" y="681"/>
                  </a:lnTo>
                  <a:lnTo>
                    <a:pt x="450" y="686"/>
                  </a:lnTo>
                  <a:lnTo>
                    <a:pt x="471" y="692"/>
                  </a:lnTo>
                  <a:lnTo>
                    <a:pt x="493" y="696"/>
                  </a:lnTo>
                  <a:lnTo>
                    <a:pt x="515" y="699"/>
                  </a:lnTo>
                  <a:lnTo>
                    <a:pt x="538" y="701"/>
                  </a:lnTo>
                  <a:lnTo>
                    <a:pt x="562" y="702"/>
                  </a:lnTo>
                  <a:lnTo>
                    <a:pt x="587" y="704"/>
                  </a:lnTo>
                  <a:lnTo>
                    <a:pt x="610" y="702"/>
                  </a:lnTo>
                  <a:lnTo>
                    <a:pt x="634" y="700"/>
                  </a:lnTo>
                  <a:lnTo>
                    <a:pt x="658" y="698"/>
                  </a:lnTo>
                  <a:lnTo>
                    <a:pt x="680" y="694"/>
                  </a:lnTo>
                  <a:lnTo>
                    <a:pt x="703" y="688"/>
                  </a:lnTo>
                  <a:lnTo>
                    <a:pt x="726" y="683"/>
                  </a:lnTo>
                  <a:lnTo>
                    <a:pt x="747" y="675"/>
                  </a:lnTo>
                  <a:lnTo>
                    <a:pt x="769" y="668"/>
                  </a:lnTo>
                  <a:lnTo>
                    <a:pt x="791" y="659"/>
                  </a:lnTo>
                  <a:lnTo>
                    <a:pt x="811" y="651"/>
                  </a:lnTo>
                  <a:lnTo>
                    <a:pt x="832" y="640"/>
                  </a:lnTo>
                  <a:lnTo>
                    <a:pt x="851" y="629"/>
                  </a:lnTo>
                  <a:lnTo>
                    <a:pt x="871" y="618"/>
                  </a:lnTo>
                  <a:lnTo>
                    <a:pt x="890" y="606"/>
                  </a:lnTo>
                  <a:lnTo>
                    <a:pt x="908" y="593"/>
                  </a:lnTo>
                  <a:lnTo>
                    <a:pt x="927" y="581"/>
                  </a:lnTo>
                  <a:lnTo>
                    <a:pt x="962" y="554"/>
                  </a:lnTo>
                  <a:lnTo>
                    <a:pt x="997" y="526"/>
                  </a:lnTo>
                  <a:lnTo>
                    <a:pt x="1029" y="497"/>
                  </a:lnTo>
                  <a:lnTo>
                    <a:pt x="1061" y="468"/>
                  </a:lnTo>
                  <a:lnTo>
                    <a:pt x="1119" y="410"/>
                  </a:lnTo>
                  <a:lnTo>
                    <a:pt x="1172" y="356"/>
                  </a:lnTo>
                  <a:lnTo>
                    <a:pt x="1146" y="326"/>
                  </a:lnTo>
                  <a:lnTo>
                    <a:pt x="1118" y="294"/>
                  </a:lnTo>
                  <a:lnTo>
                    <a:pt x="1090" y="263"/>
                  </a:lnTo>
                  <a:lnTo>
                    <a:pt x="1060" y="233"/>
                  </a:lnTo>
                  <a:lnTo>
                    <a:pt x="1028" y="201"/>
                  </a:lnTo>
                  <a:lnTo>
                    <a:pt x="995" y="172"/>
                  </a:lnTo>
                  <a:lnTo>
                    <a:pt x="960" y="144"/>
                  </a:lnTo>
                  <a:lnTo>
                    <a:pt x="925" y="117"/>
                  </a:lnTo>
                  <a:lnTo>
                    <a:pt x="906" y="105"/>
                  </a:lnTo>
                  <a:lnTo>
                    <a:pt x="888" y="93"/>
                  </a:lnTo>
                  <a:lnTo>
                    <a:pt x="868" y="81"/>
                  </a:lnTo>
                  <a:lnTo>
                    <a:pt x="849" y="71"/>
                  </a:lnTo>
                  <a:lnTo>
                    <a:pt x="830" y="60"/>
                  </a:lnTo>
                  <a:lnTo>
                    <a:pt x="809" y="50"/>
                  </a:lnTo>
                  <a:lnTo>
                    <a:pt x="789" y="41"/>
                  </a:lnTo>
                  <a:lnTo>
                    <a:pt x="767" y="33"/>
                  </a:lnTo>
                  <a:lnTo>
                    <a:pt x="746" y="26"/>
                  </a:lnTo>
                  <a:lnTo>
                    <a:pt x="725" y="20"/>
                  </a:lnTo>
                  <a:lnTo>
                    <a:pt x="702" y="13"/>
                  </a:lnTo>
                  <a:lnTo>
                    <a:pt x="679" y="9"/>
                  </a:lnTo>
                  <a:lnTo>
                    <a:pt x="657" y="6"/>
                  </a:lnTo>
                  <a:lnTo>
                    <a:pt x="634" y="3"/>
                  </a:lnTo>
                  <a:lnTo>
                    <a:pt x="610" y="2"/>
                  </a:lnTo>
                  <a:lnTo>
                    <a:pt x="58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1" name="Freeform 41"/>
            <p:cNvSpPr>
              <a:spLocks noEditPoints="1"/>
            </p:cNvSpPr>
            <p:nvPr/>
          </p:nvSpPr>
          <p:spPr bwMode="auto">
            <a:xfrm>
              <a:off x="3681216" y="1320755"/>
              <a:ext cx="172622" cy="172622"/>
            </a:xfrm>
            <a:custGeom>
              <a:avLst/>
              <a:gdLst>
                <a:gd name="T0" fmla="*/ 195 w 468"/>
                <a:gd name="T1" fmla="*/ 425 h 468"/>
                <a:gd name="T2" fmla="*/ 141 w 468"/>
                <a:gd name="T3" fmla="*/ 405 h 468"/>
                <a:gd name="T4" fmla="*/ 96 w 468"/>
                <a:gd name="T5" fmla="*/ 372 h 468"/>
                <a:gd name="T6" fmla="*/ 63 w 468"/>
                <a:gd name="T7" fmla="*/ 326 h 468"/>
                <a:gd name="T8" fmla="*/ 43 w 468"/>
                <a:gd name="T9" fmla="*/ 273 h 468"/>
                <a:gd name="T10" fmla="*/ 40 w 468"/>
                <a:gd name="T11" fmla="*/ 214 h 468"/>
                <a:gd name="T12" fmla="*/ 54 w 468"/>
                <a:gd name="T13" fmla="*/ 158 h 468"/>
                <a:gd name="T14" fmla="*/ 83 w 468"/>
                <a:gd name="T15" fmla="*/ 110 h 468"/>
                <a:gd name="T16" fmla="*/ 125 w 468"/>
                <a:gd name="T17" fmla="*/ 73 h 468"/>
                <a:gd name="T18" fmla="*/ 176 w 468"/>
                <a:gd name="T19" fmla="*/ 48 h 468"/>
                <a:gd name="T20" fmla="*/ 235 w 468"/>
                <a:gd name="T21" fmla="*/ 39 h 468"/>
                <a:gd name="T22" fmla="*/ 292 w 468"/>
                <a:gd name="T23" fmla="*/ 48 h 468"/>
                <a:gd name="T24" fmla="*/ 344 w 468"/>
                <a:gd name="T25" fmla="*/ 73 h 468"/>
                <a:gd name="T26" fmla="*/ 385 w 468"/>
                <a:gd name="T27" fmla="*/ 110 h 468"/>
                <a:gd name="T28" fmla="*/ 414 w 468"/>
                <a:gd name="T29" fmla="*/ 158 h 468"/>
                <a:gd name="T30" fmla="*/ 428 w 468"/>
                <a:gd name="T31" fmla="*/ 214 h 468"/>
                <a:gd name="T32" fmla="*/ 426 w 468"/>
                <a:gd name="T33" fmla="*/ 273 h 468"/>
                <a:gd name="T34" fmla="*/ 405 w 468"/>
                <a:gd name="T35" fmla="*/ 326 h 468"/>
                <a:gd name="T36" fmla="*/ 372 w 468"/>
                <a:gd name="T37" fmla="*/ 372 h 468"/>
                <a:gd name="T38" fmla="*/ 327 w 468"/>
                <a:gd name="T39" fmla="*/ 405 h 468"/>
                <a:gd name="T40" fmla="*/ 273 w 468"/>
                <a:gd name="T41" fmla="*/ 425 h 468"/>
                <a:gd name="T42" fmla="*/ 235 w 468"/>
                <a:gd name="T43" fmla="*/ 0 h 468"/>
                <a:gd name="T44" fmla="*/ 199 w 468"/>
                <a:gd name="T45" fmla="*/ 2 h 468"/>
                <a:gd name="T46" fmla="*/ 164 w 468"/>
                <a:gd name="T47" fmla="*/ 10 h 468"/>
                <a:gd name="T48" fmla="*/ 133 w 468"/>
                <a:gd name="T49" fmla="*/ 23 h 468"/>
                <a:gd name="T50" fmla="*/ 103 w 468"/>
                <a:gd name="T51" fmla="*/ 40 h 468"/>
                <a:gd name="T52" fmla="*/ 53 w 468"/>
                <a:gd name="T53" fmla="*/ 85 h 468"/>
                <a:gd name="T54" fmla="*/ 28 w 468"/>
                <a:gd name="T55" fmla="*/ 122 h 468"/>
                <a:gd name="T56" fmla="*/ 14 w 468"/>
                <a:gd name="T57" fmla="*/ 154 h 468"/>
                <a:gd name="T58" fmla="*/ 4 w 468"/>
                <a:gd name="T59" fmla="*/ 187 h 468"/>
                <a:gd name="T60" fmla="*/ 0 w 468"/>
                <a:gd name="T61" fmla="*/ 222 h 468"/>
                <a:gd name="T62" fmla="*/ 1 w 468"/>
                <a:gd name="T63" fmla="*/ 258 h 468"/>
                <a:gd name="T64" fmla="*/ 8 w 468"/>
                <a:gd name="T65" fmla="*/ 293 h 468"/>
                <a:gd name="T66" fmla="*/ 18 w 468"/>
                <a:gd name="T67" fmla="*/ 325 h 468"/>
                <a:gd name="T68" fmla="*/ 34 w 468"/>
                <a:gd name="T69" fmla="*/ 355 h 468"/>
                <a:gd name="T70" fmla="*/ 68 w 468"/>
                <a:gd name="T71" fmla="*/ 400 h 468"/>
                <a:gd name="T72" fmla="*/ 112 w 468"/>
                <a:gd name="T73" fmla="*/ 434 h 468"/>
                <a:gd name="T74" fmla="*/ 143 w 468"/>
                <a:gd name="T75" fmla="*/ 449 h 468"/>
                <a:gd name="T76" fmla="*/ 175 w 468"/>
                <a:gd name="T77" fmla="*/ 460 h 468"/>
                <a:gd name="T78" fmla="*/ 210 w 468"/>
                <a:gd name="T79" fmla="*/ 467 h 468"/>
                <a:gd name="T80" fmla="*/ 246 w 468"/>
                <a:gd name="T81" fmla="*/ 468 h 468"/>
                <a:gd name="T82" fmla="*/ 281 w 468"/>
                <a:gd name="T83" fmla="*/ 463 h 468"/>
                <a:gd name="T84" fmla="*/ 314 w 468"/>
                <a:gd name="T85" fmla="*/ 454 h 468"/>
                <a:gd name="T86" fmla="*/ 346 w 468"/>
                <a:gd name="T87" fmla="*/ 440 h 468"/>
                <a:gd name="T88" fmla="*/ 382 w 468"/>
                <a:gd name="T89" fmla="*/ 415 h 468"/>
                <a:gd name="T90" fmla="*/ 428 w 468"/>
                <a:gd name="T91" fmla="*/ 365 h 468"/>
                <a:gd name="T92" fmla="*/ 445 w 468"/>
                <a:gd name="T93" fmla="*/ 335 h 468"/>
                <a:gd name="T94" fmla="*/ 458 w 468"/>
                <a:gd name="T95" fmla="*/ 304 h 468"/>
                <a:gd name="T96" fmla="*/ 466 w 468"/>
                <a:gd name="T97" fmla="*/ 269 h 468"/>
                <a:gd name="T98" fmla="*/ 468 w 468"/>
                <a:gd name="T99" fmla="*/ 233 h 468"/>
                <a:gd name="T100" fmla="*/ 466 w 468"/>
                <a:gd name="T101" fmla="*/ 198 h 468"/>
                <a:gd name="T102" fmla="*/ 458 w 468"/>
                <a:gd name="T103" fmla="*/ 164 h 468"/>
                <a:gd name="T104" fmla="*/ 445 w 468"/>
                <a:gd name="T105" fmla="*/ 132 h 468"/>
                <a:gd name="T106" fmla="*/ 428 w 468"/>
                <a:gd name="T107" fmla="*/ 103 h 468"/>
                <a:gd name="T108" fmla="*/ 382 w 468"/>
                <a:gd name="T109" fmla="*/ 53 h 468"/>
                <a:gd name="T110" fmla="*/ 346 w 468"/>
                <a:gd name="T111" fmla="*/ 28 h 468"/>
                <a:gd name="T112" fmla="*/ 314 w 468"/>
                <a:gd name="T113" fmla="*/ 14 h 468"/>
                <a:gd name="T114" fmla="*/ 281 w 468"/>
                <a:gd name="T115" fmla="*/ 4 h 468"/>
                <a:gd name="T116" fmla="*/ 246 w 468"/>
                <a:gd name="T117" fmla="*/ 0 h 4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68" h="468">
                  <a:moveTo>
                    <a:pt x="235" y="429"/>
                  </a:moveTo>
                  <a:lnTo>
                    <a:pt x="214" y="428"/>
                  </a:lnTo>
                  <a:lnTo>
                    <a:pt x="195" y="425"/>
                  </a:lnTo>
                  <a:lnTo>
                    <a:pt x="176" y="420"/>
                  </a:lnTo>
                  <a:lnTo>
                    <a:pt x="158" y="414"/>
                  </a:lnTo>
                  <a:lnTo>
                    <a:pt x="141" y="405"/>
                  </a:lnTo>
                  <a:lnTo>
                    <a:pt x="125" y="395"/>
                  </a:lnTo>
                  <a:lnTo>
                    <a:pt x="110" y="385"/>
                  </a:lnTo>
                  <a:lnTo>
                    <a:pt x="96" y="372"/>
                  </a:lnTo>
                  <a:lnTo>
                    <a:pt x="83" y="358"/>
                  </a:lnTo>
                  <a:lnTo>
                    <a:pt x="72" y="343"/>
                  </a:lnTo>
                  <a:lnTo>
                    <a:pt x="63" y="326"/>
                  </a:lnTo>
                  <a:lnTo>
                    <a:pt x="54" y="310"/>
                  </a:lnTo>
                  <a:lnTo>
                    <a:pt x="48" y="292"/>
                  </a:lnTo>
                  <a:lnTo>
                    <a:pt x="43" y="273"/>
                  </a:lnTo>
                  <a:lnTo>
                    <a:pt x="40" y="254"/>
                  </a:lnTo>
                  <a:lnTo>
                    <a:pt x="39" y="233"/>
                  </a:lnTo>
                  <a:lnTo>
                    <a:pt x="40" y="214"/>
                  </a:lnTo>
                  <a:lnTo>
                    <a:pt x="43" y="195"/>
                  </a:lnTo>
                  <a:lnTo>
                    <a:pt x="48" y="176"/>
                  </a:lnTo>
                  <a:lnTo>
                    <a:pt x="54" y="158"/>
                  </a:lnTo>
                  <a:lnTo>
                    <a:pt x="63" y="141"/>
                  </a:lnTo>
                  <a:lnTo>
                    <a:pt x="72" y="124"/>
                  </a:lnTo>
                  <a:lnTo>
                    <a:pt x="83" y="110"/>
                  </a:lnTo>
                  <a:lnTo>
                    <a:pt x="96" y="96"/>
                  </a:lnTo>
                  <a:lnTo>
                    <a:pt x="110" y="83"/>
                  </a:lnTo>
                  <a:lnTo>
                    <a:pt x="125" y="73"/>
                  </a:lnTo>
                  <a:lnTo>
                    <a:pt x="141" y="63"/>
                  </a:lnTo>
                  <a:lnTo>
                    <a:pt x="158" y="54"/>
                  </a:lnTo>
                  <a:lnTo>
                    <a:pt x="176" y="48"/>
                  </a:lnTo>
                  <a:lnTo>
                    <a:pt x="195" y="42"/>
                  </a:lnTo>
                  <a:lnTo>
                    <a:pt x="214" y="40"/>
                  </a:lnTo>
                  <a:lnTo>
                    <a:pt x="235" y="39"/>
                  </a:lnTo>
                  <a:lnTo>
                    <a:pt x="254" y="40"/>
                  </a:lnTo>
                  <a:lnTo>
                    <a:pt x="273" y="42"/>
                  </a:lnTo>
                  <a:lnTo>
                    <a:pt x="292" y="48"/>
                  </a:lnTo>
                  <a:lnTo>
                    <a:pt x="310" y="54"/>
                  </a:lnTo>
                  <a:lnTo>
                    <a:pt x="327" y="63"/>
                  </a:lnTo>
                  <a:lnTo>
                    <a:pt x="344" y="73"/>
                  </a:lnTo>
                  <a:lnTo>
                    <a:pt x="358" y="83"/>
                  </a:lnTo>
                  <a:lnTo>
                    <a:pt x="372" y="96"/>
                  </a:lnTo>
                  <a:lnTo>
                    <a:pt x="385" y="110"/>
                  </a:lnTo>
                  <a:lnTo>
                    <a:pt x="395" y="124"/>
                  </a:lnTo>
                  <a:lnTo>
                    <a:pt x="405" y="141"/>
                  </a:lnTo>
                  <a:lnTo>
                    <a:pt x="414" y="158"/>
                  </a:lnTo>
                  <a:lnTo>
                    <a:pt x="420" y="176"/>
                  </a:lnTo>
                  <a:lnTo>
                    <a:pt x="426" y="195"/>
                  </a:lnTo>
                  <a:lnTo>
                    <a:pt x="428" y="214"/>
                  </a:lnTo>
                  <a:lnTo>
                    <a:pt x="429" y="233"/>
                  </a:lnTo>
                  <a:lnTo>
                    <a:pt x="428" y="254"/>
                  </a:lnTo>
                  <a:lnTo>
                    <a:pt x="426" y="273"/>
                  </a:lnTo>
                  <a:lnTo>
                    <a:pt x="420" y="292"/>
                  </a:lnTo>
                  <a:lnTo>
                    <a:pt x="414" y="310"/>
                  </a:lnTo>
                  <a:lnTo>
                    <a:pt x="405" y="326"/>
                  </a:lnTo>
                  <a:lnTo>
                    <a:pt x="395" y="343"/>
                  </a:lnTo>
                  <a:lnTo>
                    <a:pt x="385" y="358"/>
                  </a:lnTo>
                  <a:lnTo>
                    <a:pt x="372" y="372"/>
                  </a:lnTo>
                  <a:lnTo>
                    <a:pt x="358" y="385"/>
                  </a:lnTo>
                  <a:lnTo>
                    <a:pt x="344" y="395"/>
                  </a:lnTo>
                  <a:lnTo>
                    <a:pt x="327" y="405"/>
                  </a:lnTo>
                  <a:lnTo>
                    <a:pt x="310" y="414"/>
                  </a:lnTo>
                  <a:lnTo>
                    <a:pt x="292" y="420"/>
                  </a:lnTo>
                  <a:lnTo>
                    <a:pt x="273" y="425"/>
                  </a:lnTo>
                  <a:lnTo>
                    <a:pt x="254" y="428"/>
                  </a:lnTo>
                  <a:lnTo>
                    <a:pt x="235" y="429"/>
                  </a:lnTo>
                  <a:close/>
                  <a:moveTo>
                    <a:pt x="235" y="0"/>
                  </a:moveTo>
                  <a:lnTo>
                    <a:pt x="222" y="0"/>
                  </a:lnTo>
                  <a:lnTo>
                    <a:pt x="210" y="1"/>
                  </a:lnTo>
                  <a:lnTo>
                    <a:pt x="199" y="2"/>
                  </a:lnTo>
                  <a:lnTo>
                    <a:pt x="187" y="4"/>
                  </a:lnTo>
                  <a:lnTo>
                    <a:pt x="175" y="7"/>
                  </a:lnTo>
                  <a:lnTo>
                    <a:pt x="164" y="10"/>
                  </a:lnTo>
                  <a:lnTo>
                    <a:pt x="153" y="14"/>
                  </a:lnTo>
                  <a:lnTo>
                    <a:pt x="143" y="19"/>
                  </a:lnTo>
                  <a:lnTo>
                    <a:pt x="133" y="23"/>
                  </a:lnTo>
                  <a:lnTo>
                    <a:pt x="122" y="28"/>
                  </a:lnTo>
                  <a:lnTo>
                    <a:pt x="112" y="34"/>
                  </a:lnTo>
                  <a:lnTo>
                    <a:pt x="103" y="40"/>
                  </a:lnTo>
                  <a:lnTo>
                    <a:pt x="85" y="53"/>
                  </a:lnTo>
                  <a:lnTo>
                    <a:pt x="68" y="68"/>
                  </a:lnTo>
                  <a:lnTo>
                    <a:pt x="53" y="85"/>
                  </a:lnTo>
                  <a:lnTo>
                    <a:pt x="40" y="103"/>
                  </a:lnTo>
                  <a:lnTo>
                    <a:pt x="34" y="112"/>
                  </a:lnTo>
                  <a:lnTo>
                    <a:pt x="28" y="122"/>
                  </a:lnTo>
                  <a:lnTo>
                    <a:pt x="23" y="132"/>
                  </a:lnTo>
                  <a:lnTo>
                    <a:pt x="18" y="143"/>
                  </a:lnTo>
                  <a:lnTo>
                    <a:pt x="14" y="154"/>
                  </a:lnTo>
                  <a:lnTo>
                    <a:pt x="10" y="164"/>
                  </a:lnTo>
                  <a:lnTo>
                    <a:pt x="8" y="175"/>
                  </a:lnTo>
                  <a:lnTo>
                    <a:pt x="4" y="187"/>
                  </a:lnTo>
                  <a:lnTo>
                    <a:pt x="2" y="198"/>
                  </a:lnTo>
                  <a:lnTo>
                    <a:pt x="1" y="210"/>
                  </a:lnTo>
                  <a:lnTo>
                    <a:pt x="0" y="222"/>
                  </a:lnTo>
                  <a:lnTo>
                    <a:pt x="0" y="233"/>
                  </a:lnTo>
                  <a:lnTo>
                    <a:pt x="0" y="246"/>
                  </a:lnTo>
                  <a:lnTo>
                    <a:pt x="1" y="258"/>
                  </a:lnTo>
                  <a:lnTo>
                    <a:pt x="2" y="269"/>
                  </a:lnTo>
                  <a:lnTo>
                    <a:pt x="4" y="281"/>
                  </a:lnTo>
                  <a:lnTo>
                    <a:pt x="8" y="293"/>
                  </a:lnTo>
                  <a:lnTo>
                    <a:pt x="10" y="304"/>
                  </a:lnTo>
                  <a:lnTo>
                    <a:pt x="14" y="314"/>
                  </a:lnTo>
                  <a:lnTo>
                    <a:pt x="18" y="325"/>
                  </a:lnTo>
                  <a:lnTo>
                    <a:pt x="23" y="335"/>
                  </a:lnTo>
                  <a:lnTo>
                    <a:pt x="28" y="346"/>
                  </a:lnTo>
                  <a:lnTo>
                    <a:pt x="34" y="355"/>
                  </a:lnTo>
                  <a:lnTo>
                    <a:pt x="40" y="365"/>
                  </a:lnTo>
                  <a:lnTo>
                    <a:pt x="53" y="382"/>
                  </a:lnTo>
                  <a:lnTo>
                    <a:pt x="68" y="400"/>
                  </a:lnTo>
                  <a:lnTo>
                    <a:pt x="85" y="415"/>
                  </a:lnTo>
                  <a:lnTo>
                    <a:pt x="103" y="428"/>
                  </a:lnTo>
                  <a:lnTo>
                    <a:pt x="112" y="434"/>
                  </a:lnTo>
                  <a:lnTo>
                    <a:pt x="122" y="440"/>
                  </a:lnTo>
                  <a:lnTo>
                    <a:pt x="133" y="445"/>
                  </a:lnTo>
                  <a:lnTo>
                    <a:pt x="143" y="449"/>
                  </a:lnTo>
                  <a:lnTo>
                    <a:pt x="153" y="454"/>
                  </a:lnTo>
                  <a:lnTo>
                    <a:pt x="164" y="457"/>
                  </a:lnTo>
                  <a:lnTo>
                    <a:pt x="175" y="460"/>
                  </a:lnTo>
                  <a:lnTo>
                    <a:pt x="187" y="463"/>
                  </a:lnTo>
                  <a:lnTo>
                    <a:pt x="199" y="466"/>
                  </a:lnTo>
                  <a:lnTo>
                    <a:pt x="210" y="467"/>
                  </a:lnTo>
                  <a:lnTo>
                    <a:pt x="222" y="468"/>
                  </a:lnTo>
                  <a:lnTo>
                    <a:pt x="235" y="468"/>
                  </a:lnTo>
                  <a:lnTo>
                    <a:pt x="246" y="468"/>
                  </a:lnTo>
                  <a:lnTo>
                    <a:pt x="258" y="467"/>
                  </a:lnTo>
                  <a:lnTo>
                    <a:pt x="270" y="466"/>
                  </a:lnTo>
                  <a:lnTo>
                    <a:pt x="281" y="463"/>
                  </a:lnTo>
                  <a:lnTo>
                    <a:pt x="293" y="460"/>
                  </a:lnTo>
                  <a:lnTo>
                    <a:pt x="304" y="457"/>
                  </a:lnTo>
                  <a:lnTo>
                    <a:pt x="314" y="454"/>
                  </a:lnTo>
                  <a:lnTo>
                    <a:pt x="325" y="449"/>
                  </a:lnTo>
                  <a:lnTo>
                    <a:pt x="335" y="445"/>
                  </a:lnTo>
                  <a:lnTo>
                    <a:pt x="346" y="440"/>
                  </a:lnTo>
                  <a:lnTo>
                    <a:pt x="355" y="434"/>
                  </a:lnTo>
                  <a:lnTo>
                    <a:pt x="365" y="428"/>
                  </a:lnTo>
                  <a:lnTo>
                    <a:pt x="382" y="415"/>
                  </a:lnTo>
                  <a:lnTo>
                    <a:pt x="400" y="400"/>
                  </a:lnTo>
                  <a:lnTo>
                    <a:pt x="415" y="382"/>
                  </a:lnTo>
                  <a:lnTo>
                    <a:pt x="428" y="365"/>
                  </a:lnTo>
                  <a:lnTo>
                    <a:pt x="434" y="355"/>
                  </a:lnTo>
                  <a:lnTo>
                    <a:pt x="440" y="346"/>
                  </a:lnTo>
                  <a:lnTo>
                    <a:pt x="445" y="335"/>
                  </a:lnTo>
                  <a:lnTo>
                    <a:pt x="449" y="325"/>
                  </a:lnTo>
                  <a:lnTo>
                    <a:pt x="454" y="314"/>
                  </a:lnTo>
                  <a:lnTo>
                    <a:pt x="458" y="304"/>
                  </a:lnTo>
                  <a:lnTo>
                    <a:pt x="461" y="293"/>
                  </a:lnTo>
                  <a:lnTo>
                    <a:pt x="464" y="281"/>
                  </a:lnTo>
                  <a:lnTo>
                    <a:pt x="466" y="269"/>
                  </a:lnTo>
                  <a:lnTo>
                    <a:pt x="467" y="258"/>
                  </a:lnTo>
                  <a:lnTo>
                    <a:pt x="468" y="246"/>
                  </a:lnTo>
                  <a:lnTo>
                    <a:pt x="468" y="233"/>
                  </a:lnTo>
                  <a:lnTo>
                    <a:pt x="468" y="222"/>
                  </a:lnTo>
                  <a:lnTo>
                    <a:pt x="467" y="210"/>
                  </a:lnTo>
                  <a:lnTo>
                    <a:pt x="466" y="198"/>
                  </a:lnTo>
                  <a:lnTo>
                    <a:pt x="464" y="187"/>
                  </a:lnTo>
                  <a:lnTo>
                    <a:pt x="461" y="175"/>
                  </a:lnTo>
                  <a:lnTo>
                    <a:pt x="458" y="164"/>
                  </a:lnTo>
                  <a:lnTo>
                    <a:pt x="454" y="154"/>
                  </a:lnTo>
                  <a:lnTo>
                    <a:pt x="449" y="143"/>
                  </a:lnTo>
                  <a:lnTo>
                    <a:pt x="445" y="132"/>
                  </a:lnTo>
                  <a:lnTo>
                    <a:pt x="440" y="122"/>
                  </a:lnTo>
                  <a:lnTo>
                    <a:pt x="434" y="112"/>
                  </a:lnTo>
                  <a:lnTo>
                    <a:pt x="428" y="103"/>
                  </a:lnTo>
                  <a:lnTo>
                    <a:pt x="415" y="85"/>
                  </a:lnTo>
                  <a:lnTo>
                    <a:pt x="400" y="68"/>
                  </a:lnTo>
                  <a:lnTo>
                    <a:pt x="382" y="53"/>
                  </a:lnTo>
                  <a:lnTo>
                    <a:pt x="365" y="40"/>
                  </a:lnTo>
                  <a:lnTo>
                    <a:pt x="355" y="34"/>
                  </a:lnTo>
                  <a:lnTo>
                    <a:pt x="346" y="28"/>
                  </a:lnTo>
                  <a:lnTo>
                    <a:pt x="335" y="23"/>
                  </a:lnTo>
                  <a:lnTo>
                    <a:pt x="325" y="19"/>
                  </a:lnTo>
                  <a:lnTo>
                    <a:pt x="314" y="14"/>
                  </a:lnTo>
                  <a:lnTo>
                    <a:pt x="304" y="10"/>
                  </a:lnTo>
                  <a:lnTo>
                    <a:pt x="293" y="7"/>
                  </a:lnTo>
                  <a:lnTo>
                    <a:pt x="281" y="4"/>
                  </a:lnTo>
                  <a:lnTo>
                    <a:pt x="270" y="2"/>
                  </a:lnTo>
                  <a:lnTo>
                    <a:pt x="258" y="1"/>
                  </a:lnTo>
                  <a:lnTo>
                    <a:pt x="246" y="0"/>
                  </a:lnTo>
                  <a:lnTo>
                    <a:pt x="235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2" name="Freeform 42"/>
            <p:cNvSpPr>
              <a:spLocks noEditPoints="1"/>
            </p:cNvSpPr>
            <p:nvPr/>
          </p:nvSpPr>
          <p:spPr bwMode="auto">
            <a:xfrm>
              <a:off x="3716931" y="1356470"/>
              <a:ext cx="101192" cy="101192"/>
            </a:xfrm>
            <a:custGeom>
              <a:avLst/>
              <a:gdLst>
                <a:gd name="T0" fmla="*/ 117 w 274"/>
                <a:gd name="T1" fmla="*/ 233 h 274"/>
                <a:gd name="T2" fmla="*/ 91 w 274"/>
                <a:gd name="T3" fmla="*/ 223 h 274"/>
                <a:gd name="T4" fmla="*/ 68 w 274"/>
                <a:gd name="T5" fmla="*/ 206 h 274"/>
                <a:gd name="T6" fmla="*/ 51 w 274"/>
                <a:gd name="T7" fmla="*/ 183 h 274"/>
                <a:gd name="T8" fmla="*/ 41 w 274"/>
                <a:gd name="T9" fmla="*/ 157 h 274"/>
                <a:gd name="T10" fmla="*/ 40 w 274"/>
                <a:gd name="T11" fmla="*/ 127 h 274"/>
                <a:gd name="T12" fmla="*/ 47 w 274"/>
                <a:gd name="T13" fmla="*/ 99 h 274"/>
                <a:gd name="T14" fmla="*/ 62 w 274"/>
                <a:gd name="T15" fmla="*/ 75 h 274"/>
                <a:gd name="T16" fmla="*/ 82 w 274"/>
                <a:gd name="T17" fmla="*/ 55 h 274"/>
                <a:gd name="T18" fmla="*/ 108 w 274"/>
                <a:gd name="T19" fmla="*/ 44 h 274"/>
                <a:gd name="T20" fmla="*/ 138 w 274"/>
                <a:gd name="T21" fmla="*/ 39 h 274"/>
                <a:gd name="T22" fmla="*/ 166 w 274"/>
                <a:gd name="T23" fmla="*/ 44 h 274"/>
                <a:gd name="T24" fmla="*/ 192 w 274"/>
                <a:gd name="T25" fmla="*/ 55 h 274"/>
                <a:gd name="T26" fmla="*/ 212 w 274"/>
                <a:gd name="T27" fmla="*/ 75 h 274"/>
                <a:gd name="T28" fmla="*/ 227 w 274"/>
                <a:gd name="T29" fmla="*/ 99 h 274"/>
                <a:gd name="T30" fmla="*/ 234 w 274"/>
                <a:gd name="T31" fmla="*/ 127 h 274"/>
                <a:gd name="T32" fmla="*/ 233 w 274"/>
                <a:gd name="T33" fmla="*/ 157 h 274"/>
                <a:gd name="T34" fmla="*/ 223 w 274"/>
                <a:gd name="T35" fmla="*/ 183 h 274"/>
                <a:gd name="T36" fmla="*/ 206 w 274"/>
                <a:gd name="T37" fmla="*/ 206 h 274"/>
                <a:gd name="T38" fmla="*/ 184 w 274"/>
                <a:gd name="T39" fmla="*/ 223 h 274"/>
                <a:gd name="T40" fmla="*/ 157 w 274"/>
                <a:gd name="T41" fmla="*/ 233 h 274"/>
                <a:gd name="T42" fmla="*/ 138 w 274"/>
                <a:gd name="T43" fmla="*/ 0 h 274"/>
                <a:gd name="T44" fmla="*/ 96 w 274"/>
                <a:gd name="T45" fmla="*/ 7 h 274"/>
                <a:gd name="T46" fmla="*/ 61 w 274"/>
                <a:gd name="T47" fmla="*/ 24 h 274"/>
                <a:gd name="T48" fmla="*/ 32 w 274"/>
                <a:gd name="T49" fmla="*/ 50 h 274"/>
                <a:gd name="T50" fmla="*/ 11 w 274"/>
                <a:gd name="T51" fmla="*/ 84 h 274"/>
                <a:gd name="T52" fmla="*/ 1 w 274"/>
                <a:gd name="T53" fmla="*/ 122 h 274"/>
                <a:gd name="T54" fmla="*/ 4 w 274"/>
                <a:gd name="T55" fmla="*/ 165 h 274"/>
                <a:gd name="T56" fmla="*/ 17 w 274"/>
                <a:gd name="T57" fmla="*/ 202 h 274"/>
                <a:gd name="T58" fmla="*/ 40 w 274"/>
                <a:gd name="T59" fmla="*/ 234 h 274"/>
                <a:gd name="T60" fmla="*/ 72 w 274"/>
                <a:gd name="T61" fmla="*/ 257 h 274"/>
                <a:gd name="T62" fmla="*/ 109 w 274"/>
                <a:gd name="T63" fmla="*/ 270 h 274"/>
                <a:gd name="T64" fmla="*/ 150 w 274"/>
                <a:gd name="T65" fmla="*/ 273 h 274"/>
                <a:gd name="T66" fmla="*/ 190 w 274"/>
                <a:gd name="T67" fmla="*/ 263 h 274"/>
                <a:gd name="T68" fmla="*/ 224 w 274"/>
                <a:gd name="T69" fmla="*/ 242 h 274"/>
                <a:gd name="T70" fmla="*/ 250 w 274"/>
                <a:gd name="T71" fmla="*/ 213 h 274"/>
                <a:gd name="T72" fmla="*/ 267 w 274"/>
                <a:gd name="T73" fmla="*/ 177 h 274"/>
                <a:gd name="T74" fmla="*/ 274 w 274"/>
                <a:gd name="T75" fmla="*/ 136 h 274"/>
                <a:gd name="T76" fmla="*/ 267 w 274"/>
                <a:gd name="T77" fmla="*/ 96 h 274"/>
                <a:gd name="T78" fmla="*/ 250 w 274"/>
                <a:gd name="T79" fmla="*/ 61 h 274"/>
                <a:gd name="T80" fmla="*/ 224 w 274"/>
                <a:gd name="T81" fmla="*/ 32 h 274"/>
                <a:gd name="T82" fmla="*/ 190 w 274"/>
                <a:gd name="T83" fmla="*/ 11 h 274"/>
                <a:gd name="T84" fmla="*/ 150 w 274"/>
                <a:gd name="T85" fmla="*/ 1 h 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74" h="274">
                  <a:moveTo>
                    <a:pt x="138" y="235"/>
                  </a:moveTo>
                  <a:lnTo>
                    <a:pt x="127" y="234"/>
                  </a:lnTo>
                  <a:lnTo>
                    <a:pt x="117" y="233"/>
                  </a:lnTo>
                  <a:lnTo>
                    <a:pt x="108" y="230"/>
                  </a:lnTo>
                  <a:lnTo>
                    <a:pt x="99" y="227"/>
                  </a:lnTo>
                  <a:lnTo>
                    <a:pt x="91" y="223"/>
                  </a:lnTo>
                  <a:lnTo>
                    <a:pt x="82" y="217"/>
                  </a:lnTo>
                  <a:lnTo>
                    <a:pt x="75" y="212"/>
                  </a:lnTo>
                  <a:lnTo>
                    <a:pt x="68" y="206"/>
                  </a:lnTo>
                  <a:lnTo>
                    <a:pt x="62" y="199"/>
                  </a:lnTo>
                  <a:lnTo>
                    <a:pt x="56" y="192"/>
                  </a:lnTo>
                  <a:lnTo>
                    <a:pt x="51" y="183"/>
                  </a:lnTo>
                  <a:lnTo>
                    <a:pt x="47" y="175"/>
                  </a:lnTo>
                  <a:lnTo>
                    <a:pt x="44" y="166"/>
                  </a:lnTo>
                  <a:lnTo>
                    <a:pt x="41" y="157"/>
                  </a:lnTo>
                  <a:lnTo>
                    <a:pt x="40" y="147"/>
                  </a:lnTo>
                  <a:lnTo>
                    <a:pt x="39" y="136"/>
                  </a:lnTo>
                  <a:lnTo>
                    <a:pt x="40" y="127"/>
                  </a:lnTo>
                  <a:lnTo>
                    <a:pt x="41" y="117"/>
                  </a:lnTo>
                  <a:lnTo>
                    <a:pt x="44" y="108"/>
                  </a:lnTo>
                  <a:lnTo>
                    <a:pt x="47" y="99"/>
                  </a:lnTo>
                  <a:lnTo>
                    <a:pt x="51" y="90"/>
                  </a:lnTo>
                  <a:lnTo>
                    <a:pt x="56" y="82"/>
                  </a:lnTo>
                  <a:lnTo>
                    <a:pt x="62" y="75"/>
                  </a:lnTo>
                  <a:lnTo>
                    <a:pt x="68" y="68"/>
                  </a:lnTo>
                  <a:lnTo>
                    <a:pt x="75" y="62"/>
                  </a:lnTo>
                  <a:lnTo>
                    <a:pt x="82" y="55"/>
                  </a:lnTo>
                  <a:lnTo>
                    <a:pt x="91" y="51"/>
                  </a:lnTo>
                  <a:lnTo>
                    <a:pt x="99" y="47"/>
                  </a:lnTo>
                  <a:lnTo>
                    <a:pt x="108" y="44"/>
                  </a:lnTo>
                  <a:lnTo>
                    <a:pt x="117" y="41"/>
                  </a:lnTo>
                  <a:lnTo>
                    <a:pt x="127" y="40"/>
                  </a:lnTo>
                  <a:lnTo>
                    <a:pt x="138" y="39"/>
                  </a:lnTo>
                  <a:lnTo>
                    <a:pt x="147" y="40"/>
                  </a:lnTo>
                  <a:lnTo>
                    <a:pt x="157" y="41"/>
                  </a:lnTo>
                  <a:lnTo>
                    <a:pt x="166" y="44"/>
                  </a:lnTo>
                  <a:lnTo>
                    <a:pt x="175" y="47"/>
                  </a:lnTo>
                  <a:lnTo>
                    <a:pt x="184" y="51"/>
                  </a:lnTo>
                  <a:lnTo>
                    <a:pt x="192" y="55"/>
                  </a:lnTo>
                  <a:lnTo>
                    <a:pt x="199" y="62"/>
                  </a:lnTo>
                  <a:lnTo>
                    <a:pt x="206" y="68"/>
                  </a:lnTo>
                  <a:lnTo>
                    <a:pt x="212" y="75"/>
                  </a:lnTo>
                  <a:lnTo>
                    <a:pt x="217" y="82"/>
                  </a:lnTo>
                  <a:lnTo>
                    <a:pt x="223" y="90"/>
                  </a:lnTo>
                  <a:lnTo>
                    <a:pt x="227" y="99"/>
                  </a:lnTo>
                  <a:lnTo>
                    <a:pt x="230" y="108"/>
                  </a:lnTo>
                  <a:lnTo>
                    <a:pt x="233" y="117"/>
                  </a:lnTo>
                  <a:lnTo>
                    <a:pt x="234" y="127"/>
                  </a:lnTo>
                  <a:lnTo>
                    <a:pt x="235" y="136"/>
                  </a:lnTo>
                  <a:lnTo>
                    <a:pt x="234" y="147"/>
                  </a:lnTo>
                  <a:lnTo>
                    <a:pt x="233" y="157"/>
                  </a:lnTo>
                  <a:lnTo>
                    <a:pt x="230" y="166"/>
                  </a:lnTo>
                  <a:lnTo>
                    <a:pt x="227" y="175"/>
                  </a:lnTo>
                  <a:lnTo>
                    <a:pt x="223" y="183"/>
                  </a:lnTo>
                  <a:lnTo>
                    <a:pt x="217" y="192"/>
                  </a:lnTo>
                  <a:lnTo>
                    <a:pt x="212" y="199"/>
                  </a:lnTo>
                  <a:lnTo>
                    <a:pt x="206" y="206"/>
                  </a:lnTo>
                  <a:lnTo>
                    <a:pt x="199" y="212"/>
                  </a:lnTo>
                  <a:lnTo>
                    <a:pt x="192" y="217"/>
                  </a:lnTo>
                  <a:lnTo>
                    <a:pt x="184" y="223"/>
                  </a:lnTo>
                  <a:lnTo>
                    <a:pt x="175" y="227"/>
                  </a:lnTo>
                  <a:lnTo>
                    <a:pt x="166" y="230"/>
                  </a:lnTo>
                  <a:lnTo>
                    <a:pt x="157" y="233"/>
                  </a:lnTo>
                  <a:lnTo>
                    <a:pt x="147" y="234"/>
                  </a:lnTo>
                  <a:lnTo>
                    <a:pt x="138" y="235"/>
                  </a:lnTo>
                  <a:close/>
                  <a:moveTo>
                    <a:pt x="138" y="0"/>
                  </a:moveTo>
                  <a:lnTo>
                    <a:pt x="123" y="1"/>
                  </a:lnTo>
                  <a:lnTo>
                    <a:pt x="109" y="3"/>
                  </a:lnTo>
                  <a:lnTo>
                    <a:pt x="96" y="7"/>
                  </a:lnTo>
                  <a:lnTo>
                    <a:pt x="84" y="11"/>
                  </a:lnTo>
                  <a:lnTo>
                    <a:pt x="72" y="17"/>
                  </a:lnTo>
                  <a:lnTo>
                    <a:pt x="61" y="24"/>
                  </a:lnTo>
                  <a:lnTo>
                    <a:pt x="50" y="32"/>
                  </a:lnTo>
                  <a:lnTo>
                    <a:pt x="40" y="40"/>
                  </a:lnTo>
                  <a:lnTo>
                    <a:pt x="32" y="50"/>
                  </a:lnTo>
                  <a:lnTo>
                    <a:pt x="24" y="61"/>
                  </a:lnTo>
                  <a:lnTo>
                    <a:pt x="17" y="72"/>
                  </a:lnTo>
                  <a:lnTo>
                    <a:pt x="11" y="84"/>
                  </a:lnTo>
                  <a:lnTo>
                    <a:pt x="7" y="96"/>
                  </a:lnTo>
                  <a:lnTo>
                    <a:pt x="4" y="109"/>
                  </a:lnTo>
                  <a:lnTo>
                    <a:pt x="1" y="122"/>
                  </a:lnTo>
                  <a:lnTo>
                    <a:pt x="0" y="136"/>
                  </a:lnTo>
                  <a:lnTo>
                    <a:pt x="1" y="150"/>
                  </a:lnTo>
                  <a:lnTo>
                    <a:pt x="4" y="165"/>
                  </a:lnTo>
                  <a:lnTo>
                    <a:pt x="7" y="177"/>
                  </a:lnTo>
                  <a:lnTo>
                    <a:pt x="11" y="190"/>
                  </a:lnTo>
                  <a:lnTo>
                    <a:pt x="17" y="202"/>
                  </a:lnTo>
                  <a:lnTo>
                    <a:pt x="24" y="213"/>
                  </a:lnTo>
                  <a:lnTo>
                    <a:pt x="32" y="224"/>
                  </a:lnTo>
                  <a:lnTo>
                    <a:pt x="40" y="234"/>
                  </a:lnTo>
                  <a:lnTo>
                    <a:pt x="50" y="242"/>
                  </a:lnTo>
                  <a:lnTo>
                    <a:pt x="61" y="250"/>
                  </a:lnTo>
                  <a:lnTo>
                    <a:pt x="72" y="257"/>
                  </a:lnTo>
                  <a:lnTo>
                    <a:pt x="84" y="263"/>
                  </a:lnTo>
                  <a:lnTo>
                    <a:pt x="96" y="267"/>
                  </a:lnTo>
                  <a:lnTo>
                    <a:pt x="109" y="270"/>
                  </a:lnTo>
                  <a:lnTo>
                    <a:pt x="123" y="273"/>
                  </a:lnTo>
                  <a:lnTo>
                    <a:pt x="138" y="274"/>
                  </a:lnTo>
                  <a:lnTo>
                    <a:pt x="150" y="273"/>
                  </a:lnTo>
                  <a:lnTo>
                    <a:pt x="165" y="270"/>
                  </a:lnTo>
                  <a:lnTo>
                    <a:pt x="177" y="267"/>
                  </a:lnTo>
                  <a:lnTo>
                    <a:pt x="190" y="263"/>
                  </a:lnTo>
                  <a:lnTo>
                    <a:pt x="202" y="257"/>
                  </a:lnTo>
                  <a:lnTo>
                    <a:pt x="213" y="250"/>
                  </a:lnTo>
                  <a:lnTo>
                    <a:pt x="224" y="242"/>
                  </a:lnTo>
                  <a:lnTo>
                    <a:pt x="234" y="234"/>
                  </a:lnTo>
                  <a:lnTo>
                    <a:pt x="242" y="224"/>
                  </a:lnTo>
                  <a:lnTo>
                    <a:pt x="250" y="213"/>
                  </a:lnTo>
                  <a:lnTo>
                    <a:pt x="257" y="202"/>
                  </a:lnTo>
                  <a:lnTo>
                    <a:pt x="263" y="190"/>
                  </a:lnTo>
                  <a:lnTo>
                    <a:pt x="267" y="177"/>
                  </a:lnTo>
                  <a:lnTo>
                    <a:pt x="270" y="165"/>
                  </a:lnTo>
                  <a:lnTo>
                    <a:pt x="273" y="150"/>
                  </a:lnTo>
                  <a:lnTo>
                    <a:pt x="274" y="136"/>
                  </a:lnTo>
                  <a:lnTo>
                    <a:pt x="273" y="122"/>
                  </a:lnTo>
                  <a:lnTo>
                    <a:pt x="270" y="109"/>
                  </a:lnTo>
                  <a:lnTo>
                    <a:pt x="267" y="96"/>
                  </a:lnTo>
                  <a:lnTo>
                    <a:pt x="263" y="84"/>
                  </a:lnTo>
                  <a:lnTo>
                    <a:pt x="257" y="72"/>
                  </a:lnTo>
                  <a:lnTo>
                    <a:pt x="250" y="61"/>
                  </a:lnTo>
                  <a:lnTo>
                    <a:pt x="242" y="50"/>
                  </a:lnTo>
                  <a:lnTo>
                    <a:pt x="234" y="40"/>
                  </a:lnTo>
                  <a:lnTo>
                    <a:pt x="224" y="32"/>
                  </a:lnTo>
                  <a:lnTo>
                    <a:pt x="213" y="24"/>
                  </a:lnTo>
                  <a:lnTo>
                    <a:pt x="202" y="17"/>
                  </a:lnTo>
                  <a:lnTo>
                    <a:pt x="190" y="11"/>
                  </a:lnTo>
                  <a:lnTo>
                    <a:pt x="177" y="7"/>
                  </a:lnTo>
                  <a:lnTo>
                    <a:pt x="165" y="3"/>
                  </a:lnTo>
                  <a:lnTo>
                    <a:pt x="150" y="1"/>
                  </a:lnTo>
                  <a:lnTo>
                    <a:pt x="13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45" name="Group 67"/>
          <p:cNvGrpSpPr/>
          <p:nvPr/>
        </p:nvGrpSpPr>
        <p:grpSpPr>
          <a:xfrm>
            <a:off x="5954453" y="4007170"/>
            <a:ext cx="372394" cy="372394"/>
            <a:chOff x="2932690" y="1875825"/>
            <a:chExt cx="363102" cy="363102"/>
          </a:xfrm>
          <a:solidFill>
            <a:schemeClr val="bg1"/>
          </a:solidFill>
        </p:grpSpPr>
        <p:sp>
          <p:nvSpPr>
            <p:cNvPr id="46" name="Freeform 76"/>
            <p:cNvSpPr/>
            <p:nvPr/>
          </p:nvSpPr>
          <p:spPr bwMode="auto">
            <a:xfrm>
              <a:off x="3026442" y="1971065"/>
              <a:ext cx="108633" cy="108633"/>
            </a:xfrm>
            <a:custGeom>
              <a:avLst/>
              <a:gdLst>
                <a:gd name="T0" fmla="*/ 187 w 292"/>
                <a:gd name="T1" fmla="*/ 266 h 290"/>
                <a:gd name="T2" fmla="*/ 188 w 292"/>
                <a:gd name="T3" fmla="*/ 268 h 290"/>
                <a:gd name="T4" fmla="*/ 189 w 292"/>
                <a:gd name="T5" fmla="*/ 269 h 290"/>
                <a:gd name="T6" fmla="*/ 193 w 292"/>
                <a:gd name="T7" fmla="*/ 273 h 290"/>
                <a:gd name="T8" fmla="*/ 197 w 292"/>
                <a:gd name="T9" fmla="*/ 277 h 290"/>
                <a:gd name="T10" fmla="*/ 203 w 292"/>
                <a:gd name="T11" fmla="*/ 282 h 290"/>
                <a:gd name="T12" fmla="*/ 208 w 292"/>
                <a:gd name="T13" fmla="*/ 285 h 290"/>
                <a:gd name="T14" fmla="*/ 215 w 292"/>
                <a:gd name="T15" fmla="*/ 287 h 290"/>
                <a:gd name="T16" fmla="*/ 221 w 292"/>
                <a:gd name="T17" fmla="*/ 289 h 290"/>
                <a:gd name="T18" fmla="*/ 228 w 292"/>
                <a:gd name="T19" fmla="*/ 290 h 290"/>
                <a:gd name="T20" fmla="*/ 234 w 292"/>
                <a:gd name="T21" fmla="*/ 290 h 290"/>
                <a:gd name="T22" fmla="*/ 241 w 292"/>
                <a:gd name="T23" fmla="*/ 290 h 290"/>
                <a:gd name="T24" fmla="*/ 246 w 292"/>
                <a:gd name="T25" fmla="*/ 289 h 290"/>
                <a:gd name="T26" fmla="*/ 251 w 292"/>
                <a:gd name="T27" fmla="*/ 288 h 290"/>
                <a:gd name="T28" fmla="*/ 257 w 292"/>
                <a:gd name="T29" fmla="*/ 286 h 290"/>
                <a:gd name="T30" fmla="*/ 262 w 292"/>
                <a:gd name="T31" fmla="*/ 284 h 290"/>
                <a:gd name="T32" fmla="*/ 266 w 292"/>
                <a:gd name="T33" fmla="*/ 281 h 290"/>
                <a:gd name="T34" fmla="*/ 272 w 292"/>
                <a:gd name="T35" fmla="*/ 277 h 290"/>
                <a:gd name="T36" fmla="*/ 276 w 292"/>
                <a:gd name="T37" fmla="*/ 273 h 290"/>
                <a:gd name="T38" fmla="*/ 279 w 292"/>
                <a:gd name="T39" fmla="*/ 270 h 290"/>
                <a:gd name="T40" fmla="*/ 283 w 292"/>
                <a:gd name="T41" fmla="*/ 264 h 290"/>
                <a:gd name="T42" fmla="*/ 286 w 292"/>
                <a:gd name="T43" fmla="*/ 260 h 290"/>
                <a:gd name="T44" fmla="*/ 288 w 292"/>
                <a:gd name="T45" fmla="*/ 255 h 290"/>
                <a:gd name="T46" fmla="*/ 290 w 292"/>
                <a:gd name="T47" fmla="*/ 249 h 290"/>
                <a:gd name="T48" fmla="*/ 291 w 292"/>
                <a:gd name="T49" fmla="*/ 244 h 290"/>
                <a:gd name="T50" fmla="*/ 292 w 292"/>
                <a:gd name="T51" fmla="*/ 239 h 290"/>
                <a:gd name="T52" fmla="*/ 292 w 292"/>
                <a:gd name="T53" fmla="*/ 232 h 290"/>
                <a:gd name="T54" fmla="*/ 292 w 292"/>
                <a:gd name="T55" fmla="*/ 226 h 290"/>
                <a:gd name="T56" fmla="*/ 291 w 292"/>
                <a:gd name="T57" fmla="*/ 220 h 290"/>
                <a:gd name="T58" fmla="*/ 290 w 292"/>
                <a:gd name="T59" fmla="*/ 214 h 290"/>
                <a:gd name="T60" fmla="*/ 288 w 292"/>
                <a:gd name="T61" fmla="*/ 208 h 290"/>
                <a:gd name="T62" fmla="*/ 285 w 292"/>
                <a:gd name="T63" fmla="*/ 203 h 290"/>
                <a:gd name="T64" fmla="*/ 282 w 292"/>
                <a:gd name="T65" fmla="*/ 197 h 290"/>
                <a:gd name="T66" fmla="*/ 277 w 292"/>
                <a:gd name="T67" fmla="*/ 193 h 290"/>
                <a:gd name="T68" fmla="*/ 274 w 292"/>
                <a:gd name="T69" fmla="*/ 189 h 290"/>
                <a:gd name="T70" fmla="*/ 271 w 292"/>
                <a:gd name="T71" fmla="*/ 187 h 290"/>
                <a:gd name="T72" fmla="*/ 269 w 292"/>
                <a:gd name="T73" fmla="*/ 183 h 290"/>
                <a:gd name="T74" fmla="*/ 32 w 292"/>
                <a:gd name="T75" fmla="*/ 4 h 290"/>
                <a:gd name="T76" fmla="*/ 26 w 292"/>
                <a:gd name="T77" fmla="*/ 1 h 290"/>
                <a:gd name="T78" fmla="*/ 20 w 292"/>
                <a:gd name="T79" fmla="*/ 0 h 290"/>
                <a:gd name="T80" fmla="*/ 14 w 292"/>
                <a:gd name="T81" fmla="*/ 1 h 290"/>
                <a:gd name="T82" fmla="*/ 7 w 292"/>
                <a:gd name="T83" fmla="*/ 4 h 290"/>
                <a:gd name="T84" fmla="*/ 5 w 292"/>
                <a:gd name="T85" fmla="*/ 6 h 290"/>
                <a:gd name="T86" fmla="*/ 3 w 292"/>
                <a:gd name="T87" fmla="*/ 10 h 290"/>
                <a:gd name="T88" fmla="*/ 1 w 292"/>
                <a:gd name="T89" fmla="*/ 13 h 290"/>
                <a:gd name="T90" fmla="*/ 0 w 292"/>
                <a:gd name="T91" fmla="*/ 17 h 290"/>
                <a:gd name="T92" fmla="*/ 0 w 292"/>
                <a:gd name="T93" fmla="*/ 20 h 290"/>
                <a:gd name="T94" fmla="*/ 1 w 292"/>
                <a:gd name="T95" fmla="*/ 25 h 290"/>
                <a:gd name="T96" fmla="*/ 2 w 292"/>
                <a:gd name="T97" fmla="*/ 28 h 290"/>
                <a:gd name="T98" fmla="*/ 4 w 292"/>
                <a:gd name="T99" fmla="*/ 31 h 290"/>
                <a:gd name="T100" fmla="*/ 187 w 292"/>
                <a:gd name="T101" fmla="*/ 266 h 2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92" h="290">
                  <a:moveTo>
                    <a:pt x="187" y="266"/>
                  </a:moveTo>
                  <a:lnTo>
                    <a:pt x="188" y="268"/>
                  </a:lnTo>
                  <a:lnTo>
                    <a:pt x="189" y="269"/>
                  </a:lnTo>
                  <a:lnTo>
                    <a:pt x="193" y="273"/>
                  </a:lnTo>
                  <a:lnTo>
                    <a:pt x="197" y="277"/>
                  </a:lnTo>
                  <a:lnTo>
                    <a:pt x="203" y="282"/>
                  </a:lnTo>
                  <a:lnTo>
                    <a:pt x="208" y="285"/>
                  </a:lnTo>
                  <a:lnTo>
                    <a:pt x="215" y="287"/>
                  </a:lnTo>
                  <a:lnTo>
                    <a:pt x="221" y="289"/>
                  </a:lnTo>
                  <a:lnTo>
                    <a:pt x="228" y="290"/>
                  </a:lnTo>
                  <a:lnTo>
                    <a:pt x="234" y="290"/>
                  </a:lnTo>
                  <a:lnTo>
                    <a:pt x="241" y="290"/>
                  </a:lnTo>
                  <a:lnTo>
                    <a:pt x="246" y="289"/>
                  </a:lnTo>
                  <a:lnTo>
                    <a:pt x="251" y="288"/>
                  </a:lnTo>
                  <a:lnTo>
                    <a:pt x="257" y="286"/>
                  </a:lnTo>
                  <a:lnTo>
                    <a:pt x="262" y="284"/>
                  </a:lnTo>
                  <a:lnTo>
                    <a:pt x="266" y="281"/>
                  </a:lnTo>
                  <a:lnTo>
                    <a:pt x="272" y="277"/>
                  </a:lnTo>
                  <a:lnTo>
                    <a:pt x="276" y="273"/>
                  </a:lnTo>
                  <a:lnTo>
                    <a:pt x="279" y="270"/>
                  </a:lnTo>
                  <a:lnTo>
                    <a:pt x="283" y="264"/>
                  </a:lnTo>
                  <a:lnTo>
                    <a:pt x="286" y="260"/>
                  </a:lnTo>
                  <a:lnTo>
                    <a:pt x="288" y="255"/>
                  </a:lnTo>
                  <a:lnTo>
                    <a:pt x="290" y="249"/>
                  </a:lnTo>
                  <a:lnTo>
                    <a:pt x="291" y="244"/>
                  </a:lnTo>
                  <a:lnTo>
                    <a:pt x="292" y="239"/>
                  </a:lnTo>
                  <a:lnTo>
                    <a:pt x="292" y="232"/>
                  </a:lnTo>
                  <a:lnTo>
                    <a:pt x="292" y="226"/>
                  </a:lnTo>
                  <a:lnTo>
                    <a:pt x="291" y="220"/>
                  </a:lnTo>
                  <a:lnTo>
                    <a:pt x="290" y="214"/>
                  </a:lnTo>
                  <a:lnTo>
                    <a:pt x="288" y="208"/>
                  </a:lnTo>
                  <a:lnTo>
                    <a:pt x="285" y="203"/>
                  </a:lnTo>
                  <a:lnTo>
                    <a:pt x="282" y="197"/>
                  </a:lnTo>
                  <a:lnTo>
                    <a:pt x="277" y="193"/>
                  </a:lnTo>
                  <a:lnTo>
                    <a:pt x="274" y="189"/>
                  </a:lnTo>
                  <a:lnTo>
                    <a:pt x="271" y="187"/>
                  </a:lnTo>
                  <a:lnTo>
                    <a:pt x="269" y="183"/>
                  </a:lnTo>
                  <a:lnTo>
                    <a:pt x="32" y="4"/>
                  </a:lnTo>
                  <a:lnTo>
                    <a:pt x="26" y="1"/>
                  </a:lnTo>
                  <a:lnTo>
                    <a:pt x="20" y="0"/>
                  </a:lnTo>
                  <a:lnTo>
                    <a:pt x="14" y="1"/>
                  </a:lnTo>
                  <a:lnTo>
                    <a:pt x="7" y="4"/>
                  </a:lnTo>
                  <a:lnTo>
                    <a:pt x="5" y="6"/>
                  </a:lnTo>
                  <a:lnTo>
                    <a:pt x="3" y="10"/>
                  </a:lnTo>
                  <a:lnTo>
                    <a:pt x="1" y="13"/>
                  </a:lnTo>
                  <a:lnTo>
                    <a:pt x="0" y="17"/>
                  </a:lnTo>
                  <a:lnTo>
                    <a:pt x="0" y="20"/>
                  </a:lnTo>
                  <a:lnTo>
                    <a:pt x="1" y="25"/>
                  </a:lnTo>
                  <a:lnTo>
                    <a:pt x="2" y="28"/>
                  </a:lnTo>
                  <a:lnTo>
                    <a:pt x="4" y="31"/>
                  </a:lnTo>
                  <a:lnTo>
                    <a:pt x="187" y="2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7" name="Freeform 77"/>
            <p:cNvSpPr/>
            <p:nvPr/>
          </p:nvSpPr>
          <p:spPr bwMode="auto">
            <a:xfrm>
              <a:off x="2932690" y="1875825"/>
              <a:ext cx="363102" cy="363102"/>
            </a:xfrm>
            <a:custGeom>
              <a:avLst/>
              <a:gdLst>
                <a:gd name="T0" fmla="*/ 470 w 976"/>
                <a:gd name="T1" fmla="*/ 21 h 976"/>
                <a:gd name="T2" fmla="*/ 508 w 976"/>
                <a:gd name="T3" fmla="*/ 40 h 976"/>
                <a:gd name="T4" fmla="*/ 595 w 976"/>
                <a:gd name="T5" fmla="*/ 53 h 976"/>
                <a:gd name="T6" fmla="*/ 676 w 976"/>
                <a:gd name="T7" fmla="*/ 81 h 976"/>
                <a:gd name="T8" fmla="*/ 748 w 976"/>
                <a:gd name="T9" fmla="*/ 123 h 976"/>
                <a:gd name="T10" fmla="*/ 812 w 976"/>
                <a:gd name="T11" fmla="*/ 178 h 976"/>
                <a:gd name="T12" fmla="*/ 864 w 976"/>
                <a:gd name="T13" fmla="*/ 243 h 976"/>
                <a:gd name="T14" fmla="*/ 904 w 976"/>
                <a:gd name="T15" fmla="*/ 318 h 976"/>
                <a:gd name="T16" fmla="*/ 929 w 976"/>
                <a:gd name="T17" fmla="*/ 401 h 976"/>
                <a:gd name="T18" fmla="*/ 937 w 976"/>
                <a:gd name="T19" fmla="*/ 488 h 976"/>
                <a:gd name="T20" fmla="*/ 928 w 976"/>
                <a:gd name="T21" fmla="*/ 579 h 976"/>
                <a:gd name="T22" fmla="*/ 902 w 976"/>
                <a:gd name="T23" fmla="*/ 663 h 976"/>
                <a:gd name="T24" fmla="*/ 861 w 976"/>
                <a:gd name="T25" fmla="*/ 739 h 976"/>
                <a:gd name="T26" fmla="*/ 806 w 976"/>
                <a:gd name="T27" fmla="*/ 806 h 976"/>
                <a:gd name="T28" fmla="*/ 739 w 976"/>
                <a:gd name="T29" fmla="*/ 861 h 976"/>
                <a:gd name="T30" fmla="*/ 663 w 976"/>
                <a:gd name="T31" fmla="*/ 902 h 976"/>
                <a:gd name="T32" fmla="*/ 579 w 976"/>
                <a:gd name="T33" fmla="*/ 928 h 976"/>
                <a:gd name="T34" fmla="*/ 488 w 976"/>
                <a:gd name="T35" fmla="*/ 937 h 976"/>
                <a:gd name="T36" fmla="*/ 398 w 976"/>
                <a:gd name="T37" fmla="*/ 928 h 976"/>
                <a:gd name="T38" fmla="*/ 314 w 976"/>
                <a:gd name="T39" fmla="*/ 902 h 976"/>
                <a:gd name="T40" fmla="*/ 237 w 976"/>
                <a:gd name="T41" fmla="*/ 861 h 976"/>
                <a:gd name="T42" fmla="*/ 170 w 976"/>
                <a:gd name="T43" fmla="*/ 806 h 976"/>
                <a:gd name="T44" fmla="*/ 116 w 976"/>
                <a:gd name="T45" fmla="*/ 739 h 976"/>
                <a:gd name="T46" fmla="*/ 74 w 976"/>
                <a:gd name="T47" fmla="*/ 663 h 976"/>
                <a:gd name="T48" fmla="*/ 48 w 976"/>
                <a:gd name="T49" fmla="*/ 579 h 976"/>
                <a:gd name="T50" fmla="*/ 40 w 976"/>
                <a:gd name="T51" fmla="*/ 488 h 976"/>
                <a:gd name="T52" fmla="*/ 48 w 976"/>
                <a:gd name="T53" fmla="*/ 397 h 976"/>
                <a:gd name="T54" fmla="*/ 74 w 976"/>
                <a:gd name="T55" fmla="*/ 313 h 976"/>
                <a:gd name="T56" fmla="*/ 116 w 976"/>
                <a:gd name="T57" fmla="*/ 237 h 976"/>
                <a:gd name="T58" fmla="*/ 170 w 976"/>
                <a:gd name="T59" fmla="*/ 171 h 976"/>
                <a:gd name="T60" fmla="*/ 97 w 976"/>
                <a:gd name="T61" fmla="*/ 196 h 976"/>
                <a:gd name="T62" fmla="*/ 48 w 976"/>
                <a:gd name="T63" fmla="*/ 276 h 976"/>
                <a:gd name="T64" fmla="*/ 16 w 976"/>
                <a:gd name="T65" fmla="*/ 366 h 976"/>
                <a:gd name="T66" fmla="*/ 1 w 976"/>
                <a:gd name="T67" fmla="*/ 463 h 976"/>
                <a:gd name="T68" fmla="*/ 6 w 976"/>
                <a:gd name="T69" fmla="*/ 563 h 976"/>
                <a:gd name="T70" fmla="*/ 30 w 976"/>
                <a:gd name="T71" fmla="*/ 655 h 976"/>
                <a:gd name="T72" fmla="*/ 71 w 976"/>
                <a:gd name="T73" fmla="*/ 741 h 976"/>
                <a:gd name="T74" fmla="*/ 127 w 976"/>
                <a:gd name="T75" fmla="*/ 816 h 976"/>
                <a:gd name="T76" fmla="*/ 196 w 976"/>
                <a:gd name="T77" fmla="*/ 879 h 976"/>
                <a:gd name="T78" fmla="*/ 276 w 976"/>
                <a:gd name="T79" fmla="*/ 928 h 976"/>
                <a:gd name="T80" fmla="*/ 366 w 976"/>
                <a:gd name="T81" fmla="*/ 961 h 976"/>
                <a:gd name="T82" fmla="*/ 463 w 976"/>
                <a:gd name="T83" fmla="*/ 975 h 976"/>
                <a:gd name="T84" fmla="*/ 563 w 976"/>
                <a:gd name="T85" fmla="*/ 971 h 976"/>
                <a:gd name="T86" fmla="*/ 657 w 976"/>
                <a:gd name="T87" fmla="*/ 946 h 976"/>
                <a:gd name="T88" fmla="*/ 741 w 976"/>
                <a:gd name="T89" fmla="*/ 905 h 976"/>
                <a:gd name="T90" fmla="*/ 816 w 976"/>
                <a:gd name="T91" fmla="*/ 849 h 976"/>
                <a:gd name="T92" fmla="*/ 879 w 976"/>
                <a:gd name="T93" fmla="*/ 780 h 976"/>
                <a:gd name="T94" fmla="*/ 928 w 976"/>
                <a:gd name="T95" fmla="*/ 700 h 976"/>
                <a:gd name="T96" fmla="*/ 961 w 976"/>
                <a:gd name="T97" fmla="*/ 610 h 976"/>
                <a:gd name="T98" fmla="*/ 975 w 976"/>
                <a:gd name="T99" fmla="*/ 513 h 976"/>
                <a:gd name="T100" fmla="*/ 971 w 976"/>
                <a:gd name="T101" fmla="*/ 414 h 976"/>
                <a:gd name="T102" fmla="*/ 947 w 976"/>
                <a:gd name="T103" fmla="*/ 321 h 976"/>
                <a:gd name="T104" fmla="*/ 906 w 976"/>
                <a:gd name="T105" fmla="*/ 235 h 976"/>
                <a:gd name="T106" fmla="*/ 850 w 976"/>
                <a:gd name="T107" fmla="*/ 160 h 976"/>
                <a:gd name="T108" fmla="*/ 780 w 976"/>
                <a:gd name="T109" fmla="*/ 97 h 976"/>
                <a:gd name="T110" fmla="*/ 700 w 976"/>
                <a:gd name="T111" fmla="*/ 48 h 976"/>
                <a:gd name="T112" fmla="*/ 610 w 976"/>
                <a:gd name="T113" fmla="*/ 16 h 976"/>
                <a:gd name="T114" fmla="*/ 513 w 976"/>
                <a:gd name="T115" fmla="*/ 1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976" h="976">
                  <a:moveTo>
                    <a:pt x="488" y="0"/>
                  </a:moveTo>
                  <a:lnTo>
                    <a:pt x="478" y="1"/>
                  </a:lnTo>
                  <a:lnTo>
                    <a:pt x="470" y="1"/>
                  </a:lnTo>
                  <a:lnTo>
                    <a:pt x="470" y="21"/>
                  </a:lnTo>
                  <a:lnTo>
                    <a:pt x="469" y="21"/>
                  </a:lnTo>
                  <a:lnTo>
                    <a:pt x="469" y="234"/>
                  </a:lnTo>
                  <a:lnTo>
                    <a:pt x="508" y="234"/>
                  </a:lnTo>
                  <a:lnTo>
                    <a:pt x="508" y="40"/>
                  </a:lnTo>
                  <a:lnTo>
                    <a:pt x="530" y="42"/>
                  </a:lnTo>
                  <a:lnTo>
                    <a:pt x="552" y="44"/>
                  </a:lnTo>
                  <a:lnTo>
                    <a:pt x="573" y="48"/>
                  </a:lnTo>
                  <a:lnTo>
                    <a:pt x="595" y="53"/>
                  </a:lnTo>
                  <a:lnTo>
                    <a:pt x="616" y="58"/>
                  </a:lnTo>
                  <a:lnTo>
                    <a:pt x="636" y="65"/>
                  </a:lnTo>
                  <a:lnTo>
                    <a:pt x="655" y="72"/>
                  </a:lnTo>
                  <a:lnTo>
                    <a:pt x="676" y="81"/>
                  </a:lnTo>
                  <a:lnTo>
                    <a:pt x="694" y="90"/>
                  </a:lnTo>
                  <a:lnTo>
                    <a:pt x="713" y="100"/>
                  </a:lnTo>
                  <a:lnTo>
                    <a:pt x="731" y="111"/>
                  </a:lnTo>
                  <a:lnTo>
                    <a:pt x="748" y="123"/>
                  </a:lnTo>
                  <a:lnTo>
                    <a:pt x="766" y="136"/>
                  </a:lnTo>
                  <a:lnTo>
                    <a:pt x="782" y="149"/>
                  </a:lnTo>
                  <a:lnTo>
                    <a:pt x="797" y="163"/>
                  </a:lnTo>
                  <a:lnTo>
                    <a:pt x="812" y="178"/>
                  </a:lnTo>
                  <a:lnTo>
                    <a:pt x="826" y="193"/>
                  </a:lnTo>
                  <a:lnTo>
                    <a:pt x="839" y="209"/>
                  </a:lnTo>
                  <a:lnTo>
                    <a:pt x="852" y="226"/>
                  </a:lnTo>
                  <a:lnTo>
                    <a:pt x="864" y="243"/>
                  </a:lnTo>
                  <a:lnTo>
                    <a:pt x="876" y="261"/>
                  </a:lnTo>
                  <a:lnTo>
                    <a:pt x="886" y="280"/>
                  </a:lnTo>
                  <a:lnTo>
                    <a:pt x="895" y="299"/>
                  </a:lnTo>
                  <a:lnTo>
                    <a:pt x="904" y="318"/>
                  </a:lnTo>
                  <a:lnTo>
                    <a:pt x="911" y="338"/>
                  </a:lnTo>
                  <a:lnTo>
                    <a:pt x="918" y="358"/>
                  </a:lnTo>
                  <a:lnTo>
                    <a:pt x="923" y="379"/>
                  </a:lnTo>
                  <a:lnTo>
                    <a:pt x="929" y="401"/>
                  </a:lnTo>
                  <a:lnTo>
                    <a:pt x="932" y="422"/>
                  </a:lnTo>
                  <a:lnTo>
                    <a:pt x="935" y="444"/>
                  </a:lnTo>
                  <a:lnTo>
                    <a:pt x="936" y="465"/>
                  </a:lnTo>
                  <a:lnTo>
                    <a:pt x="937" y="488"/>
                  </a:lnTo>
                  <a:lnTo>
                    <a:pt x="936" y="511"/>
                  </a:lnTo>
                  <a:lnTo>
                    <a:pt x="935" y="534"/>
                  </a:lnTo>
                  <a:lnTo>
                    <a:pt x="932" y="556"/>
                  </a:lnTo>
                  <a:lnTo>
                    <a:pt x="928" y="579"/>
                  </a:lnTo>
                  <a:lnTo>
                    <a:pt x="923" y="600"/>
                  </a:lnTo>
                  <a:lnTo>
                    <a:pt x="917" y="622"/>
                  </a:lnTo>
                  <a:lnTo>
                    <a:pt x="910" y="642"/>
                  </a:lnTo>
                  <a:lnTo>
                    <a:pt x="902" y="663"/>
                  </a:lnTo>
                  <a:lnTo>
                    <a:pt x="893" y="682"/>
                  </a:lnTo>
                  <a:lnTo>
                    <a:pt x="883" y="702"/>
                  </a:lnTo>
                  <a:lnTo>
                    <a:pt x="873" y="720"/>
                  </a:lnTo>
                  <a:lnTo>
                    <a:pt x="861" y="739"/>
                  </a:lnTo>
                  <a:lnTo>
                    <a:pt x="848" y="757"/>
                  </a:lnTo>
                  <a:lnTo>
                    <a:pt x="835" y="773"/>
                  </a:lnTo>
                  <a:lnTo>
                    <a:pt x="821" y="789"/>
                  </a:lnTo>
                  <a:lnTo>
                    <a:pt x="806" y="806"/>
                  </a:lnTo>
                  <a:lnTo>
                    <a:pt x="791" y="821"/>
                  </a:lnTo>
                  <a:lnTo>
                    <a:pt x="773" y="835"/>
                  </a:lnTo>
                  <a:lnTo>
                    <a:pt x="757" y="848"/>
                  </a:lnTo>
                  <a:lnTo>
                    <a:pt x="739" y="861"/>
                  </a:lnTo>
                  <a:lnTo>
                    <a:pt x="721" y="871"/>
                  </a:lnTo>
                  <a:lnTo>
                    <a:pt x="702" y="882"/>
                  </a:lnTo>
                  <a:lnTo>
                    <a:pt x="682" y="893"/>
                  </a:lnTo>
                  <a:lnTo>
                    <a:pt x="663" y="902"/>
                  </a:lnTo>
                  <a:lnTo>
                    <a:pt x="643" y="909"/>
                  </a:lnTo>
                  <a:lnTo>
                    <a:pt x="622" y="917"/>
                  </a:lnTo>
                  <a:lnTo>
                    <a:pt x="600" y="923"/>
                  </a:lnTo>
                  <a:lnTo>
                    <a:pt x="579" y="928"/>
                  </a:lnTo>
                  <a:lnTo>
                    <a:pt x="556" y="932"/>
                  </a:lnTo>
                  <a:lnTo>
                    <a:pt x="535" y="935"/>
                  </a:lnTo>
                  <a:lnTo>
                    <a:pt x="512" y="936"/>
                  </a:lnTo>
                  <a:lnTo>
                    <a:pt x="488" y="937"/>
                  </a:lnTo>
                  <a:lnTo>
                    <a:pt x="465" y="936"/>
                  </a:lnTo>
                  <a:lnTo>
                    <a:pt x="443" y="935"/>
                  </a:lnTo>
                  <a:lnTo>
                    <a:pt x="420" y="932"/>
                  </a:lnTo>
                  <a:lnTo>
                    <a:pt x="398" y="928"/>
                  </a:lnTo>
                  <a:lnTo>
                    <a:pt x="376" y="923"/>
                  </a:lnTo>
                  <a:lnTo>
                    <a:pt x="355" y="917"/>
                  </a:lnTo>
                  <a:lnTo>
                    <a:pt x="334" y="909"/>
                  </a:lnTo>
                  <a:lnTo>
                    <a:pt x="314" y="902"/>
                  </a:lnTo>
                  <a:lnTo>
                    <a:pt x="294" y="893"/>
                  </a:lnTo>
                  <a:lnTo>
                    <a:pt x="274" y="882"/>
                  </a:lnTo>
                  <a:lnTo>
                    <a:pt x="256" y="871"/>
                  </a:lnTo>
                  <a:lnTo>
                    <a:pt x="237" y="861"/>
                  </a:lnTo>
                  <a:lnTo>
                    <a:pt x="220" y="848"/>
                  </a:lnTo>
                  <a:lnTo>
                    <a:pt x="203" y="835"/>
                  </a:lnTo>
                  <a:lnTo>
                    <a:pt x="187" y="821"/>
                  </a:lnTo>
                  <a:lnTo>
                    <a:pt x="170" y="806"/>
                  </a:lnTo>
                  <a:lnTo>
                    <a:pt x="156" y="789"/>
                  </a:lnTo>
                  <a:lnTo>
                    <a:pt x="142" y="773"/>
                  </a:lnTo>
                  <a:lnTo>
                    <a:pt x="128" y="757"/>
                  </a:lnTo>
                  <a:lnTo>
                    <a:pt x="116" y="739"/>
                  </a:lnTo>
                  <a:lnTo>
                    <a:pt x="105" y="720"/>
                  </a:lnTo>
                  <a:lnTo>
                    <a:pt x="94" y="702"/>
                  </a:lnTo>
                  <a:lnTo>
                    <a:pt x="84" y="682"/>
                  </a:lnTo>
                  <a:lnTo>
                    <a:pt x="74" y="663"/>
                  </a:lnTo>
                  <a:lnTo>
                    <a:pt x="67" y="642"/>
                  </a:lnTo>
                  <a:lnTo>
                    <a:pt x="59" y="622"/>
                  </a:lnTo>
                  <a:lnTo>
                    <a:pt x="54" y="600"/>
                  </a:lnTo>
                  <a:lnTo>
                    <a:pt x="48" y="579"/>
                  </a:lnTo>
                  <a:lnTo>
                    <a:pt x="44" y="556"/>
                  </a:lnTo>
                  <a:lnTo>
                    <a:pt x="42" y="534"/>
                  </a:lnTo>
                  <a:lnTo>
                    <a:pt x="40" y="511"/>
                  </a:lnTo>
                  <a:lnTo>
                    <a:pt x="40" y="488"/>
                  </a:lnTo>
                  <a:lnTo>
                    <a:pt x="40" y="465"/>
                  </a:lnTo>
                  <a:lnTo>
                    <a:pt x="42" y="443"/>
                  </a:lnTo>
                  <a:lnTo>
                    <a:pt x="44" y="420"/>
                  </a:lnTo>
                  <a:lnTo>
                    <a:pt x="48" y="397"/>
                  </a:lnTo>
                  <a:lnTo>
                    <a:pt x="54" y="376"/>
                  </a:lnTo>
                  <a:lnTo>
                    <a:pt x="59" y="355"/>
                  </a:lnTo>
                  <a:lnTo>
                    <a:pt x="67" y="334"/>
                  </a:lnTo>
                  <a:lnTo>
                    <a:pt x="74" y="313"/>
                  </a:lnTo>
                  <a:lnTo>
                    <a:pt x="84" y="294"/>
                  </a:lnTo>
                  <a:lnTo>
                    <a:pt x="94" y="274"/>
                  </a:lnTo>
                  <a:lnTo>
                    <a:pt x="105" y="256"/>
                  </a:lnTo>
                  <a:lnTo>
                    <a:pt x="116" y="237"/>
                  </a:lnTo>
                  <a:lnTo>
                    <a:pt x="128" y="220"/>
                  </a:lnTo>
                  <a:lnTo>
                    <a:pt x="142" y="203"/>
                  </a:lnTo>
                  <a:lnTo>
                    <a:pt x="156" y="187"/>
                  </a:lnTo>
                  <a:lnTo>
                    <a:pt x="170" y="171"/>
                  </a:lnTo>
                  <a:lnTo>
                    <a:pt x="143" y="144"/>
                  </a:lnTo>
                  <a:lnTo>
                    <a:pt x="127" y="160"/>
                  </a:lnTo>
                  <a:lnTo>
                    <a:pt x="112" y="178"/>
                  </a:lnTo>
                  <a:lnTo>
                    <a:pt x="97" y="196"/>
                  </a:lnTo>
                  <a:lnTo>
                    <a:pt x="84" y="215"/>
                  </a:lnTo>
                  <a:lnTo>
                    <a:pt x="71" y="235"/>
                  </a:lnTo>
                  <a:lnTo>
                    <a:pt x="59" y="256"/>
                  </a:lnTo>
                  <a:lnTo>
                    <a:pt x="48" y="276"/>
                  </a:lnTo>
                  <a:lnTo>
                    <a:pt x="39" y="298"/>
                  </a:lnTo>
                  <a:lnTo>
                    <a:pt x="30" y="321"/>
                  </a:lnTo>
                  <a:lnTo>
                    <a:pt x="23" y="343"/>
                  </a:lnTo>
                  <a:lnTo>
                    <a:pt x="16" y="366"/>
                  </a:lnTo>
                  <a:lnTo>
                    <a:pt x="11" y="390"/>
                  </a:lnTo>
                  <a:lnTo>
                    <a:pt x="6" y="414"/>
                  </a:lnTo>
                  <a:lnTo>
                    <a:pt x="3" y="438"/>
                  </a:lnTo>
                  <a:lnTo>
                    <a:pt x="1" y="463"/>
                  </a:lnTo>
                  <a:lnTo>
                    <a:pt x="0" y="488"/>
                  </a:lnTo>
                  <a:lnTo>
                    <a:pt x="1" y="513"/>
                  </a:lnTo>
                  <a:lnTo>
                    <a:pt x="3" y="538"/>
                  </a:lnTo>
                  <a:lnTo>
                    <a:pt x="6" y="563"/>
                  </a:lnTo>
                  <a:lnTo>
                    <a:pt x="11" y="586"/>
                  </a:lnTo>
                  <a:lnTo>
                    <a:pt x="16" y="610"/>
                  </a:lnTo>
                  <a:lnTo>
                    <a:pt x="23" y="633"/>
                  </a:lnTo>
                  <a:lnTo>
                    <a:pt x="30" y="655"/>
                  </a:lnTo>
                  <a:lnTo>
                    <a:pt x="39" y="678"/>
                  </a:lnTo>
                  <a:lnTo>
                    <a:pt x="48" y="700"/>
                  </a:lnTo>
                  <a:lnTo>
                    <a:pt x="59" y="720"/>
                  </a:lnTo>
                  <a:lnTo>
                    <a:pt x="71" y="741"/>
                  </a:lnTo>
                  <a:lnTo>
                    <a:pt x="84" y="761"/>
                  </a:lnTo>
                  <a:lnTo>
                    <a:pt x="97" y="780"/>
                  </a:lnTo>
                  <a:lnTo>
                    <a:pt x="112" y="798"/>
                  </a:lnTo>
                  <a:lnTo>
                    <a:pt x="127" y="816"/>
                  </a:lnTo>
                  <a:lnTo>
                    <a:pt x="143" y="833"/>
                  </a:lnTo>
                  <a:lnTo>
                    <a:pt x="160" y="849"/>
                  </a:lnTo>
                  <a:lnTo>
                    <a:pt x="178" y="865"/>
                  </a:lnTo>
                  <a:lnTo>
                    <a:pt x="196" y="879"/>
                  </a:lnTo>
                  <a:lnTo>
                    <a:pt x="216" y="893"/>
                  </a:lnTo>
                  <a:lnTo>
                    <a:pt x="235" y="905"/>
                  </a:lnTo>
                  <a:lnTo>
                    <a:pt x="256" y="917"/>
                  </a:lnTo>
                  <a:lnTo>
                    <a:pt x="276" y="928"/>
                  </a:lnTo>
                  <a:lnTo>
                    <a:pt x="298" y="937"/>
                  </a:lnTo>
                  <a:lnTo>
                    <a:pt x="321" y="946"/>
                  </a:lnTo>
                  <a:lnTo>
                    <a:pt x="343" y="954"/>
                  </a:lnTo>
                  <a:lnTo>
                    <a:pt x="366" y="961"/>
                  </a:lnTo>
                  <a:lnTo>
                    <a:pt x="390" y="966"/>
                  </a:lnTo>
                  <a:lnTo>
                    <a:pt x="414" y="971"/>
                  </a:lnTo>
                  <a:lnTo>
                    <a:pt x="438" y="973"/>
                  </a:lnTo>
                  <a:lnTo>
                    <a:pt x="463" y="975"/>
                  </a:lnTo>
                  <a:lnTo>
                    <a:pt x="488" y="976"/>
                  </a:lnTo>
                  <a:lnTo>
                    <a:pt x="513" y="975"/>
                  </a:lnTo>
                  <a:lnTo>
                    <a:pt x="538" y="973"/>
                  </a:lnTo>
                  <a:lnTo>
                    <a:pt x="563" y="971"/>
                  </a:lnTo>
                  <a:lnTo>
                    <a:pt x="586" y="966"/>
                  </a:lnTo>
                  <a:lnTo>
                    <a:pt x="610" y="961"/>
                  </a:lnTo>
                  <a:lnTo>
                    <a:pt x="634" y="954"/>
                  </a:lnTo>
                  <a:lnTo>
                    <a:pt x="657" y="946"/>
                  </a:lnTo>
                  <a:lnTo>
                    <a:pt x="678" y="937"/>
                  </a:lnTo>
                  <a:lnTo>
                    <a:pt x="700" y="928"/>
                  </a:lnTo>
                  <a:lnTo>
                    <a:pt x="721" y="917"/>
                  </a:lnTo>
                  <a:lnTo>
                    <a:pt x="741" y="905"/>
                  </a:lnTo>
                  <a:lnTo>
                    <a:pt x="761" y="893"/>
                  </a:lnTo>
                  <a:lnTo>
                    <a:pt x="780" y="879"/>
                  </a:lnTo>
                  <a:lnTo>
                    <a:pt x="799" y="865"/>
                  </a:lnTo>
                  <a:lnTo>
                    <a:pt x="816" y="849"/>
                  </a:lnTo>
                  <a:lnTo>
                    <a:pt x="834" y="833"/>
                  </a:lnTo>
                  <a:lnTo>
                    <a:pt x="850" y="816"/>
                  </a:lnTo>
                  <a:lnTo>
                    <a:pt x="865" y="798"/>
                  </a:lnTo>
                  <a:lnTo>
                    <a:pt x="879" y="780"/>
                  </a:lnTo>
                  <a:lnTo>
                    <a:pt x="893" y="761"/>
                  </a:lnTo>
                  <a:lnTo>
                    <a:pt x="906" y="741"/>
                  </a:lnTo>
                  <a:lnTo>
                    <a:pt x="917" y="720"/>
                  </a:lnTo>
                  <a:lnTo>
                    <a:pt x="928" y="700"/>
                  </a:lnTo>
                  <a:lnTo>
                    <a:pt x="937" y="678"/>
                  </a:lnTo>
                  <a:lnTo>
                    <a:pt x="947" y="655"/>
                  </a:lnTo>
                  <a:lnTo>
                    <a:pt x="955" y="633"/>
                  </a:lnTo>
                  <a:lnTo>
                    <a:pt x="961" y="610"/>
                  </a:lnTo>
                  <a:lnTo>
                    <a:pt x="967" y="586"/>
                  </a:lnTo>
                  <a:lnTo>
                    <a:pt x="971" y="563"/>
                  </a:lnTo>
                  <a:lnTo>
                    <a:pt x="974" y="538"/>
                  </a:lnTo>
                  <a:lnTo>
                    <a:pt x="975" y="513"/>
                  </a:lnTo>
                  <a:lnTo>
                    <a:pt x="976" y="488"/>
                  </a:lnTo>
                  <a:lnTo>
                    <a:pt x="975" y="463"/>
                  </a:lnTo>
                  <a:lnTo>
                    <a:pt x="974" y="438"/>
                  </a:lnTo>
                  <a:lnTo>
                    <a:pt x="971" y="414"/>
                  </a:lnTo>
                  <a:lnTo>
                    <a:pt x="967" y="390"/>
                  </a:lnTo>
                  <a:lnTo>
                    <a:pt x="961" y="366"/>
                  </a:lnTo>
                  <a:lnTo>
                    <a:pt x="955" y="343"/>
                  </a:lnTo>
                  <a:lnTo>
                    <a:pt x="947" y="321"/>
                  </a:lnTo>
                  <a:lnTo>
                    <a:pt x="937" y="298"/>
                  </a:lnTo>
                  <a:lnTo>
                    <a:pt x="928" y="276"/>
                  </a:lnTo>
                  <a:lnTo>
                    <a:pt x="917" y="256"/>
                  </a:lnTo>
                  <a:lnTo>
                    <a:pt x="906" y="235"/>
                  </a:lnTo>
                  <a:lnTo>
                    <a:pt x="893" y="216"/>
                  </a:lnTo>
                  <a:lnTo>
                    <a:pt x="879" y="196"/>
                  </a:lnTo>
                  <a:lnTo>
                    <a:pt x="865" y="178"/>
                  </a:lnTo>
                  <a:lnTo>
                    <a:pt x="850" y="160"/>
                  </a:lnTo>
                  <a:lnTo>
                    <a:pt x="834" y="144"/>
                  </a:lnTo>
                  <a:lnTo>
                    <a:pt x="816" y="127"/>
                  </a:lnTo>
                  <a:lnTo>
                    <a:pt x="799" y="112"/>
                  </a:lnTo>
                  <a:lnTo>
                    <a:pt x="780" y="97"/>
                  </a:lnTo>
                  <a:lnTo>
                    <a:pt x="761" y="84"/>
                  </a:lnTo>
                  <a:lnTo>
                    <a:pt x="741" y="71"/>
                  </a:lnTo>
                  <a:lnTo>
                    <a:pt x="721" y="59"/>
                  </a:lnTo>
                  <a:lnTo>
                    <a:pt x="700" y="48"/>
                  </a:lnTo>
                  <a:lnTo>
                    <a:pt x="678" y="39"/>
                  </a:lnTo>
                  <a:lnTo>
                    <a:pt x="657" y="30"/>
                  </a:lnTo>
                  <a:lnTo>
                    <a:pt x="634" y="23"/>
                  </a:lnTo>
                  <a:lnTo>
                    <a:pt x="610" y="16"/>
                  </a:lnTo>
                  <a:lnTo>
                    <a:pt x="586" y="11"/>
                  </a:lnTo>
                  <a:lnTo>
                    <a:pt x="563" y="6"/>
                  </a:lnTo>
                  <a:lnTo>
                    <a:pt x="538" y="3"/>
                  </a:lnTo>
                  <a:lnTo>
                    <a:pt x="513" y="1"/>
                  </a:lnTo>
                  <a:lnTo>
                    <a:pt x="48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50" name="Freeform 76"/>
          <p:cNvSpPr>
            <a:spLocks noEditPoints="1"/>
          </p:cNvSpPr>
          <p:nvPr/>
        </p:nvSpPr>
        <p:spPr bwMode="auto">
          <a:xfrm>
            <a:off x="8932000" y="3932156"/>
            <a:ext cx="350047" cy="328881"/>
          </a:xfrm>
          <a:custGeom>
            <a:avLst/>
            <a:gdLst>
              <a:gd name="T0" fmla="*/ 773 w 860"/>
              <a:gd name="T1" fmla="*/ 591 h 809"/>
              <a:gd name="T2" fmla="*/ 791 w 860"/>
              <a:gd name="T3" fmla="*/ 616 h 809"/>
              <a:gd name="T4" fmla="*/ 787 w 860"/>
              <a:gd name="T5" fmla="*/ 651 h 809"/>
              <a:gd name="T6" fmla="*/ 768 w 860"/>
              <a:gd name="T7" fmla="*/ 665 h 809"/>
              <a:gd name="T8" fmla="*/ 740 w 860"/>
              <a:gd name="T9" fmla="*/ 700 h 809"/>
              <a:gd name="T10" fmla="*/ 758 w 860"/>
              <a:gd name="T11" fmla="*/ 729 h 809"/>
              <a:gd name="T12" fmla="*/ 754 w 860"/>
              <a:gd name="T13" fmla="*/ 756 h 809"/>
              <a:gd name="T14" fmla="*/ 732 w 860"/>
              <a:gd name="T15" fmla="*/ 773 h 809"/>
              <a:gd name="T16" fmla="*/ 296 w 860"/>
              <a:gd name="T17" fmla="*/ 775 h 809"/>
              <a:gd name="T18" fmla="*/ 249 w 860"/>
              <a:gd name="T19" fmla="*/ 752 h 809"/>
              <a:gd name="T20" fmla="*/ 219 w 860"/>
              <a:gd name="T21" fmla="*/ 445 h 809"/>
              <a:gd name="T22" fmla="*/ 354 w 860"/>
              <a:gd name="T23" fmla="*/ 289 h 809"/>
              <a:gd name="T24" fmla="*/ 410 w 860"/>
              <a:gd name="T25" fmla="*/ 215 h 809"/>
              <a:gd name="T26" fmla="*/ 421 w 860"/>
              <a:gd name="T27" fmla="*/ 79 h 809"/>
              <a:gd name="T28" fmla="*/ 441 w 860"/>
              <a:gd name="T29" fmla="*/ 40 h 809"/>
              <a:gd name="T30" fmla="*/ 478 w 860"/>
              <a:gd name="T31" fmla="*/ 36 h 809"/>
              <a:gd name="T32" fmla="*/ 504 w 860"/>
              <a:gd name="T33" fmla="*/ 68 h 809"/>
              <a:gd name="T34" fmla="*/ 496 w 860"/>
              <a:gd name="T35" fmla="*/ 302 h 809"/>
              <a:gd name="T36" fmla="*/ 792 w 860"/>
              <a:gd name="T37" fmla="*/ 342 h 809"/>
              <a:gd name="T38" fmla="*/ 813 w 860"/>
              <a:gd name="T39" fmla="*/ 357 h 809"/>
              <a:gd name="T40" fmla="*/ 825 w 860"/>
              <a:gd name="T41" fmla="*/ 381 h 809"/>
              <a:gd name="T42" fmla="*/ 819 w 860"/>
              <a:gd name="T43" fmla="*/ 420 h 809"/>
              <a:gd name="T44" fmla="*/ 787 w 860"/>
              <a:gd name="T45" fmla="*/ 439 h 809"/>
              <a:gd name="T46" fmla="*/ 793 w 860"/>
              <a:gd name="T47" fmla="*/ 471 h 809"/>
              <a:gd name="T48" fmla="*/ 811 w 860"/>
              <a:gd name="T49" fmla="*/ 477 h 809"/>
              <a:gd name="T50" fmla="*/ 826 w 860"/>
              <a:gd name="T51" fmla="*/ 505 h 809"/>
              <a:gd name="T52" fmla="*/ 818 w 860"/>
              <a:gd name="T53" fmla="*/ 541 h 809"/>
              <a:gd name="T54" fmla="*/ 33 w 860"/>
              <a:gd name="T55" fmla="*/ 776 h 809"/>
              <a:gd name="T56" fmla="*/ 186 w 860"/>
              <a:gd name="T57" fmla="*/ 728 h 809"/>
              <a:gd name="T58" fmla="*/ 846 w 860"/>
              <a:gd name="T59" fmla="*/ 442 h 809"/>
              <a:gd name="T60" fmla="*/ 860 w 860"/>
              <a:gd name="T61" fmla="*/ 402 h 809"/>
              <a:gd name="T62" fmla="*/ 853 w 860"/>
              <a:gd name="T63" fmla="*/ 357 h 809"/>
              <a:gd name="T64" fmla="*/ 827 w 860"/>
              <a:gd name="T65" fmla="*/ 323 h 809"/>
              <a:gd name="T66" fmla="*/ 786 w 860"/>
              <a:gd name="T67" fmla="*/ 305 h 809"/>
              <a:gd name="T68" fmla="*/ 537 w 860"/>
              <a:gd name="T69" fmla="*/ 288 h 809"/>
              <a:gd name="T70" fmla="*/ 538 w 860"/>
              <a:gd name="T71" fmla="*/ 61 h 809"/>
              <a:gd name="T72" fmla="*/ 520 w 860"/>
              <a:gd name="T73" fmla="*/ 25 h 809"/>
              <a:gd name="T74" fmla="*/ 491 w 860"/>
              <a:gd name="T75" fmla="*/ 5 h 809"/>
              <a:gd name="T76" fmla="*/ 457 w 860"/>
              <a:gd name="T77" fmla="*/ 0 h 809"/>
              <a:gd name="T78" fmla="*/ 423 w 860"/>
              <a:gd name="T79" fmla="*/ 11 h 809"/>
              <a:gd name="T80" fmla="*/ 397 w 860"/>
              <a:gd name="T81" fmla="*/ 38 h 809"/>
              <a:gd name="T82" fmla="*/ 388 w 860"/>
              <a:gd name="T83" fmla="*/ 79 h 809"/>
              <a:gd name="T84" fmla="*/ 380 w 860"/>
              <a:gd name="T85" fmla="*/ 199 h 809"/>
              <a:gd name="T86" fmla="*/ 339 w 860"/>
              <a:gd name="T87" fmla="*/ 254 h 809"/>
              <a:gd name="T88" fmla="*/ 219 w 860"/>
              <a:gd name="T89" fmla="*/ 396 h 809"/>
              <a:gd name="T90" fmla="*/ 219 w 860"/>
              <a:gd name="T91" fmla="*/ 769 h 809"/>
              <a:gd name="T92" fmla="*/ 267 w 860"/>
              <a:gd name="T93" fmla="*/ 802 h 809"/>
              <a:gd name="T94" fmla="*/ 717 w 860"/>
              <a:gd name="T95" fmla="*/ 809 h 809"/>
              <a:gd name="T96" fmla="*/ 757 w 860"/>
              <a:gd name="T97" fmla="*/ 797 h 809"/>
              <a:gd name="T98" fmla="*/ 783 w 860"/>
              <a:gd name="T99" fmla="*/ 773 h 809"/>
              <a:gd name="T100" fmla="*/ 793 w 860"/>
              <a:gd name="T101" fmla="*/ 735 h 809"/>
              <a:gd name="T102" fmla="*/ 792 w 860"/>
              <a:gd name="T103" fmla="*/ 692 h 809"/>
              <a:gd name="T104" fmla="*/ 823 w 860"/>
              <a:gd name="T105" fmla="*/ 653 h 809"/>
              <a:gd name="T106" fmla="*/ 820 w 860"/>
              <a:gd name="T107" fmla="*/ 597 h 809"/>
              <a:gd name="T108" fmla="*/ 848 w 860"/>
              <a:gd name="T109" fmla="*/ 557 h 809"/>
              <a:gd name="T110" fmla="*/ 859 w 860"/>
              <a:gd name="T111" fmla="*/ 496 h 809"/>
              <a:gd name="T112" fmla="*/ 845 w 860"/>
              <a:gd name="T113" fmla="*/ 462 h 8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860" h="809">
                <a:moveTo>
                  <a:pt x="793" y="557"/>
                </a:moveTo>
                <a:lnTo>
                  <a:pt x="716" y="557"/>
                </a:lnTo>
                <a:lnTo>
                  <a:pt x="716" y="590"/>
                </a:lnTo>
                <a:lnTo>
                  <a:pt x="768" y="590"/>
                </a:lnTo>
                <a:lnTo>
                  <a:pt x="773" y="591"/>
                </a:lnTo>
                <a:lnTo>
                  <a:pt x="778" y="594"/>
                </a:lnTo>
                <a:lnTo>
                  <a:pt x="782" y="598"/>
                </a:lnTo>
                <a:lnTo>
                  <a:pt x="785" y="603"/>
                </a:lnTo>
                <a:lnTo>
                  <a:pt x="788" y="609"/>
                </a:lnTo>
                <a:lnTo>
                  <a:pt x="791" y="616"/>
                </a:lnTo>
                <a:lnTo>
                  <a:pt x="792" y="624"/>
                </a:lnTo>
                <a:lnTo>
                  <a:pt x="793" y="631"/>
                </a:lnTo>
                <a:lnTo>
                  <a:pt x="792" y="638"/>
                </a:lnTo>
                <a:lnTo>
                  <a:pt x="791" y="644"/>
                </a:lnTo>
                <a:lnTo>
                  <a:pt x="787" y="651"/>
                </a:lnTo>
                <a:lnTo>
                  <a:pt x="784" y="655"/>
                </a:lnTo>
                <a:lnTo>
                  <a:pt x="781" y="659"/>
                </a:lnTo>
                <a:lnTo>
                  <a:pt x="776" y="662"/>
                </a:lnTo>
                <a:lnTo>
                  <a:pt x="772" y="663"/>
                </a:lnTo>
                <a:lnTo>
                  <a:pt x="768" y="665"/>
                </a:lnTo>
                <a:lnTo>
                  <a:pt x="681" y="665"/>
                </a:lnTo>
                <a:lnTo>
                  <a:pt x="681" y="698"/>
                </a:lnTo>
                <a:lnTo>
                  <a:pt x="730" y="698"/>
                </a:lnTo>
                <a:lnTo>
                  <a:pt x="735" y="698"/>
                </a:lnTo>
                <a:lnTo>
                  <a:pt x="740" y="700"/>
                </a:lnTo>
                <a:lnTo>
                  <a:pt x="743" y="701"/>
                </a:lnTo>
                <a:lnTo>
                  <a:pt x="746" y="703"/>
                </a:lnTo>
                <a:lnTo>
                  <a:pt x="752" y="710"/>
                </a:lnTo>
                <a:lnTo>
                  <a:pt x="755" y="716"/>
                </a:lnTo>
                <a:lnTo>
                  <a:pt x="758" y="729"/>
                </a:lnTo>
                <a:lnTo>
                  <a:pt x="759" y="735"/>
                </a:lnTo>
                <a:lnTo>
                  <a:pt x="758" y="741"/>
                </a:lnTo>
                <a:lnTo>
                  <a:pt x="757" y="747"/>
                </a:lnTo>
                <a:lnTo>
                  <a:pt x="756" y="752"/>
                </a:lnTo>
                <a:lnTo>
                  <a:pt x="754" y="756"/>
                </a:lnTo>
                <a:lnTo>
                  <a:pt x="751" y="761"/>
                </a:lnTo>
                <a:lnTo>
                  <a:pt x="747" y="764"/>
                </a:lnTo>
                <a:lnTo>
                  <a:pt x="744" y="766"/>
                </a:lnTo>
                <a:lnTo>
                  <a:pt x="741" y="768"/>
                </a:lnTo>
                <a:lnTo>
                  <a:pt x="732" y="773"/>
                </a:lnTo>
                <a:lnTo>
                  <a:pt x="724" y="775"/>
                </a:lnTo>
                <a:lnTo>
                  <a:pt x="716" y="776"/>
                </a:lnTo>
                <a:lnTo>
                  <a:pt x="708" y="776"/>
                </a:lnTo>
                <a:lnTo>
                  <a:pt x="303" y="776"/>
                </a:lnTo>
                <a:lnTo>
                  <a:pt x="296" y="775"/>
                </a:lnTo>
                <a:lnTo>
                  <a:pt x="288" y="774"/>
                </a:lnTo>
                <a:lnTo>
                  <a:pt x="281" y="771"/>
                </a:lnTo>
                <a:lnTo>
                  <a:pt x="274" y="768"/>
                </a:lnTo>
                <a:lnTo>
                  <a:pt x="261" y="761"/>
                </a:lnTo>
                <a:lnTo>
                  <a:pt x="249" y="752"/>
                </a:lnTo>
                <a:lnTo>
                  <a:pt x="239" y="742"/>
                </a:lnTo>
                <a:lnTo>
                  <a:pt x="230" y="733"/>
                </a:lnTo>
                <a:lnTo>
                  <a:pt x="223" y="724"/>
                </a:lnTo>
                <a:lnTo>
                  <a:pt x="219" y="717"/>
                </a:lnTo>
                <a:lnTo>
                  <a:pt x="219" y="445"/>
                </a:lnTo>
                <a:lnTo>
                  <a:pt x="243" y="419"/>
                </a:lnTo>
                <a:lnTo>
                  <a:pt x="271" y="388"/>
                </a:lnTo>
                <a:lnTo>
                  <a:pt x="300" y="355"/>
                </a:lnTo>
                <a:lnTo>
                  <a:pt x="328" y="320"/>
                </a:lnTo>
                <a:lnTo>
                  <a:pt x="354" y="289"/>
                </a:lnTo>
                <a:lnTo>
                  <a:pt x="376" y="262"/>
                </a:lnTo>
                <a:lnTo>
                  <a:pt x="391" y="243"/>
                </a:lnTo>
                <a:lnTo>
                  <a:pt x="398" y="235"/>
                </a:lnTo>
                <a:lnTo>
                  <a:pt x="402" y="229"/>
                </a:lnTo>
                <a:lnTo>
                  <a:pt x="410" y="215"/>
                </a:lnTo>
                <a:lnTo>
                  <a:pt x="415" y="204"/>
                </a:lnTo>
                <a:lnTo>
                  <a:pt x="418" y="193"/>
                </a:lnTo>
                <a:lnTo>
                  <a:pt x="420" y="180"/>
                </a:lnTo>
                <a:lnTo>
                  <a:pt x="421" y="165"/>
                </a:lnTo>
                <a:lnTo>
                  <a:pt x="421" y="79"/>
                </a:lnTo>
                <a:lnTo>
                  <a:pt x="422" y="68"/>
                </a:lnTo>
                <a:lnTo>
                  <a:pt x="425" y="59"/>
                </a:lnTo>
                <a:lnTo>
                  <a:pt x="429" y="51"/>
                </a:lnTo>
                <a:lnTo>
                  <a:pt x="434" y="45"/>
                </a:lnTo>
                <a:lnTo>
                  <a:pt x="441" y="40"/>
                </a:lnTo>
                <a:lnTo>
                  <a:pt x="448" y="36"/>
                </a:lnTo>
                <a:lnTo>
                  <a:pt x="456" y="35"/>
                </a:lnTo>
                <a:lnTo>
                  <a:pt x="463" y="34"/>
                </a:lnTo>
                <a:lnTo>
                  <a:pt x="471" y="35"/>
                </a:lnTo>
                <a:lnTo>
                  <a:pt x="478" y="36"/>
                </a:lnTo>
                <a:lnTo>
                  <a:pt x="486" y="40"/>
                </a:lnTo>
                <a:lnTo>
                  <a:pt x="492" y="45"/>
                </a:lnTo>
                <a:lnTo>
                  <a:pt x="498" y="51"/>
                </a:lnTo>
                <a:lnTo>
                  <a:pt x="502" y="59"/>
                </a:lnTo>
                <a:lnTo>
                  <a:pt x="504" y="68"/>
                </a:lnTo>
                <a:lnTo>
                  <a:pt x="505" y="79"/>
                </a:lnTo>
                <a:lnTo>
                  <a:pt x="505" y="273"/>
                </a:lnTo>
                <a:lnTo>
                  <a:pt x="504" y="280"/>
                </a:lnTo>
                <a:lnTo>
                  <a:pt x="501" y="291"/>
                </a:lnTo>
                <a:lnTo>
                  <a:pt x="496" y="302"/>
                </a:lnTo>
                <a:lnTo>
                  <a:pt x="490" y="312"/>
                </a:lnTo>
                <a:lnTo>
                  <a:pt x="477" y="337"/>
                </a:lnTo>
                <a:lnTo>
                  <a:pt x="768" y="337"/>
                </a:lnTo>
                <a:lnTo>
                  <a:pt x="780" y="338"/>
                </a:lnTo>
                <a:lnTo>
                  <a:pt x="792" y="342"/>
                </a:lnTo>
                <a:lnTo>
                  <a:pt x="797" y="344"/>
                </a:lnTo>
                <a:lnTo>
                  <a:pt x="801" y="346"/>
                </a:lnTo>
                <a:lnTo>
                  <a:pt x="806" y="349"/>
                </a:lnTo>
                <a:lnTo>
                  <a:pt x="810" y="352"/>
                </a:lnTo>
                <a:lnTo>
                  <a:pt x="813" y="357"/>
                </a:lnTo>
                <a:lnTo>
                  <a:pt x="816" y="361"/>
                </a:lnTo>
                <a:lnTo>
                  <a:pt x="820" y="365"/>
                </a:lnTo>
                <a:lnTo>
                  <a:pt x="822" y="370"/>
                </a:lnTo>
                <a:lnTo>
                  <a:pt x="824" y="375"/>
                </a:lnTo>
                <a:lnTo>
                  <a:pt x="825" y="381"/>
                </a:lnTo>
                <a:lnTo>
                  <a:pt x="826" y="386"/>
                </a:lnTo>
                <a:lnTo>
                  <a:pt x="826" y="392"/>
                </a:lnTo>
                <a:lnTo>
                  <a:pt x="825" y="403"/>
                </a:lnTo>
                <a:lnTo>
                  <a:pt x="823" y="413"/>
                </a:lnTo>
                <a:lnTo>
                  <a:pt x="819" y="420"/>
                </a:lnTo>
                <a:lnTo>
                  <a:pt x="814" y="427"/>
                </a:lnTo>
                <a:lnTo>
                  <a:pt x="808" y="432"/>
                </a:lnTo>
                <a:lnTo>
                  <a:pt x="801" y="436"/>
                </a:lnTo>
                <a:lnTo>
                  <a:pt x="795" y="438"/>
                </a:lnTo>
                <a:lnTo>
                  <a:pt x="787" y="439"/>
                </a:lnTo>
                <a:lnTo>
                  <a:pt x="716" y="439"/>
                </a:lnTo>
                <a:lnTo>
                  <a:pt x="716" y="472"/>
                </a:lnTo>
                <a:lnTo>
                  <a:pt x="787" y="472"/>
                </a:lnTo>
                <a:lnTo>
                  <a:pt x="791" y="472"/>
                </a:lnTo>
                <a:lnTo>
                  <a:pt x="793" y="471"/>
                </a:lnTo>
                <a:lnTo>
                  <a:pt x="793" y="472"/>
                </a:lnTo>
                <a:lnTo>
                  <a:pt x="798" y="472"/>
                </a:lnTo>
                <a:lnTo>
                  <a:pt x="803" y="473"/>
                </a:lnTo>
                <a:lnTo>
                  <a:pt x="807" y="474"/>
                </a:lnTo>
                <a:lnTo>
                  <a:pt x="811" y="477"/>
                </a:lnTo>
                <a:lnTo>
                  <a:pt x="816" y="481"/>
                </a:lnTo>
                <a:lnTo>
                  <a:pt x="821" y="486"/>
                </a:lnTo>
                <a:lnTo>
                  <a:pt x="824" y="493"/>
                </a:lnTo>
                <a:lnTo>
                  <a:pt x="825" y="499"/>
                </a:lnTo>
                <a:lnTo>
                  <a:pt x="826" y="505"/>
                </a:lnTo>
                <a:lnTo>
                  <a:pt x="826" y="510"/>
                </a:lnTo>
                <a:lnTo>
                  <a:pt x="825" y="519"/>
                </a:lnTo>
                <a:lnTo>
                  <a:pt x="824" y="526"/>
                </a:lnTo>
                <a:lnTo>
                  <a:pt x="821" y="535"/>
                </a:lnTo>
                <a:lnTo>
                  <a:pt x="818" y="541"/>
                </a:lnTo>
                <a:lnTo>
                  <a:pt x="812" y="548"/>
                </a:lnTo>
                <a:lnTo>
                  <a:pt x="807" y="552"/>
                </a:lnTo>
                <a:lnTo>
                  <a:pt x="800" y="555"/>
                </a:lnTo>
                <a:lnTo>
                  <a:pt x="793" y="557"/>
                </a:lnTo>
                <a:close/>
                <a:moveTo>
                  <a:pt x="33" y="776"/>
                </a:moveTo>
                <a:lnTo>
                  <a:pt x="33" y="405"/>
                </a:lnTo>
                <a:lnTo>
                  <a:pt x="186" y="405"/>
                </a:lnTo>
                <a:lnTo>
                  <a:pt x="186" y="721"/>
                </a:lnTo>
                <a:lnTo>
                  <a:pt x="183" y="725"/>
                </a:lnTo>
                <a:lnTo>
                  <a:pt x="186" y="728"/>
                </a:lnTo>
                <a:lnTo>
                  <a:pt x="186" y="776"/>
                </a:lnTo>
                <a:lnTo>
                  <a:pt x="33" y="776"/>
                </a:lnTo>
                <a:close/>
                <a:moveTo>
                  <a:pt x="836" y="453"/>
                </a:moveTo>
                <a:lnTo>
                  <a:pt x="841" y="447"/>
                </a:lnTo>
                <a:lnTo>
                  <a:pt x="846" y="442"/>
                </a:lnTo>
                <a:lnTo>
                  <a:pt x="850" y="435"/>
                </a:lnTo>
                <a:lnTo>
                  <a:pt x="853" y="428"/>
                </a:lnTo>
                <a:lnTo>
                  <a:pt x="856" y="419"/>
                </a:lnTo>
                <a:lnTo>
                  <a:pt x="859" y="411"/>
                </a:lnTo>
                <a:lnTo>
                  <a:pt x="860" y="402"/>
                </a:lnTo>
                <a:lnTo>
                  <a:pt x="860" y="392"/>
                </a:lnTo>
                <a:lnTo>
                  <a:pt x="860" y="383"/>
                </a:lnTo>
                <a:lnTo>
                  <a:pt x="858" y="374"/>
                </a:lnTo>
                <a:lnTo>
                  <a:pt x="855" y="365"/>
                </a:lnTo>
                <a:lnTo>
                  <a:pt x="853" y="357"/>
                </a:lnTo>
                <a:lnTo>
                  <a:pt x="849" y="349"/>
                </a:lnTo>
                <a:lnTo>
                  <a:pt x="845" y="342"/>
                </a:lnTo>
                <a:lnTo>
                  <a:pt x="839" y="335"/>
                </a:lnTo>
                <a:lnTo>
                  <a:pt x="834" y="329"/>
                </a:lnTo>
                <a:lnTo>
                  <a:pt x="827" y="323"/>
                </a:lnTo>
                <a:lnTo>
                  <a:pt x="820" y="318"/>
                </a:lnTo>
                <a:lnTo>
                  <a:pt x="812" y="314"/>
                </a:lnTo>
                <a:lnTo>
                  <a:pt x="805" y="310"/>
                </a:lnTo>
                <a:lnTo>
                  <a:pt x="796" y="307"/>
                </a:lnTo>
                <a:lnTo>
                  <a:pt x="786" y="305"/>
                </a:lnTo>
                <a:lnTo>
                  <a:pt x="778" y="304"/>
                </a:lnTo>
                <a:lnTo>
                  <a:pt x="768" y="304"/>
                </a:lnTo>
                <a:lnTo>
                  <a:pt x="532" y="304"/>
                </a:lnTo>
                <a:lnTo>
                  <a:pt x="535" y="296"/>
                </a:lnTo>
                <a:lnTo>
                  <a:pt x="537" y="288"/>
                </a:lnTo>
                <a:lnTo>
                  <a:pt x="539" y="280"/>
                </a:lnTo>
                <a:lnTo>
                  <a:pt x="540" y="273"/>
                </a:lnTo>
                <a:lnTo>
                  <a:pt x="540" y="79"/>
                </a:lnTo>
                <a:lnTo>
                  <a:pt x="539" y="69"/>
                </a:lnTo>
                <a:lnTo>
                  <a:pt x="538" y="61"/>
                </a:lnTo>
                <a:lnTo>
                  <a:pt x="536" y="52"/>
                </a:lnTo>
                <a:lnTo>
                  <a:pt x="532" y="45"/>
                </a:lnTo>
                <a:lnTo>
                  <a:pt x="529" y="38"/>
                </a:lnTo>
                <a:lnTo>
                  <a:pt x="526" y="32"/>
                </a:lnTo>
                <a:lnTo>
                  <a:pt x="520" y="25"/>
                </a:lnTo>
                <a:lnTo>
                  <a:pt x="515" y="20"/>
                </a:lnTo>
                <a:lnTo>
                  <a:pt x="510" y="15"/>
                </a:lnTo>
                <a:lnTo>
                  <a:pt x="504" y="11"/>
                </a:lnTo>
                <a:lnTo>
                  <a:pt x="498" y="8"/>
                </a:lnTo>
                <a:lnTo>
                  <a:pt x="491" y="5"/>
                </a:lnTo>
                <a:lnTo>
                  <a:pt x="485" y="3"/>
                </a:lnTo>
                <a:lnTo>
                  <a:pt x="477" y="1"/>
                </a:lnTo>
                <a:lnTo>
                  <a:pt x="471" y="0"/>
                </a:lnTo>
                <a:lnTo>
                  <a:pt x="463" y="0"/>
                </a:lnTo>
                <a:lnTo>
                  <a:pt x="457" y="0"/>
                </a:lnTo>
                <a:lnTo>
                  <a:pt x="449" y="1"/>
                </a:lnTo>
                <a:lnTo>
                  <a:pt x="443" y="3"/>
                </a:lnTo>
                <a:lnTo>
                  <a:pt x="435" y="5"/>
                </a:lnTo>
                <a:lnTo>
                  <a:pt x="429" y="8"/>
                </a:lnTo>
                <a:lnTo>
                  <a:pt x="423" y="11"/>
                </a:lnTo>
                <a:lnTo>
                  <a:pt x="417" y="15"/>
                </a:lnTo>
                <a:lnTo>
                  <a:pt x="411" y="20"/>
                </a:lnTo>
                <a:lnTo>
                  <a:pt x="406" y="25"/>
                </a:lnTo>
                <a:lnTo>
                  <a:pt x="402" y="32"/>
                </a:lnTo>
                <a:lnTo>
                  <a:pt x="397" y="38"/>
                </a:lnTo>
                <a:lnTo>
                  <a:pt x="394" y="45"/>
                </a:lnTo>
                <a:lnTo>
                  <a:pt x="392" y="52"/>
                </a:lnTo>
                <a:lnTo>
                  <a:pt x="390" y="61"/>
                </a:lnTo>
                <a:lnTo>
                  <a:pt x="388" y="69"/>
                </a:lnTo>
                <a:lnTo>
                  <a:pt x="388" y="79"/>
                </a:lnTo>
                <a:lnTo>
                  <a:pt x="388" y="165"/>
                </a:lnTo>
                <a:lnTo>
                  <a:pt x="387" y="174"/>
                </a:lnTo>
                <a:lnTo>
                  <a:pt x="385" y="184"/>
                </a:lnTo>
                <a:lnTo>
                  <a:pt x="383" y="193"/>
                </a:lnTo>
                <a:lnTo>
                  <a:pt x="380" y="199"/>
                </a:lnTo>
                <a:lnTo>
                  <a:pt x="375" y="209"/>
                </a:lnTo>
                <a:lnTo>
                  <a:pt x="372" y="213"/>
                </a:lnTo>
                <a:lnTo>
                  <a:pt x="367" y="219"/>
                </a:lnTo>
                <a:lnTo>
                  <a:pt x="356" y="233"/>
                </a:lnTo>
                <a:lnTo>
                  <a:pt x="339" y="254"/>
                </a:lnTo>
                <a:lnTo>
                  <a:pt x="317" y="280"/>
                </a:lnTo>
                <a:lnTo>
                  <a:pt x="294" y="308"/>
                </a:lnTo>
                <a:lnTo>
                  <a:pt x="269" y="339"/>
                </a:lnTo>
                <a:lnTo>
                  <a:pt x="243" y="369"/>
                </a:lnTo>
                <a:lnTo>
                  <a:pt x="219" y="396"/>
                </a:lnTo>
                <a:lnTo>
                  <a:pt x="219" y="371"/>
                </a:lnTo>
                <a:lnTo>
                  <a:pt x="0" y="371"/>
                </a:lnTo>
                <a:lnTo>
                  <a:pt x="0" y="809"/>
                </a:lnTo>
                <a:lnTo>
                  <a:pt x="219" y="809"/>
                </a:lnTo>
                <a:lnTo>
                  <a:pt x="219" y="769"/>
                </a:lnTo>
                <a:lnTo>
                  <a:pt x="227" y="777"/>
                </a:lnTo>
                <a:lnTo>
                  <a:pt x="236" y="784"/>
                </a:lnTo>
                <a:lnTo>
                  <a:pt x="245" y="791"/>
                </a:lnTo>
                <a:lnTo>
                  <a:pt x="256" y="797"/>
                </a:lnTo>
                <a:lnTo>
                  <a:pt x="267" y="802"/>
                </a:lnTo>
                <a:lnTo>
                  <a:pt x="278" y="806"/>
                </a:lnTo>
                <a:lnTo>
                  <a:pt x="290" y="808"/>
                </a:lnTo>
                <a:lnTo>
                  <a:pt x="303" y="809"/>
                </a:lnTo>
                <a:lnTo>
                  <a:pt x="708" y="809"/>
                </a:lnTo>
                <a:lnTo>
                  <a:pt x="717" y="809"/>
                </a:lnTo>
                <a:lnTo>
                  <a:pt x="727" y="808"/>
                </a:lnTo>
                <a:lnTo>
                  <a:pt x="734" y="806"/>
                </a:lnTo>
                <a:lnTo>
                  <a:pt x="743" y="804"/>
                </a:lnTo>
                <a:lnTo>
                  <a:pt x="751" y="802"/>
                </a:lnTo>
                <a:lnTo>
                  <a:pt x="757" y="797"/>
                </a:lnTo>
                <a:lnTo>
                  <a:pt x="764" y="794"/>
                </a:lnTo>
                <a:lnTo>
                  <a:pt x="769" y="789"/>
                </a:lnTo>
                <a:lnTo>
                  <a:pt x="774" y="784"/>
                </a:lnTo>
                <a:lnTo>
                  <a:pt x="780" y="778"/>
                </a:lnTo>
                <a:lnTo>
                  <a:pt x="783" y="773"/>
                </a:lnTo>
                <a:lnTo>
                  <a:pt x="786" y="766"/>
                </a:lnTo>
                <a:lnTo>
                  <a:pt x="789" y="759"/>
                </a:lnTo>
                <a:lnTo>
                  <a:pt x="791" y="751"/>
                </a:lnTo>
                <a:lnTo>
                  <a:pt x="792" y="743"/>
                </a:lnTo>
                <a:lnTo>
                  <a:pt x="793" y="735"/>
                </a:lnTo>
                <a:lnTo>
                  <a:pt x="792" y="725"/>
                </a:lnTo>
                <a:lnTo>
                  <a:pt x="789" y="714"/>
                </a:lnTo>
                <a:lnTo>
                  <a:pt x="787" y="705"/>
                </a:lnTo>
                <a:lnTo>
                  <a:pt x="783" y="696"/>
                </a:lnTo>
                <a:lnTo>
                  <a:pt x="792" y="692"/>
                </a:lnTo>
                <a:lnTo>
                  <a:pt x="800" y="686"/>
                </a:lnTo>
                <a:lnTo>
                  <a:pt x="808" y="680"/>
                </a:lnTo>
                <a:lnTo>
                  <a:pt x="813" y="672"/>
                </a:lnTo>
                <a:lnTo>
                  <a:pt x="819" y="662"/>
                </a:lnTo>
                <a:lnTo>
                  <a:pt x="823" y="653"/>
                </a:lnTo>
                <a:lnTo>
                  <a:pt x="825" y="642"/>
                </a:lnTo>
                <a:lnTo>
                  <a:pt x="826" y="631"/>
                </a:lnTo>
                <a:lnTo>
                  <a:pt x="825" y="619"/>
                </a:lnTo>
                <a:lnTo>
                  <a:pt x="823" y="607"/>
                </a:lnTo>
                <a:lnTo>
                  <a:pt x="820" y="597"/>
                </a:lnTo>
                <a:lnTo>
                  <a:pt x="814" y="587"/>
                </a:lnTo>
                <a:lnTo>
                  <a:pt x="825" y="581"/>
                </a:lnTo>
                <a:lnTo>
                  <a:pt x="834" y="574"/>
                </a:lnTo>
                <a:lnTo>
                  <a:pt x="841" y="566"/>
                </a:lnTo>
                <a:lnTo>
                  <a:pt x="848" y="557"/>
                </a:lnTo>
                <a:lnTo>
                  <a:pt x="853" y="546"/>
                </a:lnTo>
                <a:lnTo>
                  <a:pt x="856" y="534"/>
                </a:lnTo>
                <a:lnTo>
                  <a:pt x="859" y="522"/>
                </a:lnTo>
                <a:lnTo>
                  <a:pt x="860" y="510"/>
                </a:lnTo>
                <a:lnTo>
                  <a:pt x="859" y="496"/>
                </a:lnTo>
                <a:lnTo>
                  <a:pt x="855" y="483"/>
                </a:lnTo>
                <a:lnTo>
                  <a:pt x="853" y="478"/>
                </a:lnTo>
                <a:lnTo>
                  <a:pt x="851" y="472"/>
                </a:lnTo>
                <a:lnTo>
                  <a:pt x="848" y="467"/>
                </a:lnTo>
                <a:lnTo>
                  <a:pt x="845" y="462"/>
                </a:lnTo>
                <a:lnTo>
                  <a:pt x="840" y="457"/>
                </a:lnTo>
                <a:lnTo>
                  <a:pt x="836" y="45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>
              <a:solidFill>
                <a:prstClr val="black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53" name="Group 91"/>
          <p:cNvGrpSpPr/>
          <p:nvPr/>
        </p:nvGrpSpPr>
        <p:grpSpPr>
          <a:xfrm>
            <a:off x="4406731" y="2658592"/>
            <a:ext cx="359816" cy="402147"/>
            <a:chOff x="2273300" y="458788"/>
            <a:chExt cx="350838" cy="392113"/>
          </a:xfrm>
          <a:solidFill>
            <a:schemeClr val="bg1"/>
          </a:solidFill>
        </p:grpSpPr>
        <p:sp>
          <p:nvSpPr>
            <p:cNvPr id="54" name="Freeform 92"/>
            <p:cNvSpPr>
              <a:spLocks noEditPoints="1"/>
            </p:cNvSpPr>
            <p:nvPr/>
          </p:nvSpPr>
          <p:spPr bwMode="auto">
            <a:xfrm>
              <a:off x="2273300" y="458788"/>
              <a:ext cx="350838" cy="392113"/>
            </a:xfrm>
            <a:custGeom>
              <a:avLst/>
              <a:gdLst>
                <a:gd name="T0" fmla="*/ 847 w 883"/>
                <a:gd name="T1" fmla="*/ 479 h 988"/>
                <a:gd name="T2" fmla="*/ 618 w 883"/>
                <a:gd name="T3" fmla="*/ 702 h 988"/>
                <a:gd name="T4" fmla="*/ 614 w 883"/>
                <a:gd name="T5" fmla="*/ 697 h 988"/>
                <a:gd name="T6" fmla="*/ 847 w 883"/>
                <a:gd name="T7" fmla="*/ 473 h 988"/>
                <a:gd name="T8" fmla="*/ 83 w 883"/>
                <a:gd name="T9" fmla="*/ 934 h 988"/>
                <a:gd name="T10" fmla="*/ 413 w 883"/>
                <a:gd name="T11" fmla="*/ 604 h 988"/>
                <a:gd name="T12" fmla="*/ 426 w 883"/>
                <a:gd name="T13" fmla="*/ 596 h 988"/>
                <a:gd name="T14" fmla="*/ 441 w 883"/>
                <a:gd name="T15" fmla="*/ 593 h 988"/>
                <a:gd name="T16" fmla="*/ 457 w 883"/>
                <a:gd name="T17" fmla="*/ 596 h 988"/>
                <a:gd name="T18" fmla="*/ 470 w 883"/>
                <a:gd name="T19" fmla="*/ 604 h 988"/>
                <a:gd name="T20" fmla="*/ 792 w 883"/>
                <a:gd name="T21" fmla="*/ 925 h 988"/>
                <a:gd name="T22" fmla="*/ 819 w 883"/>
                <a:gd name="T23" fmla="*/ 952 h 988"/>
                <a:gd name="T24" fmla="*/ 36 w 883"/>
                <a:gd name="T25" fmla="*/ 495 h 988"/>
                <a:gd name="T26" fmla="*/ 36 w 883"/>
                <a:gd name="T27" fmla="*/ 473 h 988"/>
                <a:gd name="T28" fmla="*/ 267 w 883"/>
                <a:gd name="T29" fmla="*/ 699 h 988"/>
                <a:gd name="T30" fmla="*/ 265 w 883"/>
                <a:gd name="T31" fmla="*/ 702 h 988"/>
                <a:gd name="T32" fmla="*/ 36 w 883"/>
                <a:gd name="T33" fmla="*/ 495 h 988"/>
                <a:gd name="T34" fmla="*/ 177 w 883"/>
                <a:gd name="T35" fmla="*/ 283 h 988"/>
                <a:gd name="T36" fmla="*/ 39 w 883"/>
                <a:gd name="T37" fmla="*/ 421 h 988"/>
                <a:gd name="T38" fmla="*/ 564 w 883"/>
                <a:gd name="T39" fmla="*/ 141 h 988"/>
                <a:gd name="T40" fmla="*/ 671 w 883"/>
                <a:gd name="T41" fmla="*/ 591 h 988"/>
                <a:gd name="T42" fmla="*/ 508 w 883"/>
                <a:gd name="T43" fmla="*/ 593 h 988"/>
                <a:gd name="T44" fmla="*/ 489 w 883"/>
                <a:gd name="T45" fmla="*/ 574 h 988"/>
                <a:gd name="T46" fmla="*/ 478 w 883"/>
                <a:gd name="T47" fmla="*/ 566 h 988"/>
                <a:gd name="T48" fmla="*/ 464 w 883"/>
                <a:gd name="T49" fmla="*/ 560 h 988"/>
                <a:gd name="T50" fmla="*/ 448 w 883"/>
                <a:gd name="T51" fmla="*/ 557 h 988"/>
                <a:gd name="T52" fmla="*/ 433 w 883"/>
                <a:gd name="T53" fmla="*/ 557 h 988"/>
                <a:gd name="T54" fmla="*/ 419 w 883"/>
                <a:gd name="T55" fmla="*/ 560 h 988"/>
                <a:gd name="T56" fmla="*/ 405 w 883"/>
                <a:gd name="T57" fmla="*/ 566 h 988"/>
                <a:gd name="T58" fmla="*/ 393 w 883"/>
                <a:gd name="T59" fmla="*/ 574 h 988"/>
                <a:gd name="T60" fmla="*/ 293 w 883"/>
                <a:gd name="T61" fmla="*/ 675 h 988"/>
                <a:gd name="T62" fmla="*/ 212 w 883"/>
                <a:gd name="T63" fmla="*/ 141 h 988"/>
                <a:gd name="T64" fmla="*/ 413 w 883"/>
                <a:gd name="T65" fmla="*/ 47 h 988"/>
                <a:gd name="T66" fmla="*/ 426 w 883"/>
                <a:gd name="T67" fmla="*/ 38 h 988"/>
                <a:gd name="T68" fmla="*/ 441 w 883"/>
                <a:gd name="T69" fmla="*/ 35 h 988"/>
                <a:gd name="T70" fmla="*/ 457 w 883"/>
                <a:gd name="T71" fmla="*/ 38 h 988"/>
                <a:gd name="T72" fmla="*/ 470 w 883"/>
                <a:gd name="T73" fmla="*/ 47 h 988"/>
                <a:gd name="T74" fmla="*/ 353 w 883"/>
                <a:gd name="T75" fmla="*/ 107 h 988"/>
                <a:gd name="T76" fmla="*/ 843 w 883"/>
                <a:gd name="T77" fmla="*/ 420 h 988"/>
                <a:gd name="T78" fmla="*/ 705 w 883"/>
                <a:gd name="T79" fmla="*/ 283 h 988"/>
                <a:gd name="T80" fmla="*/ 879 w 883"/>
                <a:gd name="T81" fmla="*/ 406 h 988"/>
                <a:gd name="T82" fmla="*/ 705 w 883"/>
                <a:gd name="T83" fmla="*/ 233 h 988"/>
                <a:gd name="T84" fmla="*/ 579 w 883"/>
                <a:gd name="T85" fmla="*/ 107 h 988"/>
                <a:gd name="T86" fmla="*/ 495 w 883"/>
                <a:gd name="T87" fmla="*/ 22 h 988"/>
                <a:gd name="T88" fmla="*/ 484 w 883"/>
                <a:gd name="T89" fmla="*/ 13 h 988"/>
                <a:gd name="T90" fmla="*/ 471 w 883"/>
                <a:gd name="T91" fmla="*/ 6 h 988"/>
                <a:gd name="T92" fmla="*/ 456 w 883"/>
                <a:gd name="T93" fmla="*/ 2 h 988"/>
                <a:gd name="T94" fmla="*/ 441 w 883"/>
                <a:gd name="T95" fmla="*/ 0 h 988"/>
                <a:gd name="T96" fmla="*/ 427 w 883"/>
                <a:gd name="T97" fmla="*/ 2 h 988"/>
                <a:gd name="T98" fmla="*/ 412 w 883"/>
                <a:gd name="T99" fmla="*/ 6 h 988"/>
                <a:gd name="T100" fmla="*/ 399 w 883"/>
                <a:gd name="T101" fmla="*/ 13 h 988"/>
                <a:gd name="T102" fmla="*/ 387 w 883"/>
                <a:gd name="T103" fmla="*/ 22 h 988"/>
                <a:gd name="T104" fmla="*/ 177 w 883"/>
                <a:gd name="T105" fmla="*/ 107 h 988"/>
                <a:gd name="T106" fmla="*/ 150 w 883"/>
                <a:gd name="T107" fmla="*/ 260 h 988"/>
                <a:gd name="T108" fmla="*/ 44 w 883"/>
                <a:gd name="T109" fmla="*/ 365 h 988"/>
                <a:gd name="T110" fmla="*/ 0 w 883"/>
                <a:gd name="T111" fmla="*/ 423 h 988"/>
                <a:gd name="T112" fmla="*/ 883 w 883"/>
                <a:gd name="T113" fmla="*/ 988 h 988"/>
                <a:gd name="T114" fmla="*/ 883 w 883"/>
                <a:gd name="T115" fmla="*/ 409 h 9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883" h="988">
                  <a:moveTo>
                    <a:pt x="847" y="473"/>
                  </a:moveTo>
                  <a:lnTo>
                    <a:pt x="847" y="479"/>
                  </a:lnTo>
                  <a:lnTo>
                    <a:pt x="847" y="931"/>
                  </a:lnTo>
                  <a:lnTo>
                    <a:pt x="618" y="702"/>
                  </a:lnTo>
                  <a:lnTo>
                    <a:pt x="618" y="702"/>
                  </a:lnTo>
                  <a:lnTo>
                    <a:pt x="614" y="697"/>
                  </a:lnTo>
                  <a:lnTo>
                    <a:pt x="847" y="465"/>
                  </a:lnTo>
                  <a:lnTo>
                    <a:pt x="847" y="473"/>
                  </a:lnTo>
                  <a:close/>
                  <a:moveTo>
                    <a:pt x="64" y="952"/>
                  </a:moveTo>
                  <a:lnTo>
                    <a:pt x="83" y="934"/>
                  </a:lnTo>
                  <a:lnTo>
                    <a:pt x="83" y="934"/>
                  </a:lnTo>
                  <a:lnTo>
                    <a:pt x="413" y="604"/>
                  </a:lnTo>
                  <a:lnTo>
                    <a:pt x="418" y="599"/>
                  </a:lnTo>
                  <a:lnTo>
                    <a:pt x="426" y="596"/>
                  </a:lnTo>
                  <a:lnTo>
                    <a:pt x="433" y="594"/>
                  </a:lnTo>
                  <a:lnTo>
                    <a:pt x="441" y="593"/>
                  </a:lnTo>
                  <a:lnTo>
                    <a:pt x="449" y="594"/>
                  </a:lnTo>
                  <a:lnTo>
                    <a:pt x="457" y="596"/>
                  </a:lnTo>
                  <a:lnTo>
                    <a:pt x="465" y="599"/>
                  </a:lnTo>
                  <a:lnTo>
                    <a:pt x="470" y="604"/>
                  </a:lnTo>
                  <a:lnTo>
                    <a:pt x="792" y="925"/>
                  </a:lnTo>
                  <a:lnTo>
                    <a:pt x="792" y="925"/>
                  </a:lnTo>
                  <a:lnTo>
                    <a:pt x="811" y="945"/>
                  </a:lnTo>
                  <a:lnTo>
                    <a:pt x="819" y="952"/>
                  </a:lnTo>
                  <a:lnTo>
                    <a:pt x="64" y="952"/>
                  </a:lnTo>
                  <a:close/>
                  <a:moveTo>
                    <a:pt x="36" y="495"/>
                  </a:moveTo>
                  <a:lnTo>
                    <a:pt x="36" y="479"/>
                  </a:lnTo>
                  <a:lnTo>
                    <a:pt x="36" y="473"/>
                  </a:lnTo>
                  <a:lnTo>
                    <a:pt x="36" y="467"/>
                  </a:lnTo>
                  <a:lnTo>
                    <a:pt x="267" y="699"/>
                  </a:lnTo>
                  <a:lnTo>
                    <a:pt x="265" y="702"/>
                  </a:lnTo>
                  <a:lnTo>
                    <a:pt x="265" y="702"/>
                  </a:lnTo>
                  <a:lnTo>
                    <a:pt x="36" y="931"/>
                  </a:lnTo>
                  <a:lnTo>
                    <a:pt x="36" y="495"/>
                  </a:lnTo>
                  <a:close/>
                  <a:moveTo>
                    <a:pt x="57" y="402"/>
                  </a:moveTo>
                  <a:lnTo>
                    <a:pt x="177" y="283"/>
                  </a:lnTo>
                  <a:lnTo>
                    <a:pt x="177" y="559"/>
                  </a:lnTo>
                  <a:lnTo>
                    <a:pt x="39" y="421"/>
                  </a:lnTo>
                  <a:lnTo>
                    <a:pt x="57" y="402"/>
                  </a:lnTo>
                  <a:close/>
                  <a:moveTo>
                    <a:pt x="564" y="141"/>
                  </a:moveTo>
                  <a:lnTo>
                    <a:pt x="671" y="248"/>
                  </a:lnTo>
                  <a:lnTo>
                    <a:pt x="671" y="591"/>
                  </a:lnTo>
                  <a:lnTo>
                    <a:pt x="589" y="672"/>
                  </a:lnTo>
                  <a:lnTo>
                    <a:pt x="508" y="593"/>
                  </a:lnTo>
                  <a:lnTo>
                    <a:pt x="495" y="580"/>
                  </a:lnTo>
                  <a:lnTo>
                    <a:pt x="489" y="574"/>
                  </a:lnTo>
                  <a:lnTo>
                    <a:pt x="484" y="570"/>
                  </a:lnTo>
                  <a:lnTo>
                    <a:pt x="478" y="566"/>
                  </a:lnTo>
                  <a:lnTo>
                    <a:pt x="471" y="562"/>
                  </a:lnTo>
                  <a:lnTo>
                    <a:pt x="464" y="560"/>
                  </a:lnTo>
                  <a:lnTo>
                    <a:pt x="456" y="558"/>
                  </a:lnTo>
                  <a:lnTo>
                    <a:pt x="448" y="557"/>
                  </a:lnTo>
                  <a:lnTo>
                    <a:pt x="441" y="557"/>
                  </a:lnTo>
                  <a:lnTo>
                    <a:pt x="433" y="557"/>
                  </a:lnTo>
                  <a:lnTo>
                    <a:pt x="427" y="558"/>
                  </a:lnTo>
                  <a:lnTo>
                    <a:pt x="419" y="560"/>
                  </a:lnTo>
                  <a:lnTo>
                    <a:pt x="412" y="562"/>
                  </a:lnTo>
                  <a:lnTo>
                    <a:pt x="405" y="566"/>
                  </a:lnTo>
                  <a:lnTo>
                    <a:pt x="399" y="570"/>
                  </a:lnTo>
                  <a:lnTo>
                    <a:pt x="393" y="574"/>
                  </a:lnTo>
                  <a:lnTo>
                    <a:pt x="387" y="580"/>
                  </a:lnTo>
                  <a:lnTo>
                    <a:pt x="293" y="675"/>
                  </a:lnTo>
                  <a:lnTo>
                    <a:pt x="212" y="594"/>
                  </a:lnTo>
                  <a:lnTo>
                    <a:pt x="212" y="141"/>
                  </a:lnTo>
                  <a:lnTo>
                    <a:pt x="564" y="141"/>
                  </a:lnTo>
                  <a:close/>
                  <a:moveTo>
                    <a:pt x="413" y="47"/>
                  </a:moveTo>
                  <a:lnTo>
                    <a:pt x="418" y="43"/>
                  </a:lnTo>
                  <a:lnTo>
                    <a:pt x="426" y="38"/>
                  </a:lnTo>
                  <a:lnTo>
                    <a:pt x="433" y="36"/>
                  </a:lnTo>
                  <a:lnTo>
                    <a:pt x="441" y="35"/>
                  </a:lnTo>
                  <a:lnTo>
                    <a:pt x="449" y="36"/>
                  </a:lnTo>
                  <a:lnTo>
                    <a:pt x="457" y="38"/>
                  </a:lnTo>
                  <a:lnTo>
                    <a:pt x="465" y="43"/>
                  </a:lnTo>
                  <a:lnTo>
                    <a:pt x="470" y="47"/>
                  </a:lnTo>
                  <a:lnTo>
                    <a:pt x="529" y="107"/>
                  </a:lnTo>
                  <a:lnTo>
                    <a:pt x="353" y="107"/>
                  </a:lnTo>
                  <a:lnTo>
                    <a:pt x="413" y="47"/>
                  </a:lnTo>
                  <a:close/>
                  <a:moveTo>
                    <a:pt x="843" y="420"/>
                  </a:moveTo>
                  <a:lnTo>
                    <a:pt x="705" y="556"/>
                  </a:lnTo>
                  <a:lnTo>
                    <a:pt x="705" y="283"/>
                  </a:lnTo>
                  <a:lnTo>
                    <a:pt x="843" y="420"/>
                  </a:lnTo>
                  <a:close/>
                  <a:moveTo>
                    <a:pt x="879" y="406"/>
                  </a:moveTo>
                  <a:lnTo>
                    <a:pt x="705" y="233"/>
                  </a:lnTo>
                  <a:lnTo>
                    <a:pt x="705" y="233"/>
                  </a:lnTo>
                  <a:lnTo>
                    <a:pt x="579" y="107"/>
                  </a:lnTo>
                  <a:lnTo>
                    <a:pt x="579" y="107"/>
                  </a:lnTo>
                  <a:lnTo>
                    <a:pt x="508" y="35"/>
                  </a:lnTo>
                  <a:lnTo>
                    <a:pt x="495" y="22"/>
                  </a:lnTo>
                  <a:lnTo>
                    <a:pt x="489" y="17"/>
                  </a:lnTo>
                  <a:lnTo>
                    <a:pt x="484" y="13"/>
                  </a:lnTo>
                  <a:lnTo>
                    <a:pt x="478" y="9"/>
                  </a:lnTo>
                  <a:lnTo>
                    <a:pt x="471" y="6"/>
                  </a:lnTo>
                  <a:lnTo>
                    <a:pt x="464" y="3"/>
                  </a:lnTo>
                  <a:lnTo>
                    <a:pt x="456" y="2"/>
                  </a:lnTo>
                  <a:lnTo>
                    <a:pt x="448" y="1"/>
                  </a:lnTo>
                  <a:lnTo>
                    <a:pt x="441" y="0"/>
                  </a:lnTo>
                  <a:lnTo>
                    <a:pt x="433" y="1"/>
                  </a:lnTo>
                  <a:lnTo>
                    <a:pt x="427" y="2"/>
                  </a:lnTo>
                  <a:lnTo>
                    <a:pt x="419" y="3"/>
                  </a:lnTo>
                  <a:lnTo>
                    <a:pt x="412" y="6"/>
                  </a:lnTo>
                  <a:lnTo>
                    <a:pt x="405" y="9"/>
                  </a:lnTo>
                  <a:lnTo>
                    <a:pt x="399" y="13"/>
                  </a:lnTo>
                  <a:lnTo>
                    <a:pt x="393" y="17"/>
                  </a:lnTo>
                  <a:lnTo>
                    <a:pt x="387" y="22"/>
                  </a:lnTo>
                  <a:lnTo>
                    <a:pt x="304" y="107"/>
                  </a:lnTo>
                  <a:lnTo>
                    <a:pt x="177" y="107"/>
                  </a:lnTo>
                  <a:lnTo>
                    <a:pt x="177" y="233"/>
                  </a:lnTo>
                  <a:lnTo>
                    <a:pt x="150" y="260"/>
                  </a:lnTo>
                  <a:lnTo>
                    <a:pt x="44" y="365"/>
                  </a:lnTo>
                  <a:lnTo>
                    <a:pt x="44" y="365"/>
                  </a:lnTo>
                  <a:lnTo>
                    <a:pt x="0" y="409"/>
                  </a:lnTo>
                  <a:lnTo>
                    <a:pt x="0" y="423"/>
                  </a:lnTo>
                  <a:lnTo>
                    <a:pt x="0" y="988"/>
                  </a:lnTo>
                  <a:lnTo>
                    <a:pt x="883" y="988"/>
                  </a:lnTo>
                  <a:lnTo>
                    <a:pt x="883" y="423"/>
                  </a:lnTo>
                  <a:lnTo>
                    <a:pt x="883" y="409"/>
                  </a:lnTo>
                  <a:lnTo>
                    <a:pt x="879" y="40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5" name="Rectangle 93"/>
            <p:cNvSpPr>
              <a:spLocks noChangeArrowheads="1"/>
            </p:cNvSpPr>
            <p:nvPr/>
          </p:nvSpPr>
          <p:spPr bwMode="auto">
            <a:xfrm>
              <a:off x="2400300" y="557213"/>
              <a:ext cx="984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6" name="Rectangle 94"/>
            <p:cNvSpPr>
              <a:spLocks noChangeArrowheads="1"/>
            </p:cNvSpPr>
            <p:nvPr/>
          </p:nvSpPr>
          <p:spPr bwMode="auto">
            <a:xfrm>
              <a:off x="2400300" y="641350"/>
              <a:ext cx="98425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7" name="Rectangle 95"/>
            <p:cNvSpPr>
              <a:spLocks noChangeArrowheads="1"/>
            </p:cNvSpPr>
            <p:nvPr/>
          </p:nvSpPr>
          <p:spPr bwMode="auto">
            <a:xfrm>
              <a:off x="2400300" y="598488"/>
              <a:ext cx="69850" cy="142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60" name="Freeform 230"/>
          <p:cNvSpPr>
            <a:spLocks noEditPoints="1"/>
          </p:cNvSpPr>
          <p:nvPr/>
        </p:nvSpPr>
        <p:spPr bwMode="auto">
          <a:xfrm>
            <a:off x="10374867" y="2654095"/>
            <a:ext cx="394006" cy="402147"/>
          </a:xfrm>
          <a:custGeom>
            <a:avLst/>
            <a:gdLst>
              <a:gd name="T0" fmla="*/ 838 w 970"/>
              <a:gd name="T1" fmla="*/ 117 h 987"/>
              <a:gd name="T2" fmla="*/ 838 w 970"/>
              <a:gd name="T3" fmla="*/ 58 h 987"/>
              <a:gd name="T4" fmla="*/ 892 w 970"/>
              <a:gd name="T5" fmla="*/ 35 h 987"/>
              <a:gd name="T6" fmla="*/ 933 w 970"/>
              <a:gd name="T7" fmla="*/ 77 h 987"/>
              <a:gd name="T8" fmla="*/ 912 w 970"/>
              <a:gd name="T9" fmla="*/ 131 h 987"/>
              <a:gd name="T10" fmla="*/ 632 w 970"/>
              <a:gd name="T11" fmla="*/ 736 h 987"/>
              <a:gd name="T12" fmla="*/ 599 w 970"/>
              <a:gd name="T13" fmla="*/ 687 h 987"/>
              <a:gd name="T14" fmla="*/ 632 w 970"/>
              <a:gd name="T15" fmla="*/ 638 h 987"/>
              <a:gd name="T16" fmla="*/ 690 w 970"/>
              <a:gd name="T17" fmla="*/ 650 h 987"/>
              <a:gd name="T18" fmla="*/ 701 w 970"/>
              <a:gd name="T19" fmla="*/ 708 h 987"/>
              <a:gd name="T20" fmla="*/ 652 w 970"/>
              <a:gd name="T21" fmla="*/ 740 h 987"/>
              <a:gd name="T22" fmla="*/ 309 w 970"/>
              <a:gd name="T23" fmla="*/ 469 h 987"/>
              <a:gd name="T24" fmla="*/ 309 w 970"/>
              <a:gd name="T25" fmla="*/ 411 h 987"/>
              <a:gd name="T26" fmla="*/ 363 w 970"/>
              <a:gd name="T27" fmla="*/ 388 h 987"/>
              <a:gd name="T28" fmla="*/ 404 w 970"/>
              <a:gd name="T29" fmla="*/ 429 h 987"/>
              <a:gd name="T30" fmla="*/ 382 w 970"/>
              <a:gd name="T31" fmla="*/ 484 h 987"/>
              <a:gd name="T32" fmla="*/ 68 w 970"/>
              <a:gd name="T33" fmla="*/ 948 h 987"/>
              <a:gd name="T34" fmla="*/ 36 w 970"/>
              <a:gd name="T35" fmla="*/ 898 h 987"/>
              <a:gd name="T36" fmla="*/ 68 w 970"/>
              <a:gd name="T37" fmla="*/ 849 h 987"/>
              <a:gd name="T38" fmla="*/ 125 w 970"/>
              <a:gd name="T39" fmla="*/ 861 h 987"/>
              <a:gd name="T40" fmla="*/ 137 w 970"/>
              <a:gd name="T41" fmla="*/ 920 h 987"/>
              <a:gd name="T42" fmla="*/ 89 w 970"/>
              <a:gd name="T43" fmla="*/ 951 h 987"/>
              <a:gd name="T44" fmla="*/ 839 w 970"/>
              <a:gd name="T45" fmla="*/ 10 h 987"/>
              <a:gd name="T46" fmla="*/ 805 w 970"/>
              <a:gd name="T47" fmla="*/ 46 h 987"/>
              <a:gd name="T48" fmla="*/ 794 w 970"/>
              <a:gd name="T49" fmla="*/ 99 h 987"/>
              <a:gd name="T50" fmla="*/ 824 w 970"/>
              <a:gd name="T51" fmla="*/ 154 h 987"/>
              <a:gd name="T52" fmla="*/ 637 w 970"/>
              <a:gd name="T53" fmla="*/ 600 h 987"/>
              <a:gd name="T54" fmla="*/ 597 w 970"/>
              <a:gd name="T55" fmla="*/ 619 h 987"/>
              <a:gd name="T56" fmla="*/ 441 w 970"/>
              <a:gd name="T57" fmla="*/ 432 h 987"/>
              <a:gd name="T58" fmla="*/ 420 w 970"/>
              <a:gd name="T59" fmla="*/ 384 h 987"/>
              <a:gd name="T60" fmla="*/ 379 w 970"/>
              <a:gd name="T61" fmla="*/ 356 h 987"/>
              <a:gd name="T62" fmla="*/ 326 w 970"/>
              <a:gd name="T63" fmla="*/ 356 h 987"/>
              <a:gd name="T64" fmla="*/ 284 w 970"/>
              <a:gd name="T65" fmla="*/ 384 h 987"/>
              <a:gd name="T66" fmla="*/ 265 w 970"/>
              <a:gd name="T67" fmla="*/ 432 h 987"/>
              <a:gd name="T68" fmla="*/ 276 w 970"/>
              <a:gd name="T69" fmla="*/ 484 h 987"/>
              <a:gd name="T70" fmla="*/ 103 w 970"/>
              <a:gd name="T71" fmla="*/ 812 h 987"/>
              <a:gd name="T72" fmla="*/ 54 w 970"/>
              <a:gd name="T73" fmla="*/ 817 h 987"/>
              <a:gd name="T74" fmla="*/ 15 w 970"/>
              <a:gd name="T75" fmla="*/ 849 h 987"/>
              <a:gd name="T76" fmla="*/ 0 w 970"/>
              <a:gd name="T77" fmla="*/ 898 h 987"/>
              <a:gd name="T78" fmla="*/ 15 w 970"/>
              <a:gd name="T79" fmla="*/ 948 h 987"/>
              <a:gd name="T80" fmla="*/ 54 w 970"/>
              <a:gd name="T81" fmla="*/ 980 h 987"/>
              <a:gd name="T82" fmla="*/ 106 w 970"/>
              <a:gd name="T83" fmla="*/ 984 h 987"/>
              <a:gd name="T84" fmla="*/ 150 w 970"/>
              <a:gd name="T85" fmla="*/ 961 h 987"/>
              <a:gd name="T86" fmla="*/ 175 w 970"/>
              <a:gd name="T87" fmla="*/ 916 h 987"/>
              <a:gd name="T88" fmla="*/ 168 w 970"/>
              <a:gd name="T89" fmla="*/ 862 h 987"/>
              <a:gd name="T90" fmla="*/ 332 w 970"/>
              <a:gd name="T91" fmla="*/ 525 h 987"/>
              <a:gd name="T92" fmla="*/ 375 w 970"/>
              <a:gd name="T93" fmla="*/ 525 h 987"/>
              <a:gd name="T94" fmla="*/ 575 w 970"/>
              <a:gd name="T95" fmla="*/ 646 h 987"/>
              <a:gd name="T96" fmla="*/ 566 w 970"/>
              <a:gd name="T97" fmla="*/ 705 h 987"/>
              <a:gd name="T98" fmla="*/ 590 w 970"/>
              <a:gd name="T99" fmla="*/ 749 h 987"/>
              <a:gd name="T100" fmla="*/ 634 w 970"/>
              <a:gd name="T101" fmla="*/ 774 h 987"/>
              <a:gd name="T102" fmla="*/ 687 w 970"/>
              <a:gd name="T103" fmla="*/ 768 h 987"/>
              <a:gd name="T104" fmla="*/ 726 w 970"/>
              <a:gd name="T105" fmla="*/ 736 h 987"/>
              <a:gd name="T106" fmla="*/ 741 w 970"/>
              <a:gd name="T107" fmla="*/ 687 h 987"/>
              <a:gd name="T108" fmla="*/ 716 w 970"/>
              <a:gd name="T109" fmla="*/ 627 h 987"/>
              <a:gd name="T110" fmla="*/ 891 w 970"/>
              <a:gd name="T111" fmla="*/ 176 h 987"/>
              <a:gd name="T112" fmla="*/ 937 w 970"/>
              <a:gd name="T113" fmla="*/ 155 h 987"/>
              <a:gd name="T114" fmla="*/ 966 w 970"/>
              <a:gd name="T115" fmla="*/ 114 h 987"/>
              <a:gd name="T116" fmla="*/ 966 w 970"/>
              <a:gd name="T117" fmla="*/ 61 h 987"/>
              <a:gd name="T118" fmla="*/ 937 w 970"/>
              <a:gd name="T119" fmla="*/ 19 h 987"/>
              <a:gd name="T120" fmla="*/ 891 w 970"/>
              <a:gd name="T121" fmla="*/ 0 h 9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70" h="987">
                <a:moveTo>
                  <a:pt x="881" y="140"/>
                </a:moveTo>
                <a:lnTo>
                  <a:pt x="870" y="139"/>
                </a:lnTo>
                <a:lnTo>
                  <a:pt x="861" y="137"/>
                </a:lnTo>
                <a:lnTo>
                  <a:pt x="852" y="131"/>
                </a:lnTo>
                <a:lnTo>
                  <a:pt x="845" y="125"/>
                </a:lnTo>
                <a:lnTo>
                  <a:pt x="838" y="117"/>
                </a:lnTo>
                <a:lnTo>
                  <a:pt x="833" y="108"/>
                </a:lnTo>
                <a:lnTo>
                  <a:pt x="829" y="98"/>
                </a:lnTo>
                <a:lnTo>
                  <a:pt x="828" y="87"/>
                </a:lnTo>
                <a:lnTo>
                  <a:pt x="829" y="77"/>
                </a:lnTo>
                <a:lnTo>
                  <a:pt x="833" y="66"/>
                </a:lnTo>
                <a:lnTo>
                  <a:pt x="838" y="58"/>
                </a:lnTo>
                <a:lnTo>
                  <a:pt x="845" y="50"/>
                </a:lnTo>
                <a:lnTo>
                  <a:pt x="852" y="44"/>
                </a:lnTo>
                <a:lnTo>
                  <a:pt x="861" y="38"/>
                </a:lnTo>
                <a:lnTo>
                  <a:pt x="870" y="35"/>
                </a:lnTo>
                <a:lnTo>
                  <a:pt x="881" y="34"/>
                </a:lnTo>
                <a:lnTo>
                  <a:pt x="892" y="35"/>
                </a:lnTo>
                <a:lnTo>
                  <a:pt x="902" y="38"/>
                </a:lnTo>
                <a:lnTo>
                  <a:pt x="912" y="44"/>
                </a:lnTo>
                <a:lnTo>
                  <a:pt x="919" y="50"/>
                </a:lnTo>
                <a:lnTo>
                  <a:pt x="926" y="58"/>
                </a:lnTo>
                <a:lnTo>
                  <a:pt x="930" y="66"/>
                </a:lnTo>
                <a:lnTo>
                  <a:pt x="933" y="77"/>
                </a:lnTo>
                <a:lnTo>
                  <a:pt x="934" y="87"/>
                </a:lnTo>
                <a:lnTo>
                  <a:pt x="933" y="98"/>
                </a:lnTo>
                <a:lnTo>
                  <a:pt x="930" y="108"/>
                </a:lnTo>
                <a:lnTo>
                  <a:pt x="926" y="117"/>
                </a:lnTo>
                <a:lnTo>
                  <a:pt x="919" y="125"/>
                </a:lnTo>
                <a:lnTo>
                  <a:pt x="912" y="131"/>
                </a:lnTo>
                <a:lnTo>
                  <a:pt x="902" y="137"/>
                </a:lnTo>
                <a:lnTo>
                  <a:pt x="892" y="139"/>
                </a:lnTo>
                <a:lnTo>
                  <a:pt x="881" y="140"/>
                </a:lnTo>
                <a:close/>
                <a:moveTo>
                  <a:pt x="652" y="740"/>
                </a:moveTo>
                <a:lnTo>
                  <a:pt x="642" y="739"/>
                </a:lnTo>
                <a:lnTo>
                  <a:pt x="632" y="736"/>
                </a:lnTo>
                <a:lnTo>
                  <a:pt x="623" y="731"/>
                </a:lnTo>
                <a:lnTo>
                  <a:pt x="615" y="724"/>
                </a:lnTo>
                <a:lnTo>
                  <a:pt x="608" y="717"/>
                </a:lnTo>
                <a:lnTo>
                  <a:pt x="604" y="708"/>
                </a:lnTo>
                <a:lnTo>
                  <a:pt x="600" y="697"/>
                </a:lnTo>
                <a:lnTo>
                  <a:pt x="599" y="687"/>
                </a:lnTo>
                <a:lnTo>
                  <a:pt x="600" y="677"/>
                </a:lnTo>
                <a:lnTo>
                  <a:pt x="604" y="667"/>
                </a:lnTo>
                <a:lnTo>
                  <a:pt x="608" y="657"/>
                </a:lnTo>
                <a:lnTo>
                  <a:pt x="615" y="650"/>
                </a:lnTo>
                <a:lnTo>
                  <a:pt x="623" y="643"/>
                </a:lnTo>
                <a:lnTo>
                  <a:pt x="632" y="638"/>
                </a:lnTo>
                <a:lnTo>
                  <a:pt x="642" y="636"/>
                </a:lnTo>
                <a:lnTo>
                  <a:pt x="652" y="635"/>
                </a:lnTo>
                <a:lnTo>
                  <a:pt x="663" y="636"/>
                </a:lnTo>
                <a:lnTo>
                  <a:pt x="673" y="638"/>
                </a:lnTo>
                <a:lnTo>
                  <a:pt x="681" y="643"/>
                </a:lnTo>
                <a:lnTo>
                  <a:pt x="690" y="650"/>
                </a:lnTo>
                <a:lnTo>
                  <a:pt x="697" y="657"/>
                </a:lnTo>
                <a:lnTo>
                  <a:pt x="701" y="667"/>
                </a:lnTo>
                <a:lnTo>
                  <a:pt x="704" y="677"/>
                </a:lnTo>
                <a:lnTo>
                  <a:pt x="705" y="687"/>
                </a:lnTo>
                <a:lnTo>
                  <a:pt x="704" y="697"/>
                </a:lnTo>
                <a:lnTo>
                  <a:pt x="701" y="708"/>
                </a:lnTo>
                <a:lnTo>
                  <a:pt x="697" y="717"/>
                </a:lnTo>
                <a:lnTo>
                  <a:pt x="690" y="724"/>
                </a:lnTo>
                <a:lnTo>
                  <a:pt x="681" y="731"/>
                </a:lnTo>
                <a:lnTo>
                  <a:pt x="673" y="736"/>
                </a:lnTo>
                <a:lnTo>
                  <a:pt x="663" y="739"/>
                </a:lnTo>
                <a:lnTo>
                  <a:pt x="652" y="740"/>
                </a:lnTo>
                <a:close/>
                <a:moveTo>
                  <a:pt x="352" y="493"/>
                </a:moveTo>
                <a:lnTo>
                  <a:pt x="341" y="492"/>
                </a:lnTo>
                <a:lnTo>
                  <a:pt x="332" y="489"/>
                </a:lnTo>
                <a:lnTo>
                  <a:pt x="323" y="484"/>
                </a:lnTo>
                <a:lnTo>
                  <a:pt x="315" y="478"/>
                </a:lnTo>
                <a:lnTo>
                  <a:pt x="309" y="469"/>
                </a:lnTo>
                <a:lnTo>
                  <a:pt x="303" y="461"/>
                </a:lnTo>
                <a:lnTo>
                  <a:pt x="300" y="451"/>
                </a:lnTo>
                <a:lnTo>
                  <a:pt x="299" y="440"/>
                </a:lnTo>
                <a:lnTo>
                  <a:pt x="300" y="429"/>
                </a:lnTo>
                <a:lnTo>
                  <a:pt x="303" y="420"/>
                </a:lnTo>
                <a:lnTo>
                  <a:pt x="309" y="411"/>
                </a:lnTo>
                <a:lnTo>
                  <a:pt x="315" y="402"/>
                </a:lnTo>
                <a:lnTo>
                  <a:pt x="323" y="396"/>
                </a:lnTo>
                <a:lnTo>
                  <a:pt x="332" y="392"/>
                </a:lnTo>
                <a:lnTo>
                  <a:pt x="341" y="388"/>
                </a:lnTo>
                <a:lnTo>
                  <a:pt x="352" y="387"/>
                </a:lnTo>
                <a:lnTo>
                  <a:pt x="363" y="388"/>
                </a:lnTo>
                <a:lnTo>
                  <a:pt x="373" y="392"/>
                </a:lnTo>
                <a:lnTo>
                  <a:pt x="382" y="396"/>
                </a:lnTo>
                <a:lnTo>
                  <a:pt x="390" y="402"/>
                </a:lnTo>
                <a:lnTo>
                  <a:pt x="396" y="411"/>
                </a:lnTo>
                <a:lnTo>
                  <a:pt x="401" y="420"/>
                </a:lnTo>
                <a:lnTo>
                  <a:pt x="404" y="429"/>
                </a:lnTo>
                <a:lnTo>
                  <a:pt x="405" y="440"/>
                </a:lnTo>
                <a:lnTo>
                  <a:pt x="404" y="451"/>
                </a:lnTo>
                <a:lnTo>
                  <a:pt x="401" y="461"/>
                </a:lnTo>
                <a:lnTo>
                  <a:pt x="396" y="469"/>
                </a:lnTo>
                <a:lnTo>
                  <a:pt x="390" y="478"/>
                </a:lnTo>
                <a:lnTo>
                  <a:pt x="382" y="484"/>
                </a:lnTo>
                <a:lnTo>
                  <a:pt x="373" y="489"/>
                </a:lnTo>
                <a:lnTo>
                  <a:pt x="363" y="492"/>
                </a:lnTo>
                <a:lnTo>
                  <a:pt x="352" y="493"/>
                </a:lnTo>
                <a:close/>
                <a:moveTo>
                  <a:pt x="89" y="951"/>
                </a:moveTo>
                <a:lnTo>
                  <a:pt x="78" y="950"/>
                </a:lnTo>
                <a:lnTo>
                  <a:pt x="68" y="948"/>
                </a:lnTo>
                <a:lnTo>
                  <a:pt x="58" y="942"/>
                </a:lnTo>
                <a:lnTo>
                  <a:pt x="51" y="936"/>
                </a:lnTo>
                <a:lnTo>
                  <a:pt x="44" y="928"/>
                </a:lnTo>
                <a:lnTo>
                  <a:pt x="40" y="920"/>
                </a:lnTo>
                <a:lnTo>
                  <a:pt x="37" y="909"/>
                </a:lnTo>
                <a:lnTo>
                  <a:pt x="36" y="898"/>
                </a:lnTo>
                <a:lnTo>
                  <a:pt x="37" y="888"/>
                </a:lnTo>
                <a:lnTo>
                  <a:pt x="40" y="878"/>
                </a:lnTo>
                <a:lnTo>
                  <a:pt x="44" y="869"/>
                </a:lnTo>
                <a:lnTo>
                  <a:pt x="51" y="861"/>
                </a:lnTo>
                <a:lnTo>
                  <a:pt x="58" y="855"/>
                </a:lnTo>
                <a:lnTo>
                  <a:pt x="68" y="849"/>
                </a:lnTo>
                <a:lnTo>
                  <a:pt x="78" y="847"/>
                </a:lnTo>
                <a:lnTo>
                  <a:pt x="89" y="846"/>
                </a:lnTo>
                <a:lnTo>
                  <a:pt x="98" y="847"/>
                </a:lnTo>
                <a:lnTo>
                  <a:pt x="109" y="849"/>
                </a:lnTo>
                <a:lnTo>
                  <a:pt x="118" y="855"/>
                </a:lnTo>
                <a:lnTo>
                  <a:pt x="125" y="861"/>
                </a:lnTo>
                <a:lnTo>
                  <a:pt x="132" y="869"/>
                </a:lnTo>
                <a:lnTo>
                  <a:pt x="137" y="878"/>
                </a:lnTo>
                <a:lnTo>
                  <a:pt x="140" y="888"/>
                </a:lnTo>
                <a:lnTo>
                  <a:pt x="141" y="898"/>
                </a:lnTo>
                <a:lnTo>
                  <a:pt x="140" y="909"/>
                </a:lnTo>
                <a:lnTo>
                  <a:pt x="137" y="920"/>
                </a:lnTo>
                <a:lnTo>
                  <a:pt x="132" y="928"/>
                </a:lnTo>
                <a:lnTo>
                  <a:pt x="125" y="936"/>
                </a:lnTo>
                <a:lnTo>
                  <a:pt x="118" y="942"/>
                </a:lnTo>
                <a:lnTo>
                  <a:pt x="109" y="948"/>
                </a:lnTo>
                <a:lnTo>
                  <a:pt x="98" y="950"/>
                </a:lnTo>
                <a:lnTo>
                  <a:pt x="89" y="951"/>
                </a:lnTo>
                <a:close/>
                <a:moveTo>
                  <a:pt x="881" y="0"/>
                </a:moveTo>
                <a:lnTo>
                  <a:pt x="873" y="0"/>
                </a:lnTo>
                <a:lnTo>
                  <a:pt x="864" y="1"/>
                </a:lnTo>
                <a:lnTo>
                  <a:pt x="855" y="4"/>
                </a:lnTo>
                <a:lnTo>
                  <a:pt x="848" y="6"/>
                </a:lnTo>
                <a:lnTo>
                  <a:pt x="839" y="10"/>
                </a:lnTo>
                <a:lnTo>
                  <a:pt x="833" y="15"/>
                </a:lnTo>
                <a:lnTo>
                  <a:pt x="825" y="19"/>
                </a:lnTo>
                <a:lnTo>
                  <a:pt x="820" y="25"/>
                </a:lnTo>
                <a:lnTo>
                  <a:pt x="813" y="32"/>
                </a:lnTo>
                <a:lnTo>
                  <a:pt x="809" y="38"/>
                </a:lnTo>
                <a:lnTo>
                  <a:pt x="805" y="46"/>
                </a:lnTo>
                <a:lnTo>
                  <a:pt x="800" y="54"/>
                </a:lnTo>
                <a:lnTo>
                  <a:pt x="797" y="61"/>
                </a:lnTo>
                <a:lnTo>
                  <a:pt x="795" y="70"/>
                </a:lnTo>
                <a:lnTo>
                  <a:pt x="794" y="78"/>
                </a:lnTo>
                <a:lnTo>
                  <a:pt x="794" y="87"/>
                </a:lnTo>
                <a:lnTo>
                  <a:pt x="794" y="99"/>
                </a:lnTo>
                <a:lnTo>
                  <a:pt x="796" y="110"/>
                </a:lnTo>
                <a:lnTo>
                  <a:pt x="799" y="120"/>
                </a:lnTo>
                <a:lnTo>
                  <a:pt x="805" y="130"/>
                </a:lnTo>
                <a:lnTo>
                  <a:pt x="810" y="139"/>
                </a:lnTo>
                <a:lnTo>
                  <a:pt x="816" y="147"/>
                </a:lnTo>
                <a:lnTo>
                  <a:pt x="824" y="154"/>
                </a:lnTo>
                <a:lnTo>
                  <a:pt x="833" y="160"/>
                </a:lnTo>
                <a:lnTo>
                  <a:pt x="666" y="600"/>
                </a:lnTo>
                <a:lnTo>
                  <a:pt x="659" y="599"/>
                </a:lnTo>
                <a:lnTo>
                  <a:pt x="652" y="599"/>
                </a:lnTo>
                <a:lnTo>
                  <a:pt x="645" y="599"/>
                </a:lnTo>
                <a:lnTo>
                  <a:pt x="637" y="600"/>
                </a:lnTo>
                <a:lnTo>
                  <a:pt x="630" y="602"/>
                </a:lnTo>
                <a:lnTo>
                  <a:pt x="622" y="604"/>
                </a:lnTo>
                <a:lnTo>
                  <a:pt x="616" y="608"/>
                </a:lnTo>
                <a:lnTo>
                  <a:pt x="609" y="611"/>
                </a:lnTo>
                <a:lnTo>
                  <a:pt x="603" y="615"/>
                </a:lnTo>
                <a:lnTo>
                  <a:pt x="597" y="619"/>
                </a:lnTo>
                <a:lnTo>
                  <a:pt x="430" y="481"/>
                </a:lnTo>
                <a:lnTo>
                  <a:pt x="434" y="471"/>
                </a:lnTo>
                <a:lnTo>
                  <a:pt x="437" y="462"/>
                </a:lnTo>
                <a:lnTo>
                  <a:pt x="440" y="451"/>
                </a:lnTo>
                <a:lnTo>
                  <a:pt x="441" y="440"/>
                </a:lnTo>
                <a:lnTo>
                  <a:pt x="441" y="432"/>
                </a:lnTo>
                <a:lnTo>
                  <a:pt x="438" y="423"/>
                </a:lnTo>
                <a:lnTo>
                  <a:pt x="436" y="414"/>
                </a:lnTo>
                <a:lnTo>
                  <a:pt x="434" y="406"/>
                </a:lnTo>
                <a:lnTo>
                  <a:pt x="430" y="398"/>
                </a:lnTo>
                <a:lnTo>
                  <a:pt x="426" y="390"/>
                </a:lnTo>
                <a:lnTo>
                  <a:pt x="420" y="384"/>
                </a:lnTo>
                <a:lnTo>
                  <a:pt x="415" y="378"/>
                </a:lnTo>
                <a:lnTo>
                  <a:pt x="408" y="372"/>
                </a:lnTo>
                <a:lnTo>
                  <a:pt x="402" y="367"/>
                </a:lnTo>
                <a:lnTo>
                  <a:pt x="394" y="362"/>
                </a:lnTo>
                <a:lnTo>
                  <a:pt x="387" y="359"/>
                </a:lnTo>
                <a:lnTo>
                  <a:pt x="379" y="356"/>
                </a:lnTo>
                <a:lnTo>
                  <a:pt x="370" y="354"/>
                </a:lnTo>
                <a:lnTo>
                  <a:pt x="362" y="353"/>
                </a:lnTo>
                <a:lnTo>
                  <a:pt x="352" y="352"/>
                </a:lnTo>
                <a:lnTo>
                  <a:pt x="343" y="353"/>
                </a:lnTo>
                <a:lnTo>
                  <a:pt x="335" y="354"/>
                </a:lnTo>
                <a:lnTo>
                  <a:pt x="326" y="356"/>
                </a:lnTo>
                <a:lnTo>
                  <a:pt x="319" y="359"/>
                </a:lnTo>
                <a:lnTo>
                  <a:pt x="310" y="362"/>
                </a:lnTo>
                <a:lnTo>
                  <a:pt x="303" y="367"/>
                </a:lnTo>
                <a:lnTo>
                  <a:pt x="296" y="372"/>
                </a:lnTo>
                <a:lnTo>
                  <a:pt x="291" y="378"/>
                </a:lnTo>
                <a:lnTo>
                  <a:pt x="284" y="384"/>
                </a:lnTo>
                <a:lnTo>
                  <a:pt x="280" y="390"/>
                </a:lnTo>
                <a:lnTo>
                  <a:pt x="275" y="398"/>
                </a:lnTo>
                <a:lnTo>
                  <a:pt x="271" y="406"/>
                </a:lnTo>
                <a:lnTo>
                  <a:pt x="268" y="414"/>
                </a:lnTo>
                <a:lnTo>
                  <a:pt x="266" y="423"/>
                </a:lnTo>
                <a:lnTo>
                  <a:pt x="265" y="432"/>
                </a:lnTo>
                <a:lnTo>
                  <a:pt x="265" y="440"/>
                </a:lnTo>
                <a:lnTo>
                  <a:pt x="265" y="450"/>
                </a:lnTo>
                <a:lnTo>
                  <a:pt x="267" y="460"/>
                </a:lnTo>
                <a:lnTo>
                  <a:pt x="269" y="468"/>
                </a:lnTo>
                <a:lnTo>
                  <a:pt x="272" y="477"/>
                </a:lnTo>
                <a:lnTo>
                  <a:pt x="276" y="484"/>
                </a:lnTo>
                <a:lnTo>
                  <a:pt x="282" y="493"/>
                </a:lnTo>
                <a:lnTo>
                  <a:pt x="287" y="500"/>
                </a:lnTo>
                <a:lnTo>
                  <a:pt x="295" y="506"/>
                </a:lnTo>
                <a:lnTo>
                  <a:pt x="117" y="816"/>
                </a:lnTo>
                <a:lnTo>
                  <a:pt x="110" y="814"/>
                </a:lnTo>
                <a:lnTo>
                  <a:pt x="103" y="812"/>
                </a:lnTo>
                <a:lnTo>
                  <a:pt x="95" y="811"/>
                </a:lnTo>
                <a:lnTo>
                  <a:pt x="89" y="811"/>
                </a:lnTo>
                <a:lnTo>
                  <a:pt x="79" y="811"/>
                </a:lnTo>
                <a:lnTo>
                  <a:pt x="70" y="813"/>
                </a:lnTo>
                <a:lnTo>
                  <a:pt x="62" y="815"/>
                </a:lnTo>
                <a:lnTo>
                  <a:pt x="54" y="817"/>
                </a:lnTo>
                <a:lnTo>
                  <a:pt x="46" y="821"/>
                </a:lnTo>
                <a:lnTo>
                  <a:pt x="39" y="826"/>
                </a:lnTo>
                <a:lnTo>
                  <a:pt x="32" y="831"/>
                </a:lnTo>
                <a:lnTo>
                  <a:pt x="26" y="837"/>
                </a:lnTo>
                <a:lnTo>
                  <a:pt x="21" y="843"/>
                </a:lnTo>
                <a:lnTo>
                  <a:pt x="15" y="849"/>
                </a:lnTo>
                <a:lnTo>
                  <a:pt x="11" y="857"/>
                </a:lnTo>
                <a:lnTo>
                  <a:pt x="6" y="865"/>
                </a:lnTo>
                <a:lnTo>
                  <a:pt x="4" y="872"/>
                </a:lnTo>
                <a:lnTo>
                  <a:pt x="2" y="881"/>
                </a:lnTo>
                <a:lnTo>
                  <a:pt x="0" y="889"/>
                </a:lnTo>
                <a:lnTo>
                  <a:pt x="0" y="898"/>
                </a:lnTo>
                <a:lnTo>
                  <a:pt x="0" y="908"/>
                </a:lnTo>
                <a:lnTo>
                  <a:pt x="2" y="916"/>
                </a:lnTo>
                <a:lnTo>
                  <a:pt x="4" y="925"/>
                </a:lnTo>
                <a:lnTo>
                  <a:pt x="6" y="933"/>
                </a:lnTo>
                <a:lnTo>
                  <a:pt x="11" y="940"/>
                </a:lnTo>
                <a:lnTo>
                  <a:pt x="15" y="948"/>
                </a:lnTo>
                <a:lnTo>
                  <a:pt x="21" y="954"/>
                </a:lnTo>
                <a:lnTo>
                  <a:pt x="26" y="961"/>
                </a:lnTo>
                <a:lnTo>
                  <a:pt x="32" y="966"/>
                </a:lnTo>
                <a:lnTo>
                  <a:pt x="39" y="972"/>
                </a:lnTo>
                <a:lnTo>
                  <a:pt x="46" y="976"/>
                </a:lnTo>
                <a:lnTo>
                  <a:pt x="54" y="980"/>
                </a:lnTo>
                <a:lnTo>
                  <a:pt x="62" y="982"/>
                </a:lnTo>
                <a:lnTo>
                  <a:pt x="70" y="984"/>
                </a:lnTo>
                <a:lnTo>
                  <a:pt x="79" y="987"/>
                </a:lnTo>
                <a:lnTo>
                  <a:pt x="89" y="987"/>
                </a:lnTo>
                <a:lnTo>
                  <a:pt x="97" y="987"/>
                </a:lnTo>
                <a:lnTo>
                  <a:pt x="106" y="984"/>
                </a:lnTo>
                <a:lnTo>
                  <a:pt x="114" y="982"/>
                </a:lnTo>
                <a:lnTo>
                  <a:pt x="122" y="980"/>
                </a:lnTo>
                <a:lnTo>
                  <a:pt x="131" y="976"/>
                </a:lnTo>
                <a:lnTo>
                  <a:pt x="137" y="972"/>
                </a:lnTo>
                <a:lnTo>
                  <a:pt x="145" y="966"/>
                </a:lnTo>
                <a:lnTo>
                  <a:pt x="150" y="961"/>
                </a:lnTo>
                <a:lnTo>
                  <a:pt x="157" y="954"/>
                </a:lnTo>
                <a:lnTo>
                  <a:pt x="161" y="948"/>
                </a:lnTo>
                <a:lnTo>
                  <a:pt x="165" y="940"/>
                </a:lnTo>
                <a:lnTo>
                  <a:pt x="170" y="933"/>
                </a:lnTo>
                <a:lnTo>
                  <a:pt x="173" y="925"/>
                </a:lnTo>
                <a:lnTo>
                  <a:pt x="175" y="916"/>
                </a:lnTo>
                <a:lnTo>
                  <a:pt x="176" y="908"/>
                </a:lnTo>
                <a:lnTo>
                  <a:pt x="176" y="898"/>
                </a:lnTo>
                <a:lnTo>
                  <a:pt x="176" y="889"/>
                </a:lnTo>
                <a:lnTo>
                  <a:pt x="174" y="880"/>
                </a:lnTo>
                <a:lnTo>
                  <a:pt x="172" y="871"/>
                </a:lnTo>
                <a:lnTo>
                  <a:pt x="168" y="862"/>
                </a:lnTo>
                <a:lnTo>
                  <a:pt x="164" y="854"/>
                </a:lnTo>
                <a:lnTo>
                  <a:pt x="159" y="846"/>
                </a:lnTo>
                <a:lnTo>
                  <a:pt x="153" y="840"/>
                </a:lnTo>
                <a:lnTo>
                  <a:pt x="147" y="833"/>
                </a:lnTo>
                <a:lnTo>
                  <a:pt x="325" y="523"/>
                </a:lnTo>
                <a:lnTo>
                  <a:pt x="332" y="525"/>
                </a:lnTo>
                <a:lnTo>
                  <a:pt x="338" y="527"/>
                </a:lnTo>
                <a:lnTo>
                  <a:pt x="346" y="528"/>
                </a:lnTo>
                <a:lnTo>
                  <a:pt x="352" y="529"/>
                </a:lnTo>
                <a:lnTo>
                  <a:pt x="360" y="528"/>
                </a:lnTo>
                <a:lnTo>
                  <a:pt x="367" y="527"/>
                </a:lnTo>
                <a:lnTo>
                  <a:pt x="375" y="525"/>
                </a:lnTo>
                <a:lnTo>
                  <a:pt x="382" y="523"/>
                </a:lnTo>
                <a:lnTo>
                  <a:pt x="389" y="520"/>
                </a:lnTo>
                <a:lnTo>
                  <a:pt x="395" y="517"/>
                </a:lnTo>
                <a:lnTo>
                  <a:pt x="402" y="513"/>
                </a:lnTo>
                <a:lnTo>
                  <a:pt x="407" y="508"/>
                </a:lnTo>
                <a:lnTo>
                  <a:pt x="575" y="646"/>
                </a:lnTo>
                <a:lnTo>
                  <a:pt x="570" y="656"/>
                </a:lnTo>
                <a:lnTo>
                  <a:pt x="567" y="666"/>
                </a:lnTo>
                <a:lnTo>
                  <a:pt x="565" y="677"/>
                </a:lnTo>
                <a:lnTo>
                  <a:pt x="564" y="687"/>
                </a:lnTo>
                <a:lnTo>
                  <a:pt x="565" y="696"/>
                </a:lnTo>
                <a:lnTo>
                  <a:pt x="566" y="705"/>
                </a:lnTo>
                <a:lnTo>
                  <a:pt x="568" y="713"/>
                </a:lnTo>
                <a:lnTo>
                  <a:pt x="571" y="721"/>
                </a:lnTo>
                <a:lnTo>
                  <a:pt x="575" y="729"/>
                </a:lnTo>
                <a:lnTo>
                  <a:pt x="579" y="736"/>
                </a:lnTo>
                <a:lnTo>
                  <a:pt x="584" y="743"/>
                </a:lnTo>
                <a:lnTo>
                  <a:pt x="590" y="749"/>
                </a:lnTo>
                <a:lnTo>
                  <a:pt x="596" y="756"/>
                </a:lnTo>
                <a:lnTo>
                  <a:pt x="603" y="760"/>
                </a:lnTo>
                <a:lnTo>
                  <a:pt x="610" y="764"/>
                </a:lnTo>
                <a:lnTo>
                  <a:pt x="618" y="768"/>
                </a:lnTo>
                <a:lnTo>
                  <a:pt x="626" y="772"/>
                </a:lnTo>
                <a:lnTo>
                  <a:pt x="634" y="774"/>
                </a:lnTo>
                <a:lnTo>
                  <a:pt x="644" y="775"/>
                </a:lnTo>
                <a:lnTo>
                  <a:pt x="652" y="775"/>
                </a:lnTo>
                <a:lnTo>
                  <a:pt x="661" y="775"/>
                </a:lnTo>
                <a:lnTo>
                  <a:pt x="670" y="774"/>
                </a:lnTo>
                <a:lnTo>
                  <a:pt x="678" y="772"/>
                </a:lnTo>
                <a:lnTo>
                  <a:pt x="687" y="768"/>
                </a:lnTo>
                <a:lnTo>
                  <a:pt x="694" y="764"/>
                </a:lnTo>
                <a:lnTo>
                  <a:pt x="702" y="760"/>
                </a:lnTo>
                <a:lnTo>
                  <a:pt x="708" y="756"/>
                </a:lnTo>
                <a:lnTo>
                  <a:pt x="715" y="749"/>
                </a:lnTo>
                <a:lnTo>
                  <a:pt x="720" y="743"/>
                </a:lnTo>
                <a:lnTo>
                  <a:pt x="726" y="736"/>
                </a:lnTo>
                <a:lnTo>
                  <a:pt x="730" y="729"/>
                </a:lnTo>
                <a:lnTo>
                  <a:pt x="733" y="721"/>
                </a:lnTo>
                <a:lnTo>
                  <a:pt x="737" y="713"/>
                </a:lnTo>
                <a:lnTo>
                  <a:pt x="739" y="705"/>
                </a:lnTo>
                <a:lnTo>
                  <a:pt x="740" y="696"/>
                </a:lnTo>
                <a:lnTo>
                  <a:pt x="741" y="687"/>
                </a:lnTo>
                <a:lnTo>
                  <a:pt x="740" y="676"/>
                </a:lnTo>
                <a:lnTo>
                  <a:pt x="738" y="665"/>
                </a:lnTo>
                <a:lnTo>
                  <a:pt x="733" y="654"/>
                </a:lnTo>
                <a:lnTo>
                  <a:pt x="729" y="644"/>
                </a:lnTo>
                <a:lnTo>
                  <a:pt x="724" y="635"/>
                </a:lnTo>
                <a:lnTo>
                  <a:pt x="716" y="627"/>
                </a:lnTo>
                <a:lnTo>
                  <a:pt x="708" y="619"/>
                </a:lnTo>
                <a:lnTo>
                  <a:pt x="699" y="613"/>
                </a:lnTo>
                <a:lnTo>
                  <a:pt x="866" y="174"/>
                </a:lnTo>
                <a:lnTo>
                  <a:pt x="874" y="176"/>
                </a:lnTo>
                <a:lnTo>
                  <a:pt x="881" y="176"/>
                </a:lnTo>
                <a:lnTo>
                  <a:pt x="891" y="176"/>
                </a:lnTo>
                <a:lnTo>
                  <a:pt x="900" y="173"/>
                </a:lnTo>
                <a:lnTo>
                  <a:pt x="908" y="171"/>
                </a:lnTo>
                <a:lnTo>
                  <a:pt x="916" y="169"/>
                </a:lnTo>
                <a:lnTo>
                  <a:pt x="923" y="165"/>
                </a:lnTo>
                <a:lnTo>
                  <a:pt x="931" y="160"/>
                </a:lnTo>
                <a:lnTo>
                  <a:pt x="937" y="155"/>
                </a:lnTo>
                <a:lnTo>
                  <a:pt x="944" y="150"/>
                </a:lnTo>
                <a:lnTo>
                  <a:pt x="949" y="143"/>
                </a:lnTo>
                <a:lnTo>
                  <a:pt x="955" y="137"/>
                </a:lnTo>
                <a:lnTo>
                  <a:pt x="959" y="129"/>
                </a:lnTo>
                <a:lnTo>
                  <a:pt x="963" y="122"/>
                </a:lnTo>
                <a:lnTo>
                  <a:pt x="966" y="114"/>
                </a:lnTo>
                <a:lnTo>
                  <a:pt x="968" y="105"/>
                </a:lnTo>
                <a:lnTo>
                  <a:pt x="970" y="97"/>
                </a:lnTo>
                <a:lnTo>
                  <a:pt x="970" y="87"/>
                </a:lnTo>
                <a:lnTo>
                  <a:pt x="970" y="78"/>
                </a:lnTo>
                <a:lnTo>
                  <a:pt x="968" y="70"/>
                </a:lnTo>
                <a:lnTo>
                  <a:pt x="966" y="61"/>
                </a:lnTo>
                <a:lnTo>
                  <a:pt x="963" y="54"/>
                </a:lnTo>
                <a:lnTo>
                  <a:pt x="959" y="46"/>
                </a:lnTo>
                <a:lnTo>
                  <a:pt x="955" y="38"/>
                </a:lnTo>
                <a:lnTo>
                  <a:pt x="949" y="32"/>
                </a:lnTo>
                <a:lnTo>
                  <a:pt x="944" y="25"/>
                </a:lnTo>
                <a:lnTo>
                  <a:pt x="937" y="19"/>
                </a:lnTo>
                <a:lnTo>
                  <a:pt x="931" y="15"/>
                </a:lnTo>
                <a:lnTo>
                  <a:pt x="923" y="10"/>
                </a:lnTo>
                <a:lnTo>
                  <a:pt x="916" y="6"/>
                </a:lnTo>
                <a:lnTo>
                  <a:pt x="908" y="4"/>
                </a:lnTo>
                <a:lnTo>
                  <a:pt x="900" y="1"/>
                </a:lnTo>
                <a:lnTo>
                  <a:pt x="891" y="0"/>
                </a:lnTo>
                <a:lnTo>
                  <a:pt x="881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>
              <a:solidFill>
                <a:prstClr val="black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61" name="组合 60"/>
          <p:cNvGrpSpPr/>
          <p:nvPr/>
        </p:nvGrpSpPr>
        <p:grpSpPr>
          <a:xfrm>
            <a:off x="3766575" y="3733572"/>
            <a:ext cx="1640128" cy="1054930"/>
            <a:chOff x="3212892" y="1799802"/>
            <a:chExt cx="1640128" cy="1054930"/>
          </a:xfrm>
        </p:grpSpPr>
        <p:sp>
          <p:nvSpPr>
            <p:cNvPr id="62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63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64" name="组合 63"/>
          <p:cNvGrpSpPr/>
          <p:nvPr/>
        </p:nvGrpSpPr>
        <p:grpSpPr>
          <a:xfrm>
            <a:off x="5320586" y="2164717"/>
            <a:ext cx="1640128" cy="1054930"/>
            <a:chOff x="3212892" y="1799802"/>
            <a:chExt cx="1640128" cy="1054930"/>
          </a:xfrm>
        </p:grpSpPr>
        <p:sp>
          <p:nvSpPr>
            <p:cNvPr id="65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66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67" name="组合 66"/>
          <p:cNvGrpSpPr/>
          <p:nvPr/>
        </p:nvGrpSpPr>
        <p:grpSpPr>
          <a:xfrm>
            <a:off x="6784891" y="3733572"/>
            <a:ext cx="1640128" cy="1054930"/>
            <a:chOff x="3212892" y="1799802"/>
            <a:chExt cx="1640128" cy="1054930"/>
          </a:xfrm>
        </p:grpSpPr>
        <p:sp>
          <p:nvSpPr>
            <p:cNvPr id="68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69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70" name="组合 69"/>
          <p:cNvGrpSpPr/>
          <p:nvPr/>
        </p:nvGrpSpPr>
        <p:grpSpPr>
          <a:xfrm>
            <a:off x="8286959" y="2164717"/>
            <a:ext cx="1640128" cy="1054930"/>
            <a:chOff x="3212892" y="1799802"/>
            <a:chExt cx="1640128" cy="1054930"/>
          </a:xfrm>
        </p:grpSpPr>
        <p:sp>
          <p:nvSpPr>
            <p:cNvPr id="71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72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73" name="组合 72"/>
          <p:cNvGrpSpPr/>
          <p:nvPr/>
        </p:nvGrpSpPr>
        <p:grpSpPr>
          <a:xfrm>
            <a:off x="9751806" y="3733572"/>
            <a:ext cx="1640128" cy="1054930"/>
            <a:chOff x="3212892" y="1799802"/>
            <a:chExt cx="1640128" cy="1054930"/>
          </a:xfrm>
        </p:grpSpPr>
        <p:sp>
          <p:nvSpPr>
            <p:cNvPr id="74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75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77" name="文本框 76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完成情况</a:t>
            </a:r>
          </a:p>
        </p:txBody>
      </p:sp>
      <p:sp>
        <p:nvSpPr>
          <p:cNvPr id="78" name="文本框 77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COMPLETION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75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75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75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75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75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7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6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75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75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75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75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75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75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75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7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75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2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75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5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6" dur="75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6" grpId="0" animBg="1"/>
      <p:bldP spid="17" grpId="0" animBg="1"/>
      <p:bldP spid="50" grpId="0" animBg="1"/>
      <p:bldP spid="6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 descr="white Android smartphone near black smartpho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331" y="0"/>
            <a:ext cx="7068669" cy="6858000"/>
          </a:xfrm>
          <a:custGeom>
            <a:avLst/>
            <a:gdLst>
              <a:gd name="connsiteX0" fmla="*/ 0 w 5301502"/>
              <a:gd name="connsiteY0" fmla="*/ 0 h 5143500"/>
              <a:gd name="connsiteX1" fmla="*/ 5301502 w 5301502"/>
              <a:gd name="connsiteY1" fmla="*/ 0 h 5143500"/>
              <a:gd name="connsiteX2" fmla="*/ 5301502 w 5301502"/>
              <a:gd name="connsiteY2" fmla="*/ 5143500 h 5143500"/>
              <a:gd name="connsiteX3" fmla="*/ 1510794 w 5301502"/>
              <a:gd name="connsiteY3" fmla="*/ 5143500 h 5143500"/>
              <a:gd name="connsiteX4" fmla="*/ 1557348 w 5301502"/>
              <a:gd name="connsiteY4" fmla="*/ 4941791 h 5143500"/>
              <a:gd name="connsiteX5" fmla="*/ 1665606 w 5301502"/>
              <a:gd name="connsiteY5" fmla="*/ 3867894 h 5143500"/>
              <a:gd name="connsiteX6" fmla="*/ 104898 w 5301502"/>
              <a:gd name="connsiteY6" fmla="*/ 10001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01502" h="5143500">
                <a:moveTo>
                  <a:pt x="0" y="0"/>
                </a:moveTo>
                <a:lnTo>
                  <a:pt x="5301502" y="0"/>
                </a:lnTo>
                <a:lnTo>
                  <a:pt x="5301502" y="5143500"/>
                </a:lnTo>
                <a:lnTo>
                  <a:pt x="1510794" y="5143500"/>
                </a:lnTo>
                <a:lnTo>
                  <a:pt x="1557348" y="4941791"/>
                </a:lnTo>
                <a:cubicBezTo>
                  <a:pt x="1628330" y="4594913"/>
                  <a:pt x="1665606" y="4235757"/>
                  <a:pt x="1665606" y="3867894"/>
                </a:cubicBezTo>
                <a:cubicBezTo>
                  <a:pt x="1665606" y="2396444"/>
                  <a:pt x="1069183" y="1064296"/>
                  <a:pt x="104898" y="10001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图形 8"/>
          <p:cNvSpPr/>
          <p:nvPr/>
        </p:nvSpPr>
        <p:spPr>
          <a:xfrm>
            <a:off x="10417472" y="0"/>
            <a:ext cx="1774528" cy="1267520"/>
          </a:xfrm>
          <a:custGeom>
            <a:avLst/>
            <a:gdLst>
              <a:gd name="connsiteX0" fmla="*/ 7144 w 5867400"/>
              <a:gd name="connsiteY0" fmla="*/ 7144 h 4191000"/>
              <a:gd name="connsiteX1" fmla="*/ 2483644 w 5867400"/>
              <a:gd name="connsiteY1" fmla="*/ 1731169 h 4191000"/>
              <a:gd name="connsiteX2" fmla="*/ 5865019 w 5867400"/>
              <a:gd name="connsiteY2" fmla="*/ 4188619 h 4191000"/>
              <a:gd name="connsiteX3" fmla="*/ 5865019 w 5867400"/>
              <a:gd name="connsiteY3" fmla="*/ 7144 h 4191000"/>
              <a:gd name="connsiteX4" fmla="*/ 7144 w 5867400"/>
              <a:gd name="connsiteY4" fmla="*/ 7144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7400" h="4191000">
                <a:moveTo>
                  <a:pt x="7144" y="7144"/>
                </a:moveTo>
                <a:cubicBezTo>
                  <a:pt x="7144" y="7144"/>
                  <a:pt x="7144" y="931069"/>
                  <a:pt x="2483644" y="1731169"/>
                </a:cubicBezTo>
                <a:cubicBezTo>
                  <a:pt x="2483644" y="1731169"/>
                  <a:pt x="4998244" y="2378869"/>
                  <a:pt x="5865019" y="4188619"/>
                </a:cubicBezTo>
                <a:lnTo>
                  <a:pt x="5865019" y="7144"/>
                </a:lnTo>
                <a:lnTo>
                  <a:pt x="7144" y="7144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sz="24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857633" y="964042"/>
            <a:ext cx="174438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b="1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03.</a:t>
            </a:r>
            <a:endParaRPr lang="zh-CN" altLang="en-US" sz="8000" b="1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857634" y="2032972"/>
            <a:ext cx="5478936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400" dirty="0">
                <a:solidFill>
                  <a:schemeClr val="bg1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PART THREE</a:t>
            </a:r>
            <a:endParaRPr lang="zh-CN" altLang="en-US" sz="6400" dirty="0">
              <a:solidFill>
                <a:schemeClr val="bg1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857633" y="4485117"/>
            <a:ext cx="5333617" cy="787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lt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单击此处添加文字阐述，添加简短问题说明文字，具体添加文字在此处添加单击</a:t>
            </a:r>
          </a:p>
        </p:txBody>
      </p:sp>
      <p:sp>
        <p:nvSpPr>
          <p:cNvPr id="21" name="TextBox 7"/>
          <p:cNvSpPr txBox="1"/>
          <p:nvPr/>
        </p:nvSpPr>
        <p:spPr>
          <a:xfrm>
            <a:off x="1005094" y="3705418"/>
            <a:ext cx="2140888" cy="564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70" dirty="0">
                <a:solidFill>
                  <a:schemeClr val="lt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成果展示</a:t>
            </a:r>
          </a:p>
        </p:txBody>
      </p:sp>
      <p:sp>
        <p:nvSpPr>
          <p:cNvPr id="16" name="矩形 15"/>
          <p:cNvSpPr/>
          <p:nvPr/>
        </p:nvSpPr>
        <p:spPr>
          <a:xfrm>
            <a:off x="1005094" y="3609406"/>
            <a:ext cx="1654540" cy="96012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9" grpId="0"/>
      <p:bldP spid="20" grpId="0"/>
      <p:bldP spid="21" grpId="0"/>
      <p:bldP spid="16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4" name="组合 53"/>
          <p:cNvGrpSpPr/>
          <p:nvPr/>
        </p:nvGrpSpPr>
        <p:grpSpPr>
          <a:xfrm>
            <a:off x="838748" y="2171201"/>
            <a:ext cx="2103669" cy="1827078"/>
            <a:chOff x="838748" y="2171201"/>
            <a:chExt cx="2103669" cy="1827078"/>
          </a:xfrm>
          <a:solidFill>
            <a:schemeClr val="bg1"/>
          </a:solidFill>
        </p:grpSpPr>
        <p:grpSp>
          <p:nvGrpSpPr>
            <p:cNvPr id="37" name="组合 36"/>
            <p:cNvGrpSpPr/>
            <p:nvPr/>
          </p:nvGrpSpPr>
          <p:grpSpPr>
            <a:xfrm>
              <a:off x="838748" y="2171201"/>
              <a:ext cx="2103668" cy="1662158"/>
              <a:chOff x="838748" y="2597921"/>
              <a:chExt cx="2103668" cy="1662158"/>
            </a:xfrm>
            <a:grpFill/>
          </p:grpSpPr>
          <p:sp>
            <p:nvSpPr>
              <p:cNvPr id="10" name="Rectangle 1"/>
              <p:cNvSpPr/>
              <p:nvPr/>
            </p:nvSpPr>
            <p:spPr>
              <a:xfrm>
                <a:off x="838748" y="2597921"/>
                <a:ext cx="2103668" cy="16621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200" kern="120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grpSp>
            <p:nvGrpSpPr>
              <p:cNvPr id="20" name="Group 36"/>
              <p:cNvGrpSpPr/>
              <p:nvPr/>
            </p:nvGrpSpPr>
            <p:grpSpPr>
              <a:xfrm>
                <a:off x="1713815" y="2857956"/>
                <a:ext cx="353534" cy="514230"/>
                <a:chOff x="3720306" y="3668315"/>
                <a:chExt cx="314325" cy="457200"/>
              </a:xfrm>
              <a:grpFill/>
            </p:grpSpPr>
            <p:sp>
              <p:nvSpPr>
                <p:cNvPr id="21" name="Freeform 114"/>
                <p:cNvSpPr>
                  <a:spLocks noEditPoints="1"/>
                </p:cNvSpPr>
                <p:nvPr/>
              </p:nvSpPr>
              <p:spPr bwMode="auto">
                <a:xfrm>
                  <a:off x="3720306" y="3668315"/>
                  <a:ext cx="314325" cy="457200"/>
                </a:xfrm>
                <a:custGeom>
                  <a:avLst/>
                  <a:gdLst>
                    <a:gd name="T0" fmla="*/ 184 w 793"/>
                    <a:gd name="T1" fmla="*/ 669 h 1152"/>
                    <a:gd name="T2" fmla="*/ 103 w 793"/>
                    <a:gd name="T3" fmla="*/ 514 h 1152"/>
                    <a:gd name="T4" fmla="*/ 78 w 793"/>
                    <a:gd name="T5" fmla="*/ 439 h 1152"/>
                    <a:gd name="T6" fmla="*/ 75 w 793"/>
                    <a:gd name="T7" fmla="*/ 363 h 1152"/>
                    <a:gd name="T8" fmla="*/ 92 w 793"/>
                    <a:gd name="T9" fmla="*/ 284 h 1152"/>
                    <a:gd name="T10" fmla="*/ 128 w 793"/>
                    <a:gd name="T11" fmla="*/ 215 h 1152"/>
                    <a:gd name="T12" fmla="*/ 180 w 793"/>
                    <a:gd name="T13" fmla="*/ 156 h 1152"/>
                    <a:gd name="T14" fmla="*/ 242 w 793"/>
                    <a:gd name="T15" fmla="*/ 112 h 1152"/>
                    <a:gd name="T16" fmla="*/ 316 w 793"/>
                    <a:gd name="T17" fmla="*/ 82 h 1152"/>
                    <a:gd name="T18" fmla="*/ 397 w 793"/>
                    <a:gd name="T19" fmla="*/ 72 h 1152"/>
                    <a:gd name="T20" fmla="*/ 478 w 793"/>
                    <a:gd name="T21" fmla="*/ 82 h 1152"/>
                    <a:gd name="T22" fmla="*/ 551 w 793"/>
                    <a:gd name="T23" fmla="*/ 112 h 1152"/>
                    <a:gd name="T24" fmla="*/ 615 w 793"/>
                    <a:gd name="T25" fmla="*/ 156 h 1152"/>
                    <a:gd name="T26" fmla="*/ 666 w 793"/>
                    <a:gd name="T27" fmla="*/ 215 h 1152"/>
                    <a:gd name="T28" fmla="*/ 701 w 793"/>
                    <a:gd name="T29" fmla="*/ 284 h 1152"/>
                    <a:gd name="T30" fmla="*/ 720 w 793"/>
                    <a:gd name="T31" fmla="*/ 363 h 1152"/>
                    <a:gd name="T32" fmla="*/ 717 w 793"/>
                    <a:gd name="T33" fmla="*/ 438 h 1152"/>
                    <a:gd name="T34" fmla="*/ 691 w 793"/>
                    <a:gd name="T35" fmla="*/ 513 h 1152"/>
                    <a:gd name="T36" fmla="*/ 610 w 793"/>
                    <a:gd name="T37" fmla="*/ 669 h 1152"/>
                    <a:gd name="T38" fmla="*/ 397 w 793"/>
                    <a:gd name="T39" fmla="*/ 1080 h 1152"/>
                    <a:gd name="T40" fmla="*/ 346 w 793"/>
                    <a:gd name="T41" fmla="*/ 1067 h 1152"/>
                    <a:gd name="T42" fmla="*/ 469 w 793"/>
                    <a:gd name="T43" fmla="*/ 1036 h 1152"/>
                    <a:gd name="T44" fmla="*/ 445 w 793"/>
                    <a:gd name="T45" fmla="*/ 1071 h 1152"/>
                    <a:gd name="T46" fmla="*/ 412 w 793"/>
                    <a:gd name="T47" fmla="*/ 1079 h 1152"/>
                    <a:gd name="T48" fmla="*/ 263 w 793"/>
                    <a:gd name="T49" fmla="*/ 846 h 1152"/>
                    <a:gd name="T50" fmla="*/ 528 w 793"/>
                    <a:gd name="T51" fmla="*/ 857 h 1152"/>
                    <a:gd name="T52" fmla="*/ 307 w 793"/>
                    <a:gd name="T53" fmla="*/ 986 h 1152"/>
                    <a:gd name="T54" fmla="*/ 290 w 793"/>
                    <a:gd name="T55" fmla="*/ 931 h 1152"/>
                    <a:gd name="T56" fmla="*/ 496 w 793"/>
                    <a:gd name="T57" fmla="*/ 958 h 1152"/>
                    <a:gd name="T58" fmla="*/ 376 w 793"/>
                    <a:gd name="T59" fmla="*/ 0 h 1152"/>
                    <a:gd name="T60" fmla="*/ 279 w 793"/>
                    <a:gd name="T61" fmla="*/ 18 h 1152"/>
                    <a:gd name="T62" fmla="*/ 192 w 793"/>
                    <a:gd name="T63" fmla="*/ 58 h 1152"/>
                    <a:gd name="T64" fmla="*/ 117 w 793"/>
                    <a:gd name="T65" fmla="*/ 116 h 1152"/>
                    <a:gd name="T66" fmla="*/ 59 w 793"/>
                    <a:gd name="T67" fmla="*/ 190 h 1152"/>
                    <a:gd name="T68" fmla="*/ 19 w 793"/>
                    <a:gd name="T69" fmla="*/ 278 h 1152"/>
                    <a:gd name="T70" fmla="*/ 2 w 793"/>
                    <a:gd name="T71" fmla="*/ 375 h 1152"/>
                    <a:gd name="T72" fmla="*/ 7 w 793"/>
                    <a:gd name="T73" fmla="*/ 451 h 1152"/>
                    <a:gd name="T74" fmla="*/ 59 w 793"/>
                    <a:gd name="T75" fmla="*/ 589 h 1152"/>
                    <a:gd name="T76" fmla="*/ 160 w 793"/>
                    <a:gd name="T77" fmla="*/ 778 h 1152"/>
                    <a:gd name="T78" fmla="*/ 234 w 793"/>
                    <a:gd name="T79" fmla="*/ 994 h 1152"/>
                    <a:gd name="T80" fmla="*/ 270 w 793"/>
                    <a:gd name="T81" fmla="*/ 1086 h 1152"/>
                    <a:gd name="T82" fmla="*/ 302 w 793"/>
                    <a:gd name="T83" fmla="*/ 1125 h 1152"/>
                    <a:gd name="T84" fmla="*/ 347 w 793"/>
                    <a:gd name="T85" fmla="*/ 1146 h 1152"/>
                    <a:gd name="T86" fmla="*/ 411 w 793"/>
                    <a:gd name="T87" fmla="*/ 1152 h 1152"/>
                    <a:gd name="T88" fmla="*/ 467 w 793"/>
                    <a:gd name="T89" fmla="*/ 1140 h 1152"/>
                    <a:gd name="T90" fmla="*/ 507 w 793"/>
                    <a:gd name="T91" fmla="*/ 1111 h 1152"/>
                    <a:gd name="T92" fmla="*/ 535 w 793"/>
                    <a:gd name="T93" fmla="*/ 1066 h 1152"/>
                    <a:gd name="T94" fmla="*/ 578 w 793"/>
                    <a:gd name="T95" fmla="*/ 935 h 1152"/>
                    <a:gd name="T96" fmla="*/ 633 w 793"/>
                    <a:gd name="T97" fmla="*/ 779 h 1152"/>
                    <a:gd name="T98" fmla="*/ 735 w 793"/>
                    <a:gd name="T99" fmla="*/ 589 h 1152"/>
                    <a:gd name="T100" fmla="*/ 787 w 793"/>
                    <a:gd name="T101" fmla="*/ 451 h 1152"/>
                    <a:gd name="T102" fmla="*/ 792 w 793"/>
                    <a:gd name="T103" fmla="*/ 375 h 1152"/>
                    <a:gd name="T104" fmla="*/ 775 w 793"/>
                    <a:gd name="T105" fmla="*/ 278 h 1152"/>
                    <a:gd name="T106" fmla="*/ 736 w 793"/>
                    <a:gd name="T107" fmla="*/ 190 h 1152"/>
                    <a:gd name="T108" fmla="*/ 677 w 793"/>
                    <a:gd name="T109" fmla="*/ 116 h 1152"/>
                    <a:gd name="T110" fmla="*/ 602 w 793"/>
                    <a:gd name="T111" fmla="*/ 58 h 1152"/>
                    <a:gd name="T112" fmla="*/ 515 w 793"/>
                    <a:gd name="T113" fmla="*/ 18 h 1152"/>
                    <a:gd name="T114" fmla="*/ 417 w 793"/>
                    <a:gd name="T115" fmla="*/ 0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793" h="1152">
                      <a:moveTo>
                        <a:pt x="565" y="756"/>
                      </a:moveTo>
                      <a:lnTo>
                        <a:pt x="229" y="756"/>
                      </a:lnTo>
                      <a:lnTo>
                        <a:pt x="215" y="727"/>
                      </a:lnTo>
                      <a:lnTo>
                        <a:pt x="200" y="698"/>
                      </a:lnTo>
                      <a:lnTo>
                        <a:pt x="184" y="669"/>
                      </a:lnTo>
                      <a:lnTo>
                        <a:pt x="169" y="640"/>
                      </a:lnTo>
                      <a:lnTo>
                        <a:pt x="151" y="608"/>
                      </a:lnTo>
                      <a:lnTo>
                        <a:pt x="133" y="577"/>
                      </a:lnTo>
                      <a:lnTo>
                        <a:pt x="117" y="545"/>
                      </a:lnTo>
                      <a:lnTo>
                        <a:pt x="103" y="514"/>
                      </a:lnTo>
                      <a:lnTo>
                        <a:pt x="97" y="498"/>
                      </a:lnTo>
                      <a:lnTo>
                        <a:pt x="91" y="483"/>
                      </a:lnTo>
                      <a:lnTo>
                        <a:pt x="86" y="468"/>
                      </a:lnTo>
                      <a:lnTo>
                        <a:pt x="81" y="453"/>
                      </a:lnTo>
                      <a:lnTo>
                        <a:pt x="78" y="439"/>
                      </a:lnTo>
                      <a:lnTo>
                        <a:pt x="75" y="424"/>
                      </a:lnTo>
                      <a:lnTo>
                        <a:pt x="74" y="410"/>
                      </a:lnTo>
                      <a:lnTo>
                        <a:pt x="73" y="396"/>
                      </a:lnTo>
                      <a:lnTo>
                        <a:pt x="74" y="379"/>
                      </a:lnTo>
                      <a:lnTo>
                        <a:pt x="75" y="363"/>
                      </a:lnTo>
                      <a:lnTo>
                        <a:pt x="77" y="347"/>
                      </a:lnTo>
                      <a:lnTo>
                        <a:pt x="79" y="331"/>
                      </a:lnTo>
                      <a:lnTo>
                        <a:pt x="84" y="315"/>
                      </a:lnTo>
                      <a:lnTo>
                        <a:pt x="88" y="300"/>
                      </a:lnTo>
                      <a:lnTo>
                        <a:pt x="92" y="284"/>
                      </a:lnTo>
                      <a:lnTo>
                        <a:pt x="99" y="270"/>
                      </a:lnTo>
                      <a:lnTo>
                        <a:pt x="105" y="255"/>
                      </a:lnTo>
                      <a:lnTo>
                        <a:pt x="112" y="241"/>
                      </a:lnTo>
                      <a:lnTo>
                        <a:pt x="120" y="228"/>
                      </a:lnTo>
                      <a:lnTo>
                        <a:pt x="128" y="215"/>
                      </a:lnTo>
                      <a:lnTo>
                        <a:pt x="138" y="202"/>
                      </a:lnTo>
                      <a:lnTo>
                        <a:pt x="147" y="190"/>
                      </a:lnTo>
                      <a:lnTo>
                        <a:pt x="157" y="179"/>
                      </a:lnTo>
                      <a:lnTo>
                        <a:pt x="168" y="167"/>
                      </a:lnTo>
                      <a:lnTo>
                        <a:pt x="180" y="156"/>
                      </a:lnTo>
                      <a:lnTo>
                        <a:pt x="191" y="146"/>
                      </a:lnTo>
                      <a:lnTo>
                        <a:pt x="204" y="136"/>
                      </a:lnTo>
                      <a:lnTo>
                        <a:pt x="216" y="128"/>
                      </a:lnTo>
                      <a:lnTo>
                        <a:pt x="229" y="119"/>
                      </a:lnTo>
                      <a:lnTo>
                        <a:pt x="242" y="112"/>
                      </a:lnTo>
                      <a:lnTo>
                        <a:pt x="256" y="104"/>
                      </a:lnTo>
                      <a:lnTo>
                        <a:pt x="270" y="98"/>
                      </a:lnTo>
                      <a:lnTo>
                        <a:pt x="286" y="91"/>
                      </a:lnTo>
                      <a:lnTo>
                        <a:pt x="301" y="87"/>
                      </a:lnTo>
                      <a:lnTo>
                        <a:pt x="316" y="82"/>
                      </a:lnTo>
                      <a:lnTo>
                        <a:pt x="332" y="78"/>
                      </a:lnTo>
                      <a:lnTo>
                        <a:pt x="348" y="76"/>
                      </a:lnTo>
                      <a:lnTo>
                        <a:pt x="364" y="74"/>
                      </a:lnTo>
                      <a:lnTo>
                        <a:pt x="381" y="73"/>
                      </a:lnTo>
                      <a:lnTo>
                        <a:pt x="397" y="72"/>
                      </a:lnTo>
                      <a:lnTo>
                        <a:pt x="414" y="73"/>
                      </a:lnTo>
                      <a:lnTo>
                        <a:pt x="430" y="74"/>
                      </a:lnTo>
                      <a:lnTo>
                        <a:pt x="447" y="76"/>
                      </a:lnTo>
                      <a:lnTo>
                        <a:pt x="463" y="78"/>
                      </a:lnTo>
                      <a:lnTo>
                        <a:pt x="478" y="82"/>
                      </a:lnTo>
                      <a:lnTo>
                        <a:pt x="493" y="87"/>
                      </a:lnTo>
                      <a:lnTo>
                        <a:pt x="508" y="91"/>
                      </a:lnTo>
                      <a:lnTo>
                        <a:pt x="523" y="98"/>
                      </a:lnTo>
                      <a:lnTo>
                        <a:pt x="537" y="104"/>
                      </a:lnTo>
                      <a:lnTo>
                        <a:pt x="551" y="112"/>
                      </a:lnTo>
                      <a:lnTo>
                        <a:pt x="565" y="119"/>
                      </a:lnTo>
                      <a:lnTo>
                        <a:pt x="578" y="128"/>
                      </a:lnTo>
                      <a:lnTo>
                        <a:pt x="591" y="136"/>
                      </a:lnTo>
                      <a:lnTo>
                        <a:pt x="603" y="146"/>
                      </a:lnTo>
                      <a:lnTo>
                        <a:pt x="615" y="156"/>
                      </a:lnTo>
                      <a:lnTo>
                        <a:pt x="626" y="167"/>
                      </a:lnTo>
                      <a:lnTo>
                        <a:pt x="637" y="179"/>
                      </a:lnTo>
                      <a:lnTo>
                        <a:pt x="647" y="190"/>
                      </a:lnTo>
                      <a:lnTo>
                        <a:pt x="656" y="202"/>
                      </a:lnTo>
                      <a:lnTo>
                        <a:pt x="666" y="215"/>
                      </a:lnTo>
                      <a:lnTo>
                        <a:pt x="674" y="228"/>
                      </a:lnTo>
                      <a:lnTo>
                        <a:pt x="682" y="241"/>
                      </a:lnTo>
                      <a:lnTo>
                        <a:pt x="688" y="255"/>
                      </a:lnTo>
                      <a:lnTo>
                        <a:pt x="696" y="270"/>
                      </a:lnTo>
                      <a:lnTo>
                        <a:pt x="701" y="284"/>
                      </a:lnTo>
                      <a:lnTo>
                        <a:pt x="707" y="300"/>
                      </a:lnTo>
                      <a:lnTo>
                        <a:pt x="711" y="315"/>
                      </a:lnTo>
                      <a:lnTo>
                        <a:pt x="714" y="331"/>
                      </a:lnTo>
                      <a:lnTo>
                        <a:pt x="718" y="347"/>
                      </a:lnTo>
                      <a:lnTo>
                        <a:pt x="720" y="363"/>
                      </a:lnTo>
                      <a:lnTo>
                        <a:pt x="721" y="379"/>
                      </a:lnTo>
                      <a:lnTo>
                        <a:pt x="721" y="396"/>
                      </a:lnTo>
                      <a:lnTo>
                        <a:pt x="721" y="410"/>
                      </a:lnTo>
                      <a:lnTo>
                        <a:pt x="719" y="424"/>
                      </a:lnTo>
                      <a:lnTo>
                        <a:pt x="717" y="438"/>
                      </a:lnTo>
                      <a:lnTo>
                        <a:pt x="712" y="453"/>
                      </a:lnTo>
                      <a:lnTo>
                        <a:pt x="708" y="468"/>
                      </a:lnTo>
                      <a:lnTo>
                        <a:pt x="704" y="483"/>
                      </a:lnTo>
                      <a:lnTo>
                        <a:pt x="697" y="498"/>
                      </a:lnTo>
                      <a:lnTo>
                        <a:pt x="691" y="513"/>
                      </a:lnTo>
                      <a:lnTo>
                        <a:pt x="677" y="545"/>
                      </a:lnTo>
                      <a:lnTo>
                        <a:pt x="660" y="577"/>
                      </a:lnTo>
                      <a:lnTo>
                        <a:pt x="643" y="608"/>
                      </a:lnTo>
                      <a:lnTo>
                        <a:pt x="626" y="641"/>
                      </a:lnTo>
                      <a:lnTo>
                        <a:pt x="610" y="669"/>
                      </a:lnTo>
                      <a:lnTo>
                        <a:pt x="594" y="698"/>
                      </a:lnTo>
                      <a:lnTo>
                        <a:pt x="579" y="727"/>
                      </a:lnTo>
                      <a:lnTo>
                        <a:pt x="565" y="756"/>
                      </a:lnTo>
                      <a:lnTo>
                        <a:pt x="565" y="756"/>
                      </a:lnTo>
                      <a:close/>
                      <a:moveTo>
                        <a:pt x="397" y="1080"/>
                      </a:moveTo>
                      <a:lnTo>
                        <a:pt x="384" y="1079"/>
                      </a:lnTo>
                      <a:lnTo>
                        <a:pt x="373" y="1078"/>
                      </a:lnTo>
                      <a:lnTo>
                        <a:pt x="363" y="1076"/>
                      </a:lnTo>
                      <a:lnTo>
                        <a:pt x="355" y="1073"/>
                      </a:lnTo>
                      <a:lnTo>
                        <a:pt x="346" y="1067"/>
                      </a:lnTo>
                      <a:lnTo>
                        <a:pt x="339" y="1059"/>
                      </a:lnTo>
                      <a:lnTo>
                        <a:pt x="332" y="1049"/>
                      </a:lnTo>
                      <a:lnTo>
                        <a:pt x="326" y="1035"/>
                      </a:lnTo>
                      <a:lnTo>
                        <a:pt x="478" y="1016"/>
                      </a:lnTo>
                      <a:lnTo>
                        <a:pt x="469" y="1036"/>
                      </a:lnTo>
                      <a:lnTo>
                        <a:pt x="462" y="1051"/>
                      </a:lnTo>
                      <a:lnTo>
                        <a:pt x="457" y="1057"/>
                      </a:lnTo>
                      <a:lnTo>
                        <a:pt x="454" y="1062"/>
                      </a:lnTo>
                      <a:lnTo>
                        <a:pt x="450" y="1066"/>
                      </a:lnTo>
                      <a:lnTo>
                        <a:pt x="445" y="1071"/>
                      </a:lnTo>
                      <a:lnTo>
                        <a:pt x="440" y="1073"/>
                      </a:lnTo>
                      <a:lnTo>
                        <a:pt x="436" y="1075"/>
                      </a:lnTo>
                      <a:lnTo>
                        <a:pt x="430" y="1077"/>
                      </a:lnTo>
                      <a:lnTo>
                        <a:pt x="425" y="1078"/>
                      </a:lnTo>
                      <a:lnTo>
                        <a:pt x="412" y="1079"/>
                      </a:lnTo>
                      <a:lnTo>
                        <a:pt x="397" y="1080"/>
                      </a:lnTo>
                      <a:close/>
                      <a:moveTo>
                        <a:pt x="279" y="897"/>
                      </a:moveTo>
                      <a:lnTo>
                        <a:pt x="275" y="881"/>
                      </a:lnTo>
                      <a:lnTo>
                        <a:pt x="269" y="863"/>
                      </a:lnTo>
                      <a:lnTo>
                        <a:pt x="263" y="846"/>
                      </a:lnTo>
                      <a:lnTo>
                        <a:pt x="258" y="828"/>
                      </a:lnTo>
                      <a:lnTo>
                        <a:pt x="537" y="828"/>
                      </a:lnTo>
                      <a:lnTo>
                        <a:pt x="534" y="837"/>
                      </a:lnTo>
                      <a:lnTo>
                        <a:pt x="531" y="847"/>
                      </a:lnTo>
                      <a:lnTo>
                        <a:pt x="528" y="857"/>
                      </a:lnTo>
                      <a:lnTo>
                        <a:pt x="524" y="867"/>
                      </a:lnTo>
                      <a:lnTo>
                        <a:pt x="279" y="897"/>
                      </a:lnTo>
                      <a:close/>
                      <a:moveTo>
                        <a:pt x="491" y="978"/>
                      </a:moveTo>
                      <a:lnTo>
                        <a:pt x="312" y="1000"/>
                      </a:lnTo>
                      <a:lnTo>
                        <a:pt x="307" y="986"/>
                      </a:lnTo>
                      <a:lnTo>
                        <a:pt x="302" y="970"/>
                      </a:lnTo>
                      <a:lnTo>
                        <a:pt x="296" y="952"/>
                      </a:lnTo>
                      <a:lnTo>
                        <a:pt x="290" y="932"/>
                      </a:lnTo>
                      <a:lnTo>
                        <a:pt x="290" y="931"/>
                      </a:lnTo>
                      <a:lnTo>
                        <a:pt x="290" y="931"/>
                      </a:lnTo>
                      <a:lnTo>
                        <a:pt x="512" y="903"/>
                      </a:lnTo>
                      <a:lnTo>
                        <a:pt x="508" y="919"/>
                      </a:lnTo>
                      <a:lnTo>
                        <a:pt x="504" y="936"/>
                      </a:lnTo>
                      <a:lnTo>
                        <a:pt x="499" y="946"/>
                      </a:lnTo>
                      <a:lnTo>
                        <a:pt x="496" y="958"/>
                      </a:lnTo>
                      <a:lnTo>
                        <a:pt x="493" y="968"/>
                      </a:lnTo>
                      <a:lnTo>
                        <a:pt x="491" y="978"/>
                      </a:lnTo>
                      <a:lnTo>
                        <a:pt x="491" y="978"/>
                      </a:lnTo>
                      <a:close/>
                      <a:moveTo>
                        <a:pt x="397" y="0"/>
                      </a:moveTo>
                      <a:lnTo>
                        <a:pt x="376" y="0"/>
                      </a:lnTo>
                      <a:lnTo>
                        <a:pt x="357" y="1"/>
                      </a:lnTo>
                      <a:lnTo>
                        <a:pt x="336" y="5"/>
                      </a:lnTo>
                      <a:lnTo>
                        <a:pt x="317" y="8"/>
                      </a:lnTo>
                      <a:lnTo>
                        <a:pt x="299" y="12"/>
                      </a:lnTo>
                      <a:lnTo>
                        <a:pt x="279" y="18"/>
                      </a:lnTo>
                      <a:lnTo>
                        <a:pt x="261" y="24"/>
                      </a:lnTo>
                      <a:lnTo>
                        <a:pt x="242" y="31"/>
                      </a:lnTo>
                      <a:lnTo>
                        <a:pt x="225" y="39"/>
                      </a:lnTo>
                      <a:lnTo>
                        <a:pt x="208" y="48"/>
                      </a:lnTo>
                      <a:lnTo>
                        <a:pt x="192" y="58"/>
                      </a:lnTo>
                      <a:lnTo>
                        <a:pt x="175" y="67"/>
                      </a:lnTo>
                      <a:lnTo>
                        <a:pt x="160" y="78"/>
                      </a:lnTo>
                      <a:lnTo>
                        <a:pt x="145" y="90"/>
                      </a:lnTo>
                      <a:lnTo>
                        <a:pt x="131" y="103"/>
                      </a:lnTo>
                      <a:lnTo>
                        <a:pt x="117" y="116"/>
                      </a:lnTo>
                      <a:lnTo>
                        <a:pt x="104" y="130"/>
                      </a:lnTo>
                      <a:lnTo>
                        <a:pt x="91" y="144"/>
                      </a:lnTo>
                      <a:lnTo>
                        <a:pt x="79" y="159"/>
                      </a:lnTo>
                      <a:lnTo>
                        <a:pt x="69" y="174"/>
                      </a:lnTo>
                      <a:lnTo>
                        <a:pt x="59" y="190"/>
                      </a:lnTo>
                      <a:lnTo>
                        <a:pt x="49" y="207"/>
                      </a:lnTo>
                      <a:lnTo>
                        <a:pt x="40" y="224"/>
                      </a:lnTo>
                      <a:lnTo>
                        <a:pt x="32" y="242"/>
                      </a:lnTo>
                      <a:lnTo>
                        <a:pt x="25" y="260"/>
                      </a:lnTo>
                      <a:lnTo>
                        <a:pt x="19" y="278"/>
                      </a:lnTo>
                      <a:lnTo>
                        <a:pt x="13" y="297"/>
                      </a:lnTo>
                      <a:lnTo>
                        <a:pt x="9" y="316"/>
                      </a:lnTo>
                      <a:lnTo>
                        <a:pt x="6" y="335"/>
                      </a:lnTo>
                      <a:lnTo>
                        <a:pt x="3" y="356"/>
                      </a:lnTo>
                      <a:lnTo>
                        <a:pt x="2" y="375"/>
                      </a:lnTo>
                      <a:lnTo>
                        <a:pt x="0" y="396"/>
                      </a:lnTo>
                      <a:lnTo>
                        <a:pt x="2" y="410"/>
                      </a:lnTo>
                      <a:lnTo>
                        <a:pt x="3" y="424"/>
                      </a:lnTo>
                      <a:lnTo>
                        <a:pt x="5" y="437"/>
                      </a:lnTo>
                      <a:lnTo>
                        <a:pt x="7" y="451"/>
                      </a:lnTo>
                      <a:lnTo>
                        <a:pt x="13" y="479"/>
                      </a:lnTo>
                      <a:lnTo>
                        <a:pt x="22" y="506"/>
                      </a:lnTo>
                      <a:lnTo>
                        <a:pt x="33" y="534"/>
                      </a:lnTo>
                      <a:lnTo>
                        <a:pt x="46" y="561"/>
                      </a:lnTo>
                      <a:lnTo>
                        <a:pt x="59" y="589"/>
                      </a:lnTo>
                      <a:lnTo>
                        <a:pt x="74" y="617"/>
                      </a:lnTo>
                      <a:lnTo>
                        <a:pt x="103" y="671"/>
                      </a:lnTo>
                      <a:lnTo>
                        <a:pt x="133" y="725"/>
                      </a:lnTo>
                      <a:lnTo>
                        <a:pt x="147" y="752"/>
                      </a:lnTo>
                      <a:lnTo>
                        <a:pt x="160" y="778"/>
                      </a:lnTo>
                      <a:lnTo>
                        <a:pt x="172" y="804"/>
                      </a:lnTo>
                      <a:lnTo>
                        <a:pt x="182" y="830"/>
                      </a:lnTo>
                      <a:lnTo>
                        <a:pt x="206" y="901"/>
                      </a:lnTo>
                      <a:lnTo>
                        <a:pt x="225" y="965"/>
                      </a:lnTo>
                      <a:lnTo>
                        <a:pt x="234" y="994"/>
                      </a:lnTo>
                      <a:lnTo>
                        <a:pt x="242" y="1020"/>
                      </a:lnTo>
                      <a:lnTo>
                        <a:pt x="251" y="1045"/>
                      </a:lnTo>
                      <a:lnTo>
                        <a:pt x="260" y="1066"/>
                      </a:lnTo>
                      <a:lnTo>
                        <a:pt x="265" y="1076"/>
                      </a:lnTo>
                      <a:lnTo>
                        <a:pt x="270" y="1086"/>
                      </a:lnTo>
                      <a:lnTo>
                        <a:pt x="276" y="1094"/>
                      </a:lnTo>
                      <a:lnTo>
                        <a:pt x="281" y="1103"/>
                      </a:lnTo>
                      <a:lnTo>
                        <a:pt x="288" y="1111"/>
                      </a:lnTo>
                      <a:lnTo>
                        <a:pt x="295" y="1118"/>
                      </a:lnTo>
                      <a:lnTo>
                        <a:pt x="302" y="1125"/>
                      </a:lnTo>
                      <a:lnTo>
                        <a:pt x="310" y="1130"/>
                      </a:lnTo>
                      <a:lnTo>
                        <a:pt x="318" y="1135"/>
                      </a:lnTo>
                      <a:lnTo>
                        <a:pt x="328" y="1140"/>
                      </a:lnTo>
                      <a:lnTo>
                        <a:pt x="337" y="1143"/>
                      </a:lnTo>
                      <a:lnTo>
                        <a:pt x="347" y="1146"/>
                      </a:lnTo>
                      <a:lnTo>
                        <a:pt x="359" y="1148"/>
                      </a:lnTo>
                      <a:lnTo>
                        <a:pt x="371" y="1151"/>
                      </a:lnTo>
                      <a:lnTo>
                        <a:pt x="383" y="1152"/>
                      </a:lnTo>
                      <a:lnTo>
                        <a:pt x="397" y="1152"/>
                      </a:lnTo>
                      <a:lnTo>
                        <a:pt x="411" y="1152"/>
                      </a:lnTo>
                      <a:lnTo>
                        <a:pt x="424" y="1151"/>
                      </a:lnTo>
                      <a:lnTo>
                        <a:pt x="436" y="1148"/>
                      </a:lnTo>
                      <a:lnTo>
                        <a:pt x="448" y="1146"/>
                      </a:lnTo>
                      <a:lnTo>
                        <a:pt x="457" y="1143"/>
                      </a:lnTo>
                      <a:lnTo>
                        <a:pt x="467" y="1140"/>
                      </a:lnTo>
                      <a:lnTo>
                        <a:pt x="477" y="1135"/>
                      </a:lnTo>
                      <a:lnTo>
                        <a:pt x="485" y="1130"/>
                      </a:lnTo>
                      <a:lnTo>
                        <a:pt x="493" y="1125"/>
                      </a:lnTo>
                      <a:lnTo>
                        <a:pt x="501" y="1118"/>
                      </a:lnTo>
                      <a:lnTo>
                        <a:pt x="507" y="1111"/>
                      </a:lnTo>
                      <a:lnTo>
                        <a:pt x="513" y="1103"/>
                      </a:lnTo>
                      <a:lnTo>
                        <a:pt x="519" y="1095"/>
                      </a:lnTo>
                      <a:lnTo>
                        <a:pt x="524" y="1086"/>
                      </a:lnTo>
                      <a:lnTo>
                        <a:pt x="530" y="1077"/>
                      </a:lnTo>
                      <a:lnTo>
                        <a:pt x="535" y="1066"/>
                      </a:lnTo>
                      <a:lnTo>
                        <a:pt x="544" y="1045"/>
                      </a:lnTo>
                      <a:lnTo>
                        <a:pt x="552" y="1021"/>
                      </a:lnTo>
                      <a:lnTo>
                        <a:pt x="561" y="994"/>
                      </a:lnTo>
                      <a:lnTo>
                        <a:pt x="570" y="966"/>
                      </a:lnTo>
                      <a:lnTo>
                        <a:pt x="578" y="935"/>
                      </a:lnTo>
                      <a:lnTo>
                        <a:pt x="588" y="902"/>
                      </a:lnTo>
                      <a:lnTo>
                        <a:pt x="599" y="868"/>
                      </a:lnTo>
                      <a:lnTo>
                        <a:pt x="612" y="831"/>
                      </a:lnTo>
                      <a:lnTo>
                        <a:pt x="621" y="805"/>
                      </a:lnTo>
                      <a:lnTo>
                        <a:pt x="633" y="779"/>
                      </a:lnTo>
                      <a:lnTo>
                        <a:pt x="646" y="753"/>
                      </a:lnTo>
                      <a:lnTo>
                        <a:pt x="660" y="726"/>
                      </a:lnTo>
                      <a:lnTo>
                        <a:pt x="691" y="672"/>
                      </a:lnTo>
                      <a:lnTo>
                        <a:pt x="721" y="617"/>
                      </a:lnTo>
                      <a:lnTo>
                        <a:pt x="735" y="589"/>
                      </a:lnTo>
                      <a:lnTo>
                        <a:pt x="749" y="561"/>
                      </a:lnTo>
                      <a:lnTo>
                        <a:pt x="761" y="533"/>
                      </a:lnTo>
                      <a:lnTo>
                        <a:pt x="772" y="506"/>
                      </a:lnTo>
                      <a:lnTo>
                        <a:pt x="780" y="478"/>
                      </a:lnTo>
                      <a:lnTo>
                        <a:pt x="787" y="451"/>
                      </a:lnTo>
                      <a:lnTo>
                        <a:pt x="790" y="437"/>
                      </a:lnTo>
                      <a:lnTo>
                        <a:pt x="791" y="423"/>
                      </a:lnTo>
                      <a:lnTo>
                        <a:pt x="792" y="410"/>
                      </a:lnTo>
                      <a:lnTo>
                        <a:pt x="793" y="396"/>
                      </a:lnTo>
                      <a:lnTo>
                        <a:pt x="792" y="375"/>
                      </a:lnTo>
                      <a:lnTo>
                        <a:pt x="791" y="356"/>
                      </a:lnTo>
                      <a:lnTo>
                        <a:pt x="789" y="335"/>
                      </a:lnTo>
                      <a:lnTo>
                        <a:pt x="785" y="316"/>
                      </a:lnTo>
                      <a:lnTo>
                        <a:pt x="780" y="297"/>
                      </a:lnTo>
                      <a:lnTo>
                        <a:pt x="775" y="278"/>
                      </a:lnTo>
                      <a:lnTo>
                        <a:pt x="769" y="260"/>
                      </a:lnTo>
                      <a:lnTo>
                        <a:pt x="762" y="242"/>
                      </a:lnTo>
                      <a:lnTo>
                        <a:pt x="754" y="224"/>
                      </a:lnTo>
                      <a:lnTo>
                        <a:pt x="746" y="207"/>
                      </a:lnTo>
                      <a:lnTo>
                        <a:pt x="736" y="190"/>
                      </a:lnTo>
                      <a:lnTo>
                        <a:pt x="725" y="174"/>
                      </a:lnTo>
                      <a:lnTo>
                        <a:pt x="714" y="159"/>
                      </a:lnTo>
                      <a:lnTo>
                        <a:pt x="703" y="144"/>
                      </a:lnTo>
                      <a:lnTo>
                        <a:pt x="691" y="130"/>
                      </a:lnTo>
                      <a:lnTo>
                        <a:pt x="677" y="116"/>
                      </a:lnTo>
                      <a:lnTo>
                        <a:pt x="664" y="103"/>
                      </a:lnTo>
                      <a:lnTo>
                        <a:pt x="648" y="90"/>
                      </a:lnTo>
                      <a:lnTo>
                        <a:pt x="633" y="78"/>
                      </a:lnTo>
                      <a:lnTo>
                        <a:pt x="618" y="67"/>
                      </a:lnTo>
                      <a:lnTo>
                        <a:pt x="602" y="58"/>
                      </a:lnTo>
                      <a:lnTo>
                        <a:pt x="586" y="48"/>
                      </a:lnTo>
                      <a:lnTo>
                        <a:pt x="569" y="39"/>
                      </a:lnTo>
                      <a:lnTo>
                        <a:pt x="551" y="31"/>
                      </a:lnTo>
                      <a:lnTo>
                        <a:pt x="533" y="24"/>
                      </a:lnTo>
                      <a:lnTo>
                        <a:pt x="515" y="18"/>
                      </a:lnTo>
                      <a:lnTo>
                        <a:pt x="496" y="12"/>
                      </a:lnTo>
                      <a:lnTo>
                        <a:pt x="477" y="8"/>
                      </a:lnTo>
                      <a:lnTo>
                        <a:pt x="457" y="5"/>
                      </a:lnTo>
                      <a:lnTo>
                        <a:pt x="438" y="1"/>
                      </a:lnTo>
                      <a:lnTo>
                        <a:pt x="417" y="0"/>
                      </a:lnTo>
                      <a:lnTo>
                        <a:pt x="397" y="0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22" name="Freeform 115"/>
                <p:cNvSpPr/>
                <p:nvPr/>
              </p:nvSpPr>
              <p:spPr bwMode="auto">
                <a:xfrm>
                  <a:off x="3791743" y="3739753"/>
                  <a:ext cx="93663" cy="93663"/>
                </a:xfrm>
                <a:custGeom>
                  <a:avLst/>
                  <a:gdLst>
                    <a:gd name="T0" fmla="*/ 205 w 234"/>
                    <a:gd name="T1" fmla="*/ 1 h 234"/>
                    <a:gd name="T2" fmla="*/ 183 w 234"/>
                    <a:gd name="T3" fmla="*/ 3 h 234"/>
                    <a:gd name="T4" fmla="*/ 152 w 234"/>
                    <a:gd name="T5" fmla="*/ 9 h 234"/>
                    <a:gd name="T6" fmla="*/ 113 w 234"/>
                    <a:gd name="T7" fmla="*/ 26 h 234"/>
                    <a:gd name="T8" fmla="*/ 79 w 234"/>
                    <a:gd name="T9" fmla="*/ 49 h 234"/>
                    <a:gd name="T10" fmla="*/ 50 w 234"/>
                    <a:gd name="T11" fmla="*/ 78 h 234"/>
                    <a:gd name="T12" fmla="*/ 26 w 234"/>
                    <a:gd name="T13" fmla="*/ 113 h 234"/>
                    <a:gd name="T14" fmla="*/ 10 w 234"/>
                    <a:gd name="T15" fmla="*/ 152 h 234"/>
                    <a:gd name="T16" fmla="*/ 2 w 234"/>
                    <a:gd name="T17" fmla="*/ 183 h 234"/>
                    <a:gd name="T18" fmla="*/ 0 w 234"/>
                    <a:gd name="T19" fmla="*/ 205 h 234"/>
                    <a:gd name="T20" fmla="*/ 0 w 234"/>
                    <a:gd name="T21" fmla="*/ 220 h 234"/>
                    <a:gd name="T22" fmla="*/ 3 w 234"/>
                    <a:gd name="T23" fmla="*/ 226 h 234"/>
                    <a:gd name="T24" fmla="*/ 7 w 234"/>
                    <a:gd name="T25" fmla="*/ 231 h 234"/>
                    <a:gd name="T26" fmla="*/ 14 w 234"/>
                    <a:gd name="T27" fmla="*/ 234 h 234"/>
                    <a:gd name="T28" fmla="*/ 21 w 234"/>
                    <a:gd name="T29" fmla="*/ 234 h 234"/>
                    <a:gd name="T30" fmla="*/ 28 w 234"/>
                    <a:gd name="T31" fmla="*/ 231 h 234"/>
                    <a:gd name="T32" fmla="*/ 33 w 234"/>
                    <a:gd name="T33" fmla="*/ 226 h 234"/>
                    <a:gd name="T34" fmla="*/ 35 w 234"/>
                    <a:gd name="T35" fmla="*/ 220 h 234"/>
                    <a:gd name="T36" fmla="*/ 37 w 234"/>
                    <a:gd name="T37" fmla="*/ 197 h 234"/>
                    <a:gd name="T38" fmla="*/ 44 w 234"/>
                    <a:gd name="T39" fmla="*/ 163 h 234"/>
                    <a:gd name="T40" fmla="*/ 58 w 234"/>
                    <a:gd name="T41" fmla="*/ 130 h 234"/>
                    <a:gd name="T42" fmla="*/ 78 w 234"/>
                    <a:gd name="T43" fmla="*/ 101 h 234"/>
                    <a:gd name="T44" fmla="*/ 101 w 234"/>
                    <a:gd name="T45" fmla="*/ 77 h 234"/>
                    <a:gd name="T46" fmla="*/ 131 w 234"/>
                    <a:gd name="T47" fmla="*/ 58 h 234"/>
                    <a:gd name="T48" fmla="*/ 163 w 234"/>
                    <a:gd name="T49" fmla="*/ 44 h 234"/>
                    <a:gd name="T50" fmla="*/ 197 w 234"/>
                    <a:gd name="T51" fmla="*/ 36 h 234"/>
                    <a:gd name="T52" fmla="*/ 219 w 234"/>
                    <a:gd name="T53" fmla="*/ 35 h 234"/>
                    <a:gd name="T54" fmla="*/ 226 w 234"/>
                    <a:gd name="T55" fmla="*/ 33 h 234"/>
                    <a:gd name="T56" fmla="*/ 231 w 234"/>
                    <a:gd name="T57" fmla="*/ 28 h 234"/>
                    <a:gd name="T58" fmla="*/ 233 w 234"/>
                    <a:gd name="T59" fmla="*/ 21 h 234"/>
                    <a:gd name="T60" fmla="*/ 233 w 234"/>
                    <a:gd name="T61" fmla="*/ 15 h 234"/>
                    <a:gd name="T62" fmla="*/ 231 w 234"/>
                    <a:gd name="T63" fmla="*/ 8 h 234"/>
                    <a:gd name="T64" fmla="*/ 226 w 234"/>
                    <a:gd name="T65" fmla="*/ 3 h 234"/>
                    <a:gd name="T66" fmla="*/ 219 w 234"/>
                    <a:gd name="T67" fmla="*/ 1 h 2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</a:cxnLst>
                  <a:rect l="0" t="0" r="r" b="b"/>
                  <a:pathLst>
                    <a:path w="234" h="234">
                      <a:moveTo>
                        <a:pt x="216" y="0"/>
                      </a:moveTo>
                      <a:lnTo>
                        <a:pt x="205" y="1"/>
                      </a:lnTo>
                      <a:lnTo>
                        <a:pt x="194" y="1"/>
                      </a:lnTo>
                      <a:lnTo>
                        <a:pt x="183" y="3"/>
                      </a:lnTo>
                      <a:lnTo>
                        <a:pt x="173" y="4"/>
                      </a:lnTo>
                      <a:lnTo>
                        <a:pt x="152" y="9"/>
                      </a:lnTo>
                      <a:lnTo>
                        <a:pt x="132" y="17"/>
                      </a:lnTo>
                      <a:lnTo>
                        <a:pt x="113" y="26"/>
                      </a:lnTo>
                      <a:lnTo>
                        <a:pt x="95" y="36"/>
                      </a:lnTo>
                      <a:lnTo>
                        <a:pt x="79" y="49"/>
                      </a:lnTo>
                      <a:lnTo>
                        <a:pt x="64" y="63"/>
                      </a:lnTo>
                      <a:lnTo>
                        <a:pt x="50" y="78"/>
                      </a:lnTo>
                      <a:lnTo>
                        <a:pt x="37" y="95"/>
                      </a:lnTo>
                      <a:lnTo>
                        <a:pt x="26" y="113"/>
                      </a:lnTo>
                      <a:lnTo>
                        <a:pt x="17" y="131"/>
                      </a:lnTo>
                      <a:lnTo>
                        <a:pt x="10" y="152"/>
                      </a:lnTo>
                      <a:lnTo>
                        <a:pt x="4" y="172"/>
                      </a:lnTo>
                      <a:lnTo>
                        <a:pt x="2" y="183"/>
                      </a:lnTo>
                      <a:lnTo>
                        <a:pt x="1" y="194"/>
                      </a:lnTo>
                      <a:lnTo>
                        <a:pt x="0" y="205"/>
                      </a:lnTo>
                      <a:lnTo>
                        <a:pt x="0" y="216"/>
                      </a:lnTo>
                      <a:lnTo>
                        <a:pt x="0" y="220"/>
                      </a:lnTo>
                      <a:lnTo>
                        <a:pt x="1" y="223"/>
                      </a:lnTo>
                      <a:lnTo>
                        <a:pt x="3" y="226"/>
                      </a:lnTo>
                      <a:lnTo>
                        <a:pt x="5" y="229"/>
                      </a:lnTo>
                      <a:lnTo>
                        <a:pt x="7" y="231"/>
                      </a:lnTo>
                      <a:lnTo>
                        <a:pt x="11" y="233"/>
                      </a:lnTo>
                      <a:lnTo>
                        <a:pt x="14" y="234"/>
                      </a:lnTo>
                      <a:lnTo>
                        <a:pt x="18" y="234"/>
                      </a:lnTo>
                      <a:lnTo>
                        <a:pt x="21" y="234"/>
                      </a:lnTo>
                      <a:lnTo>
                        <a:pt x="25" y="233"/>
                      </a:lnTo>
                      <a:lnTo>
                        <a:pt x="28" y="231"/>
                      </a:lnTo>
                      <a:lnTo>
                        <a:pt x="31" y="229"/>
                      </a:lnTo>
                      <a:lnTo>
                        <a:pt x="33" y="226"/>
                      </a:lnTo>
                      <a:lnTo>
                        <a:pt x="34" y="223"/>
                      </a:lnTo>
                      <a:lnTo>
                        <a:pt x="35" y="220"/>
                      </a:lnTo>
                      <a:lnTo>
                        <a:pt x="35" y="216"/>
                      </a:lnTo>
                      <a:lnTo>
                        <a:pt x="37" y="197"/>
                      </a:lnTo>
                      <a:lnTo>
                        <a:pt x="40" y="180"/>
                      </a:lnTo>
                      <a:lnTo>
                        <a:pt x="44" y="163"/>
                      </a:lnTo>
                      <a:lnTo>
                        <a:pt x="51" y="145"/>
                      </a:lnTo>
                      <a:lnTo>
                        <a:pt x="58" y="130"/>
                      </a:lnTo>
                      <a:lnTo>
                        <a:pt x="67" y="115"/>
                      </a:lnTo>
                      <a:lnTo>
                        <a:pt x="78" y="101"/>
                      </a:lnTo>
                      <a:lnTo>
                        <a:pt x="88" y="88"/>
                      </a:lnTo>
                      <a:lnTo>
                        <a:pt x="101" y="77"/>
                      </a:lnTo>
                      <a:lnTo>
                        <a:pt x="115" y="67"/>
                      </a:lnTo>
                      <a:lnTo>
                        <a:pt x="131" y="58"/>
                      </a:lnTo>
                      <a:lnTo>
                        <a:pt x="146" y="50"/>
                      </a:lnTo>
                      <a:lnTo>
                        <a:pt x="163" y="44"/>
                      </a:lnTo>
                      <a:lnTo>
                        <a:pt x="180" y="40"/>
                      </a:lnTo>
                      <a:lnTo>
                        <a:pt x="197" y="36"/>
                      </a:lnTo>
                      <a:lnTo>
                        <a:pt x="216" y="36"/>
                      </a:lnTo>
                      <a:lnTo>
                        <a:pt x="219" y="35"/>
                      </a:lnTo>
                      <a:lnTo>
                        <a:pt x="223" y="34"/>
                      </a:lnTo>
                      <a:lnTo>
                        <a:pt x="226" y="33"/>
                      </a:lnTo>
                      <a:lnTo>
                        <a:pt x="229" y="31"/>
                      </a:lnTo>
                      <a:lnTo>
                        <a:pt x="231" y="28"/>
                      </a:lnTo>
                      <a:lnTo>
                        <a:pt x="232" y="24"/>
                      </a:lnTo>
                      <a:lnTo>
                        <a:pt x="233" y="21"/>
                      </a:lnTo>
                      <a:lnTo>
                        <a:pt x="234" y="18"/>
                      </a:lnTo>
                      <a:lnTo>
                        <a:pt x="233" y="15"/>
                      </a:lnTo>
                      <a:lnTo>
                        <a:pt x="232" y="10"/>
                      </a:lnTo>
                      <a:lnTo>
                        <a:pt x="231" y="8"/>
                      </a:lnTo>
                      <a:lnTo>
                        <a:pt x="229" y="5"/>
                      </a:lnTo>
                      <a:lnTo>
                        <a:pt x="226" y="3"/>
                      </a:lnTo>
                      <a:lnTo>
                        <a:pt x="223" y="2"/>
                      </a:lnTo>
                      <a:lnTo>
                        <a:pt x="219" y="1"/>
                      </a:lnTo>
                      <a:lnTo>
                        <a:pt x="21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</p:grpSp>
        </p:grpSp>
        <p:sp>
          <p:nvSpPr>
            <p:cNvPr id="50" name="矩形 49"/>
            <p:cNvSpPr/>
            <p:nvPr/>
          </p:nvSpPr>
          <p:spPr>
            <a:xfrm>
              <a:off x="838749" y="3813039"/>
              <a:ext cx="2103668" cy="18524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3678268" y="2171201"/>
            <a:ext cx="2103668" cy="1827078"/>
            <a:chOff x="3678268" y="2171201"/>
            <a:chExt cx="2103668" cy="1827078"/>
          </a:xfrm>
          <a:solidFill>
            <a:schemeClr val="bg1"/>
          </a:solidFill>
        </p:grpSpPr>
        <p:grpSp>
          <p:nvGrpSpPr>
            <p:cNvPr id="9" name="组合 8"/>
            <p:cNvGrpSpPr/>
            <p:nvPr/>
          </p:nvGrpSpPr>
          <p:grpSpPr>
            <a:xfrm>
              <a:off x="3678268" y="2171201"/>
              <a:ext cx="2103668" cy="1662158"/>
              <a:chOff x="3678268" y="2597921"/>
              <a:chExt cx="2103668" cy="1662158"/>
            </a:xfrm>
            <a:grpFill/>
          </p:grpSpPr>
          <p:sp>
            <p:nvSpPr>
              <p:cNvPr id="13" name="Rectangle 33"/>
              <p:cNvSpPr/>
              <p:nvPr/>
            </p:nvSpPr>
            <p:spPr>
              <a:xfrm>
                <a:off x="3678268" y="2597921"/>
                <a:ext cx="2103668" cy="16621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200" kern="12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grpSp>
            <p:nvGrpSpPr>
              <p:cNvPr id="23" name="Group 39"/>
              <p:cNvGrpSpPr/>
              <p:nvPr/>
            </p:nvGrpSpPr>
            <p:grpSpPr>
              <a:xfrm>
                <a:off x="4472987" y="2857956"/>
                <a:ext cx="514231" cy="514231"/>
                <a:chOff x="7171531" y="3646884"/>
                <a:chExt cx="457201" cy="457201"/>
              </a:xfrm>
              <a:grpFill/>
            </p:grpSpPr>
            <p:sp>
              <p:nvSpPr>
                <p:cNvPr id="24" name="Freeform 38"/>
                <p:cNvSpPr>
                  <a:spLocks noEditPoints="1"/>
                </p:cNvSpPr>
                <p:nvPr/>
              </p:nvSpPr>
              <p:spPr bwMode="auto">
                <a:xfrm>
                  <a:off x="7171531" y="3689747"/>
                  <a:ext cx="415925" cy="414338"/>
                </a:xfrm>
                <a:custGeom>
                  <a:avLst/>
                  <a:gdLst>
                    <a:gd name="T0" fmla="*/ 914 w 1049"/>
                    <a:gd name="T1" fmla="*/ 435 h 1043"/>
                    <a:gd name="T2" fmla="*/ 902 w 1049"/>
                    <a:gd name="T3" fmla="*/ 435 h 1043"/>
                    <a:gd name="T4" fmla="*/ 781 w 1049"/>
                    <a:gd name="T5" fmla="*/ 497 h 1043"/>
                    <a:gd name="T6" fmla="*/ 723 w 1049"/>
                    <a:gd name="T7" fmla="*/ 435 h 1043"/>
                    <a:gd name="T8" fmla="*/ 642 w 1049"/>
                    <a:gd name="T9" fmla="*/ 391 h 1043"/>
                    <a:gd name="T10" fmla="*/ 562 w 1049"/>
                    <a:gd name="T11" fmla="*/ 367 h 1043"/>
                    <a:gd name="T12" fmla="*/ 443 w 1049"/>
                    <a:gd name="T13" fmla="*/ 349 h 1043"/>
                    <a:gd name="T14" fmla="*/ 679 w 1049"/>
                    <a:gd name="T15" fmla="*/ 215 h 1043"/>
                    <a:gd name="T16" fmla="*/ 612 w 1049"/>
                    <a:gd name="T17" fmla="*/ 144 h 1043"/>
                    <a:gd name="T18" fmla="*/ 615 w 1049"/>
                    <a:gd name="T19" fmla="*/ 131 h 1043"/>
                    <a:gd name="T20" fmla="*/ 674 w 1049"/>
                    <a:gd name="T21" fmla="*/ 73 h 1043"/>
                    <a:gd name="T22" fmla="*/ 688 w 1049"/>
                    <a:gd name="T23" fmla="*/ 73 h 1043"/>
                    <a:gd name="T24" fmla="*/ 974 w 1049"/>
                    <a:gd name="T25" fmla="*/ 357 h 1043"/>
                    <a:gd name="T26" fmla="*/ 977 w 1049"/>
                    <a:gd name="T27" fmla="*/ 372 h 1043"/>
                    <a:gd name="T28" fmla="*/ 972 w 1049"/>
                    <a:gd name="T29" fmla="*/ 380 h 1043"/>
                    <a:gd name="T30" fmla="*/ 593 w 1049"/>
                    <a:gd name="T31" fmla="*/ 960 h 1043"/>
                    <a:gd name="T32" fmla="*/ 578 w 1049"/>
                    <a:gd name="T33" fmla="*/ 970 h 1043"/>
                    <a:gd name="T34" fmla="*/ 558 w 1049"/>
                    <a:gd name="T35" fmla="*/ 971 h 1043"/>
                    <a:gd name="T36" fmla="*/ 83 w 1049"/>
                    <a:gd name="T37" fmla="*/ 508 h 1043"/>
                    <a:gd name="T38" fmla="*/ 73 w 1049"/>
                    <a:gd name="T39" fmla="*/ 476 h 1043"/>
                    <a:gd name="T40" fmla="*/ 94 w 1049"/>
                    <a:gd name="T41" fmla="*/ 449 h 1043"/>
                    <a:gd name="T42" fmla="*/ 403 w 1049"/>
                    <a:gd name="T43" fmla="*/ 380 h 1043"/>
                    <a:gd name="T44" fmla="*/ 572 w 1049"/>
                    <a:gd name="T45" fmla="*/ 406 h 1043"/>
                    <a:gd name="T46" fmla="*/ 642 w 1049"/>
                    <a:gd name="T47" fmla="*/ 430 h 1043"/>
                    <a:gd name="T48" fmla="*/ 700 w 1049"/>
                    <a:gd name="T49" fmla="*/ 461 h 1043"/>
                    <a:gd name="T50" fmla="*/ 756 w 1049"/>
                    <a:gd name="T51" fmla="*/ 509 h 1043"/>
                    <a:gd name="T52" fmla="*/ 737 w 1049"/>
                    <a:gd name="T53" fmla="*/ 21 h 1043"/>
                    <a:gd name="T54" fmla="*/ 707 w 1049"/>
                    <a:gd name="T55" fmla="*/ 3 h 1043"/>
                    <a:gd name="T56" fmla="*/ 671 w 1049"/>
                    <a:gd name="T57" fmla="*/ 0 h 1043"/>
                    <a:gd name="T58" fmla="*/ 638 w 1049"/>
                    <a:gd name="T59" fmla="*/ 11 h 1043"/>
                    <a:gd name="T60" fmla="*/ 567 w 1049"/>
                    <a:gd name="T61" fmla="*/ 77 h 1043"/>
                    <a:gd name="T62" fmla="*/ 547 w 1049"/>
                    <a:gd name="T63" fmla="*/ 106 h 1043"/>
                    <a:gd name="T64" fmla="*/ 540 w 1049"/>
                    <a:gd name="T65" fmla="*/ 140 h 1043"/>
                    <a:gd name="T66" fmla="*/ 554 w 1049"/>
                    <a:gd name="T67" fmla="*/ 188 h 1043"/>
                    <a:gd name="T68" fmla="*/ 32 w 1049"/>
                    <a:gd name="T69" fmla="*/ 406 h 1043"/>
                    <a:gd name="T70" fmla="*/ 5 w 1049"/>
                    <a:gd name="T71" fmla="*/ 449 h 1043"/>
                    <a:gd name="T72" fmla="*/ 2 w 1049"/>
                    <a:gd name="T73" fmla="*/ 502 h 1043"/>
                    <a:gd name="T74" fmla="*/ 23 w 1049"/>
                    <a:gd name="T75" fmla="*/ 550 h 1043"/>
                    <a:gd name="T76" fmla="*/ 506 w 1049"/>
                    <a:gd name="T77" fmla="*/ 1025 h 1043"/>
                    <a:gd name="T78" fmla="*/ 543 w 1049"/>
                    <a:gd name="T79" fmla="*/ 1041 h 1043"/>
                    <a:gd name="T80" fmla="*/ 567 w 1049"/>
                    <a:gd name="T81" fmla="*/ 1043 h 1043"/>
                    <a:gd name="T82" fmla="*/ 613 w 1049"/>
                    <a:gd name="T83" fmla="*/ 1032 h 1043"/>
                    <a:gd name="T84" fmla="*/ 654 w 1049"/>
                    <a:gd name="T85" fmla="*/ 999 h 1043"/>
                    <a:gd name="T86" fmla="*/ 870 w 1049"/>
                    <a:gd name="T87" fmla="*/ 500 h 1043"/>
                    <a:gd name="T88" fmla="*/ 917 w 1049"/>
                    <a:gd name="T89" fmla="*/ 509 h 1043"/>
                    <a:gd name="T90" fmla="*/ 950 w 1049"/>
                    <a:gd name="T91" fmla="*/ 498 h 1043"/>
                    <a:gd name="T92" fmla="*/ 1022 w 1049"/>
                    <a:gd name="T93" fmla="*/ 432 h 1043"/>
                    <a:gd name="T94" fmla="*/ 1042 w 1049"/>
                    <a:gd name="T95" fmla="*/ 403 h 1043"/>
                    <a:gd name="T96" fmla="*/ 1049 w 1049"/>
                    <a:gd name="T97" fmla="*/ 368 h 1043"/>
                    <a:gd name="T98" fmla="*/ 1042 w 1049"/>
                    <a:gd name="T99" fmla="*/ 334 h 1043"/>
                    <a:gd name="T100" fmla="*/ 1022 w 1049"/>
                    <a:gd name="T101" fmla="*/ 305 h 104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049" h="1043">
                      <a:moveTo>
                        <a:pt x="972" y="380"/>
                      </a:moveTo>
                      <a:lnTo>
                        <a:pt x="921" y="432"/>
                      </a:lnTo>
                      <a:lnTo>
                        <a:pt x="918" y="434"/>
                      </a:lnTo>
                      <a:lnTo>
                        <a:pt x="914" y="435"/>
                      </a:lnTo>
                      <a:lnTo>
                        <a:pt x="911" y="436"/>
                      </a:lnTo>
                      <a:lnTo>
                        <a:pt x="908" y="436"/>
                      </a:lnTo>
                      <a:lnTo>
                        <a:pt x="905" y="436"/>
                      </a:lnTo>
                      <a:lnTo>
                        <a:pt x="902" y="435"/>
                      </a:lnTo>
                      <a:lnTo>
                        <a:pt x="898" y="434"/>
                      </a:lnTo>
                      <a:lnTo>
                        <a:pt x="895" y="432"/>
                      </a:lnTo>
                      <a:lnTo>
                        <a:pt x="831" y="368"/>
                      </a:lnTo>
                      <a:lnTo>
                        <a:pt x="781" y="497"/>
                      </a:lnTo>
                      <a:lnTo>
                        <a:pt x="785" y="486"/>
                      </a:lnTo>
                      <a:lnTo>
                        <a:pt x="764" y="467"/>
                      </a:lnTo>
                      <a:lnTo>
                        <a:pt x="744" y="450"/>
                      </a:lnTo>
                      <a:lnTo>
                        <a:pt x="723" y="435"/>
                      </a:lnTo>
                      <a:lnTo>
                        <a:pt x="703" y="421"/>
                      </a:lnTo>
                      <a:lnTo>
                        <a:pt x="682" y="409"/>
                      </a:lnTo>
                      <a:lnTo>
                        <a:pt x="663" y="400"/>
                      </a:lnTo>
                      <a:lnTo>
                        <a:pt x="642" y="391"/>
                      </a:lnTo>
                      <a:lnTo>
                        <a:pt x="622" y="383"/>
                      </a:lnTo>
                      <a:lnTo>
                        <a:pt x="602" y="377"/>
                      </a:lnTo>
                      <a:lnTo>
                        <a:pt x="582" y="372"/>
                      </a:lnTo>
                      <a:lnTo>
                        <a:pt x="562" y="367"/>
                      </a:lnTo>
                      <a:lnTo>
                        <a:pt x="543" y="363"/>
                      </a:lnTo>
                      <a:lnTo>
                        <a:pt x="504" y="357"/>
                      </a:lnTo>
                      <a:lnTo>
                        <a:pt x="466" y="352"/>
                      </a:lnTo>
                      <a:lnTo>
                        <a:pt x="443" y="349"/>
                      </a:lnTo>
                      <a:lnTo>
                        <a:pt x="420" y="346"/>
                      </a:lnTo>
                      <a:lnTo>
                        <a:pt x="396" y="342"/>
                      </a:lnTo>
                      <a:lnTo>
                        <a:pt x="373" y="338"/>
                      </a:lnTo>
                      <a:lnTo>
                        <a:pt x="679" y="215"/>
                      </a:lnTo>
                      <a:lnTo>
                        <a:pt x="617" y="153"/>
                      </a:lnTo>
                      <a:lnTo>
                        <a:pt x="615" y="150"/>
                      </a:lnTo>
                      <a:lnTo>
                        <a:pt x="613" y="148"/>
                      </a:lnTo>
                      <a:lnTo>
                        <a:pt x="612" y="144"/>
                      </a:lnTo>
                      <a:lnTo>
                        <a:pt x="612" y="140"/>
                      </a:lnTo>
                      <a:lnTo>
                        <a:pt x="612" y="137"/>
                      </a:lnTo>
                      <a:lnTo>
                        <a:pt x="613" y="134"/>
                      </a:lnTo>
                      <a:lnTo>
                        <a:pt x="615" y="131"/>
                      </a:lnTo>
                      <a:lnTo>
                        <a:pt x="617" y="129"/>
                      </a:lnTo>
                      <a:lnTo>
                        <a:pt x="668" y="77"/>
                      </a:lnTo>
                      <a:lnTo>
                        <a:pt x="671" y="75"/>
                      </a:lnTo>
                      <a:lnTo>
                        <a:pt x="674" y="73"/>
                      </a:lnTo>
                      <a:lnTo>
                        <a:pt x="678" y="72"/>
                      </a:lnTo>
                      <a:lnTo>
                        <a:pt x="681" y="71"/>
                      </a:lnTo>
                      <a:lnTo>
                        <a:pt x="684" y="72"/>
                      </a:lnTo>
                      <a:lnTo>
                        <a:pt x="688" y="73"/>
                      </a:lnTo>
                      <a:lnTo>
                        <a:pt x="691" y="75"/>
                      </a:lnTo>
                      <a:lnTo>
                        <a:pt x="693" y="77"/>
                      </a:lnTo>
                      <a:lnTo>
                        <a:pt x="972" y="355"/>
                      </a:lnTo>
                      <a:lnTo>
                        <a:pt x="974" y="357"/>
                      </a:lnTo>
                      <a:lnTo>
                        <a:pt x="976" y="361"/>
                      </a:lnTo>
                      <a:lnTo>
                        <a:pt x="977" y="364"/>
                      </a:lnTo>
                      <a:lnTo>
                        <a:pt x="977" y="368"/>
                      </a:lnTo>
                      <a:lnTo>
                        <a:pt x="977" y="372"/>
                      </a:lnTo>
                      <a:lnTo>
                        <a:pt x="976" y="375"/>
                      </a:lnTo>
                      <a:lnTo>
                        <a:pt x="974" y="378"/>
                      </a:lnTo>
                      <a:lnTo>
                        <a:pt x="972" y="380"/>
                      </a:lnTo>
                      <a:lnTo>
                        <a:pt x="972" y="380"/>
                      </a:lnTo>
                      <a:close/>
                      <a:moveTo>
                        <a:pt x="600" y="949"/>
                      </a:moveTo>
                      <a:lnTo>
                        <a:pt x="598" y="953"/>
                      </a:lnTo>
                      <a:lnTo>
                        <a:pt x="596" y="957"/>
                      </a:lnTo>
                      <a:lnTo>
                        <a:pt x="593" y="960"/>
                      </a:lnTo>
                      <a:lnTo>
                        <a:pt x="589" y="963"/>
                      </a:lnTo>
                      <a:lnTo>
                        <a:pt x="586" y="966"/>
                      </a:lnTo>
                      <a:lnTo>
                        <a:pt x="582" y="968"/>
                      </a:lnTo>
                      <a:lnTo>
                        <a:pt x="578" y="970"/>
                      </a:lnTo>
                      <a:lnTo>
                        <a:pt x="573" y="971"/>
                      </a:lnTo>
                      <a:lnTo>
                        <a:pt x="569" y="972"/>
                      </a:lnTo>
                      <a:lnTo>
                        <a:pt x="566" y="972"/>
                      </a:lnTo>
                      <a:lnTo>
                        <a:pt x="558" y="971"/>
                      </a:lnTo>
                      <a:lnTo>
                        <a:pt x="552" y="969"/>
                      </a:lnTo>
                      <a:lnTo>
                        <a:pt x="546" y="966"/>
                      </a:lnTo>
                      <a:lnTo>
                        <a:pt x="541" y="961"/>
                      </a:lnTo>
                      <a:lnTo>
                        <a:pt x="83" y="508"/>
                      </a:lnTo>
                      <a:lnTo>
                        <a:pt x="77" y="501"/>
                      </a:lnTo>
                      <a:lnTo>
                        <a:pt x="73" y="494"/>
                      </a:lnTo>
                      <a:lnTo>
                        <a:pt x="72" y="485"/>
                      </a:lnTo>
                      <a:lnTo>
                        <a:pt x="73" y="476"/>
                      </a:lnTo>
                      <a:lnTo>
                        <a:pt x="75" y="468"/>
                      </a:lnTo>
                      <a:lnTo>
                        <a:pt x="80" y="460"/>
                      </a:lnTo>
                      <a:lnTo>
                        <a:pt x="86" y="454"/>
                      </a:lnTo>
                      <a:lnTo>
                        <a:pt x="94" y="449"/>
                      </a:lnTo>
                      <a:lnTo>
                        <a:pt x="317" y="360"/>
                      </a:lnTo>
                      <a:lnTo>
                        <a:pt x="345" y="368"/>
                      </a:lnTo>
                      <a:lnTo>
                        <a:pt x="374" y="375"/>
                      </a:lnTo>
                      <a:lnTo>
                        <a:pt x="403" y="380"/>
                      </a:lnTo>
                      <a:lnTo>
                        <a:pt x="431" y="384"/>
                      </a:lnTo>
                      <a:lnTo>
                        <a:pt x="487" y="391"/>
                      </a:lnTo>
                      <a:lnTo>
                        <a:pt x="544" y="400"/>
                      </a:lnTo>
                      <a:lnTo>
                        <a:pt x="572" y="406"/>
                      </a:lnTo>
                      <a:lnTo>
                        <a:pt x="600" y="414"/>
                      </a:lnTo>
                      <a:lnTo>
                        <a:pt x="614" y="418"/>
                      </a:lnTo>
                      <a:lnTo>
                        <a:pt x="628" y="423"/>
                      </a:lnTo>
                      <a:lnTo>
                        <a:pt x="642" y="430"/>
                      </a:lnTo>
                      <a:lnTo>
                        <a:pt x="656" y="436"/>
                      </a:lnTo>
                      <a:lnTo>
                        <a:pt x="670" y="444"/>
                      </a:lnTo>
                      <a:lnTo>
                        <a:pt x="686" y="453"/>
                      </a:lnTo>
                      <a:lnTo>
                        <a:pt x="700" y="461"/>
                      </a:lnTo>
                      <a:lnTo>
                        <a:pt x="714" y="472"/>
                      </a:lnTo>
                      <a:lnTo>
                        <a:pt x="728" y="483"/>
                      </a:lnTo>
                      <a:lnTo>
                        <a:pt x="742" y="495"/>
                      </a:lnTo>
                      <a:lnTo>
                        <a:pt x="756" y="509"/>
                      </a:lnTo>
                      <a:lnTo>
                        <a:pt x="770" y="523"/>
                      </a:lnTo>
                      <a:lnTo>
                        <a:pt x="600" y="949"/>
                      </a:lnTo>
                      <a:close/>
                      <a:moveTo>
                        <a:pt x="745" y="26"/>
                      </a:moveTo>
                      <a:lnTo>
                        <a:pt x="737" y="21"/>
                      </a:lnTo>
                      <a:lnTo>
                        <a:pt x="731" y="15"/>
                      </a:lnTo>
                      <a:lnTo>
                        <a:pt x="723" y="11"/>
                      </a:lnTo>
                      <a:lnTo>
                        <a:pt x="716" y="6"/>
                      </a:lnTo>
                      <a:lnTo>
                        <a:pt x="707" y="3"/>
                      </a:lnTo>
                      <a:lnTo>
                        <a:pt x="698" y="1"/>
                      </a:lnTo>
                      <a:lnTo>
                        <a:pt x="690" y="0"/>
                      </a:lnTo>
                      <a:lnTo>
                        <a:pt x="681" y="0"/>
                      </a:lnTo>
                      <a:lnTo>
                        <a:pt x="671" y="0"/>
                      </a:lnTo>
                      <a:lnTo>
                        <a:pt x="663" y="1"/>
                      </a:lnTo>
                      <a:lnTo>
                        <a:pt x="654" y="3"/>
                      </a:lnTo>
                      <a:lnTo>
                        <a:pt x="647" y="6"/>
                      </a:lnTo>
                      <a:lnTo>
                        <a:pt x="638" y="11"/>
                      </a:lnTo>
                      <a:lnTo>
                        <a:pt x="630" y="15"/>
                      </a:lnTo>
                      <a:lnTo>
                        <a:pt x="624" y="21"/>
                      </a:lnTo>
                      <a:lnTo>
                        <a:pt x="617" y="26"/>
                      </a:lnTo>
                      <a:lnTo>
                        <a:pt x="567" y="77"/>
                      </a:lnTo>
                      <a:lnTo>
                        <a:pt x="560" y="83"/>
                      </a:lnTo>
                      <a:lnTo>
                        <a:pt x="555" y="91"/>
                      </a:lnTo>
                      <a:lnTo>
                        <a:pt x="551" y="98"/>
                      </a:lnTo>
                      <a:lnTo>
                        <a:pt x="547" y="106"/>
                      </a:lnTo>
                      <a:lnTo>
                        <a:pt x="544" y="114"/>
                      </a:lnTo>
                      <a:lnTo>
                        <a:pt x="542" y="123"/>
                      </a:lnTo>
                      <a:lnTo>
                        <a:pt x="541" y="132"/>
                      </a:lnTo>
                      <a:lnTo>
                        <a:pt x="540" y="140"/>
                      </a:lnTo>
                      <a:lnTo>
                        <a:pt x="541" y="153"/>
                      </a:lnTo>
                      <a:lnTo>
                        <a:pt x="543" y="165"/>
                      </a:lnTo>
                      <a:lnTo>
                        <a:pt x="547" y="177"/>
                      </a:lnTo>
                      <a:lnTo>
                        <a:pt x="554" y="188"/>
                      </a:lnTo>
                      <a:lnTo>
                        <a:pt x="65" y="383"/>
                      </a:lnTo>
                      <a:lnTo>
                        <a:pt x="53" y="390"/>
                      </a:lnTo>
                      <a:lnTo>
                        <a:pt x="42" y="397"/>
                      </a:lnTo>
                      <a:lnTo>
                        <a:pt x="32" y="406"/>
                      </a:lnTo>
                      <a:lnTo>
                        <a:pt x="23" y="416"/>
                      </a:lnTo>
                      <a:lnTo>
                        <a:pt x="16" y="426"/>
                      </a:lnTo>
                      <a:lnTo>
                        <a:pt x="9" y="437"/>
                      </a:lnTo>
                      <a:lnTo>
                        <a:pt x="5" y="449"/>
                      </a:lnTo>
                      <a:lnTo>
                        <a:pt x="2" y="462"/>
                      </a:lnTo>
                      <a:lnTo>
                        <a:pt x="0" y="475"/>
                      </a:lnTo>
                      <a:lnTo>
                        <a:pt x="0" y="489"/>
                      </a:lnTo>
                      <a:lnTo>
                        <a:pt x="2" y="502"/>
                      </a:lnTo>
                      <a:lnTo>
                        <a:pt x="5" y="514"/>
                      </a:lnTo>
                      <a:lnTo>
                        <a:pt x="9" y="527"/>
                      </a:lnTo>
                      <a:lnTo>
                        <a:pt x="16" y="538"/>
                      </a:lnTo>
                      <a:lnTo>
                        <a:pt x="23" y="550"/>
                      </a:lnTo>
                      <a:lnTo>
                        <a:pt x="32" y="559"/>
                      </a:lnTo>
                      <a:lnTo>
                        <a:pt x="490" y="1012"/>
                      </a:lnTo>
                      <a:lnTo>
                        <a:pt x="498" y="1020"/>
                      </a:lnTo>
                      <a:lnTo>
                        <a:pt x="506" y="1025"/>
                      </a:lnTo>
                      <a:lnTo>
                        <a:pt x="515" y="1030"/>
                      </a:lnTo>
                      <a:lnTo>
                        <a:pt x="524" y="1035"/>
                      </a:lnTo>
                      <a:lnTo>
                        <a:pt x="533" y="1039"/>
                      </a:lnTo>
                      <a:lnTo>
                        <a:pt x="543" y="1041"/>
                      </a:lnTo>
                      <a:lnTo>
                        <a:pt x="553" y="1043"/>
                      </a:lnTo>
                      <a:lnTo>
                        <a:pt x="563" y="1043"/>
                      </a:lnTo>
                      <a:lnTo>
                        <a:pt x="565" y="1043"/>
                      </a:lnTo>
                      <a:lnTo>
                        <a:pt x="567" y="1043"/>
                      </a:lnTo>
                      <a:lnTo>
                        <a:pt x="578" y="1043"/>
                      </a:lnTo>
                      <a:lnTo>
                        <a:pt x="588" y="1041"/>
                      </a:lnTo>
                      <a:lnTo>
                        <a:pt x="601" y="1038"/>
                      </a:lnTo>
                      <a:lnTo>
                        <a:pt x="613" y="1032"/>
                      </a:lnTo>
                      <a:lnTo>
                        <a:pt x="625" y="1026"/>
                      </a:lnTo>
                      <a:lnTo>
                        <a:pt x="636" y="1018"/>
                      </a:lnTo>
                      <a:lnTo>
                        <a:pt x="646" y="1010"/>
                      </a:lnTo>
                      <a:lnTo>
                        <a:pt x="654" y="999"/>
                      </a:lnTo>
                      <a:lnTo>
                        <a:pt x="661" y="988"/>
                      </a:lnTo>
                      <a:lnTo>
                        <a:pt x="666" y="975"/>
                      </a:lnTo>
                      <a:lnTo>
                        <a:pt x="858" y="495"/>
                      </a:lnTo>
                      <a:lnTo>
                        <a:pt x="870" y="500"/>
                      </a:lnTo>
                      <a:lnTo>
                        <a:pt x="882" y="505"/>
                      </a:lnTo>
                      <a:lnTo>
                        <a:pt x="895" y="508"/>
                      </a:lnTo>
                      <a:lnTo>
                        <a:pt x="908" y="509"/>
                      </a:lnTo>
                      <a:lnTo>
                        <a:pt x="917" y="509"/>
                      </a:lnTo>
                      <a:lnTo>
                        <a:pt x="925" y="508"/>
                      </a:lnTo>
                      <a:lnTo>
                        <a:pt x="934" y="505"/>
                      </a:lnTo>
                      <a:lnTo>
                        <a:pt x="943" y="502"/>
                      </a:lnTo>
                      <a:lnTo>
                        <a:pt x="950" y="498"/>
                      </a:lnTo>
                      <a:lnTo>
                        <a:pt x="958" y="494"/>
                      </a:lnTo>
                      <a:lnTo>
                        <a:pt x="965" y="488"/>
                      </a:lnTo>
                      <a:lnTo>
                        <a:pt x="972" y="483"/>
                      </a:lnTo>
                      <a:lnTo>
                        <a:pt x="1022" y="432"/>
                      </a:lnTo>
                      <a:lnTo>
                        <a:pt x="1029" y="426"/>
                      </a:lnTo>
                      <a:lnTo>
                        <a:pt x="1033" y="418"/>
                      </a:lnTo>
                      <a:lnTo>
                        <a:pt x="1039" y="410"/>
                      </a:lnTo>
                      <a:lnTo>
                        <a:pt x="1042" y="403"/>
                      </a:lnTo>
                      <a:lnTo>
                        <a:pt x="1045" y="394"/>
                      </a:lnTo>
                      <a:lnTo>
                        <a:pt x="1047" y="386"/>
                      </a:lnTo>
                      <a:lnTo>
                        <a:pt x="1048" y="377"/>
                      </a:lnTo>
                      <a:lnTo>
                        <a:pt x="1049" y="368"/>
                      </a:lnTo>
                      <a:lnTo>
                        <a:pt x="1048" y="359"/>
                      </a:lnTo>
                      <a:lnTo>
                        <a:pt x="1047" y="350"/>
                      </a:lnTo>
                      <a:lnTo>
                        <a:pt x="1045" y="341"/>
                      </a:lnTo>
                      <a:lnTo>
                        <a:pt x="1042" y="334"/>
                      </a:lnTo>
                      <a:lnTo>
                        <a:pt x="1039" y="325"/>
                      </a:lnTo>
                      <a:lnTo>
                        <a:pt x="1034" y="318"/>
                      </a:lnTo>
                      <a:lnTo>
                        <a:pt x="1029" y="311"/>
                      </a:lnTo>
                      <a:lnTo>
                        <a:pt x="1022" y="305"/>
                      </a:lnTo>
                      <a:lnTo>
                        <a:pt x="745" y="26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25" name="Freeform 39"/>
                <p:cNvSpPr>
                  <a:spLocks noEditPoints="1"/>
                </p:cNvSpPr>
                <p:nvPr/>
              </p:nvSpPr>
              <p:spPr bwMode="auto">
                <a:xfrm>
                  <a:off x="7371556" y="3875484"/>
                  <a:ext cx="71438" cy="71438"/>
                </a:xfrm>
                <a:custGeom>
                  <a:avLst/>
                  <a:gdLst>
                    <a:gd name="T0" fmla="*/ 95 w 180"/>
                    <a:gd name="T1" fmla="*/ 36 h 180"/>
                    <a:gd name="T2" fmla="*/ 106 w 180"/>
                    <a:gd name="T3" fmla="*/ 39 h 180"/>
                    <a:gd name="T4" fmla="*/ 120 w 180"/>
                    <a:gd name="T5" fmla="*/ 45 h 180"/>
                    <a:gd name="T6" fmla="*/ 135 w 180"/>
                    <a:gd name="T7" fmla="*/ 59 h 180"/>
                    <a:gd name="T8" fmla="*/ 142 w 180"/>
                    <a:gd name="T9" fmla="*/ 74 h 180"/>
                    <a:gd name="T10" fmla="*/ 144 w 180"/>
                    <a:gd name="T11" fmla="*/ 84 h 180"/>
                    <a:gd name="T12" fmla="*/ 144 w 180"/>
                    <a:gd name="T13" fmla="*/ 96 h 180"/>
                    <a:gd name="T14" fmla="*/ 142 w 180"/>
                    <a:gd name="T15" fmla="*/ 105 h 180"/>
                    <a:gd name="T16" fmla="*/ 135 w 180"/>
                    <a:gd name="T17" fmla="*/ 120 h 180"/>
                    <a:gd name="T18" fmla="*/ 120 w 180"/>
                    <a:gd name="T19" fmla="*/ 135 h 180"/>
                    <a:gd name="T20" fmla="*/ 106 w 180"/>
                    <a:gd name="T21" fmla="*/ 141 h 180"/>
                    <a:gd name="T22" fmla="*/ 95 w 180"/>
                    <a:gd name="T23" fmla="*/ 143 h 180"/>
                    <a:gd name="T24" fmla="*/ 84 w 180"/>
                    <a:gd name="T25" fmla="*/ 143 h 180"/>
                    <a:gd name="T26" fmla="*/ 74 w 180"/>
                    <a:gd name="T27" fmla="*/ 141 h 180"/>
                    <a:gd name="T28" fmla="*/ 59 w 180"/>
                    <a:gd name="T29" fmla="*/ 135 h 180"/>
                    <a:gd name="T30" fmla="*/ 45 w 180"/>
                    <a:gd name="T31" fmla="*/ 120 h 180"/>
                    <a:gd name="T32" fmla="*/ 39 w 180"/>
                    <a:gd name="T33" fmla="*/ 105 h 180"/>
                    <a:gd name="T34" fmla="*/ 37 w 180"/>
                    <a:gd name="T35" fmla="*/ 96 h 180"/>
                    <a:gd name="T36" fmla="*/ 37 w 180"/>
                    <a:gd name="T37" fmla="*/ 84 h 180"/>
                    <a:gd name="T38" fmla="*/ 39 w 180"/>
                    <a:gd name="T39" fmla="*/ 74 h 180"/>
                    <a:gd name="T40" fmla="*/ 45 w 180"/>
                    <a:gd name="T41" fmla="*/ 59 h 180"/>
                    <a:gd name="T42" fmla="*/ 59 w 180"/>
                    <a:gd name="T43" fmla="*/ 45 h 180"/>
                    <a:gd name="T44" fmla="*/ 74 w 180"/>
                    <a:gd name="T45" fmla="*/ 39 h 180"/>
                    <a:gd name="T46" fmla="*/ 84 w 180"/>
                    <a:gd name="T47" fmla="*/ 36 h 180"/>
                    <a:gd name="T48" fmla="*/ 90 w 180"/>
                    <a:gd name="T49" fmla="*/ 180 h 180"/>
                    <a:gd name="T50" fmla="*/ 108 w 180"/>
                    <a:gd name="T51" fmla="*/ 178 h 180"/>
                    <a:gd name="T52" fmla="*/ 125 w 180"/>
                    <a:gd name="T53" fmla="*/ 172 h 180"/>
                    <a:gd name="T54" fmla="*/ 140 w 180"/>
                    <a:gd name="T55" fmla="*/ 165 h 180"/>
                    <a:gd name="T56" fmla="*/ 153 w 180"/>
                    <a:gd name="T57" fmla="*/ 153 h 180"/>
                    <a:gd name="T58" fmla="*/ 164 w 180"/>
                    <a:gd name="T59" fmla="*/ 140 h 180"/>
                    <a:gd name="T60" fmla="*/ 173 w 180"/>
                    <a:gd name="T61" fmla="*/ 125 h 180"/>
                    <a:gd name="T62" fmla="*/ 178 w 180"/>
                    <a:gd name="T63" fmla="*/ 108 h 180"/>
                    <a:gd name="T64" fmla="*/ 180 w 180"/>
                    <a:gd name="T65" fmla="*/ 89 h 180"/>
                    <a:gd name="T66" fmla="*/ 178 w 180"/>
                    <a:gd name="T67" fmla="*/ 72 h 180"/>
                    <a:gd name="T68" fmla="*/ 173 w 180"/>
                    <a:gd name="T69" fmla="*/ 55 h 180"/>
                    <a:gd name="T70" fmla="*/ 164 w 180"/>
                    <a:gd name="T71" fmla="*/ 40 h 180"/>
                    <a:gd name="T72" fmla="*/ 153 w 180"/>
                    <a:gd name="T73" fmla="*/ 27 h 180"/>
                    <a:gd name="T74" fmla="*/ 140 w 180"/>
                    <a:gd name="T75" fmla="*/ 15 h 180"/>
                    <a:gd name="T76" fmla="*/ 125 w 180"/>
                    <a:gd name="T77" fmla="*/ 7 h 180"/>
                    <a:gd name="T78" fmla="*/ 108 w 180"/>
                    <a:gd name="T79" fmla="*/ 2 h 180"/>
                    <a:gd name="T80" fmla="*/ 90 w 180"/>
                    <a:gd name="T81" fmla="*/ 0 h 180"/>
                    <a:gd name="T82" fmla="*/ 71 w 180"/>
                    <a:gd name="T83" fmla="*/ 2 h 180"/>
                    <a:gd name="T84" fmla="*/ 55 w 180"/>
                    <a:gd name="T85" fmla="*/ 7 h 180"/>
                    <a:gd name="T86" fmla="*/ 40 w 180"/>
                    <a:gd name="T87" fmla="*/ 15 h 180"/>
                    <a:gd name="T88" fmla="*/ 26 w 180"/>
                    <a:gd name="T89" fmla="*/ 27 h 180"/>
                    <a:gd name="T90" fmla="*/ 15 w 180"/>
                    <a:gd name="T91" fmla="*/ 40 h 180"/>
                    <a:gd name="T92" fmla="*/ 7 w 180"/>
                    <a:gd name="T93" fmla="*/ 55 h 180"/>
                    <a:gd name="T94" fmla="*/ 2 w 180"/>
                    <a:gd name="T95" fmla="*/ 72 h 180"/>
                    <a:gd name="T96" fmla="*/ 0 w 180"/>
                    <a:gd name="T97" fmla="*/ 89 h 180"/>
                    <a:gd name="T98" fmla="*/ 2 w 180"/>
                    <a:gd name="T99" fmla="*/ 108 h 180"/>
                    <a:gd name="T100" fmla="*/ 7 w 180"/>
                    <a:gd name="T101" fmla="*/ 125 h 180"/>
                    <a:gd name="T102" fmla="*/ 15 w 180"/>
                    <a:gd name="T103" fmla="*/ 140 h 180"/>
                    <a:gd name="T104" fmla="*/ 26 w 180"/>
                    <a:gd name="T105" fmla="*/ 153 h 180"/>
                    <a:gd name="T106" fmla="*/ 40 w 180"/>
                    <a:gd name="T107" fmla="*/ 165 h 180"/>
                    <a:gd name="T108" fmla="*/ 55 w 180"/>
                    <a:gd name="T109" fmla="*/ 172 h 180"/>
                    <a:gd name="T110" fmla="*/ 71 w 180"/>
                    <a:gd name="T111" fmla="*/ 178 h 180"/>
                    <a:gd name="T112" fmla="*/ 90 w 180"/>
                    <a:gd name="T113" fmla="*/ 180 h 1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0" h="180">
                      <a:moveTo>
                        <a:pt x="90" y="35"/>
                      </a:moveTo>
                      <a:lnTo>
                        <a:pt x="95" y="36"/>
                      </a:lnTo>
                      <a:lnTo>
                        <a:pt x="101" y="36"/>
                      </a:lnTo>
                      <a:lnTo>
                        <a:pt x="106" y="39"/>
                      </a:lnTo>
                      <a:lnTo>
                        <a:pt x="111" y="40"/>
                      </a:lnTo>
                      <a:lnTo>
                        <a:pt x="120" y="45"/>
                      </a:lnTo>
                      <a:lnTo>
                        <a:pt x="129" y="51"/>
                      </a:lnTo>
                      <a:lnTo>
                        <a:pt x="135" y="59"/>
                      </a:lnTo>
                      <a:lnTo>
                        <a:pt x="139" y="69"/>
                      </a:lnTo>
                      <a:lnTo>
                        <a:pt x="142" y="74"/>
                      </a:lnTo>
                      <a:lnTo>
                        <a:pt x="143" y="78"/>
                      </a:lnTo>
                      <a:lnTo>
                        <a:pt x="144" y="84"/>
                      </a:lnTo>
                      <a:lnTo>
                        <a:pt x="144" y="89"/>
                      </a:lnTo>
                      <a:lnTo>
                        <a:pt x="144" y="96"/>
                      </a:lnTo>
                      <a:lnTo>
                        <a:pt x="143" y="101"/>
                      </a:lnTo>
                      <a:lnTo>
                        <a:pt x="142" y="105"/>
                      </a:lnTo>
                      <a:lnTo>
                        <a:pt x="139" y="111"/>
                      </a:lnTo>
                      <a:lnTo>
                        <a:pt x="135" y="120"/>
                      </a:lnTo>
                      <a:lnTo>
                        <a:pt x="129" y="128"/>
                      </a:lnTo>
                      <a:lnTo>
                        <a:pt x="120" y="135"/>
                      </a:lnTo>
                      <a:lnTo>
                        <a:pt x="111" y="139"/>
                      </a:lnTo>
                      <a:lnTo>
                        <a:pt x="106" y="141"/>
                      </a:lnTo>
                      <a:lnTo>
                        <a:pt x="101" y="142"/>
                      </a:lnTo>
                      <a:lnTo>
                        <a:pt x="95" y="143"/>
                      </a:lnTo>
                      <a:lnTo>
                        <a:pt x="90" y="143"/>
                      </a:lnTo>
                      <a:lnTo>
                        <a:pt x="84" y="143"/>
                      </a:lnTo>
                      <a:lnTo>
                        <a:pt x="79" y="142"/>
                      </a:lnTo>
                      <a:lnTo>
                        <a:pt x="74" y="141"/>
                      </a:lnTo>
                      <a:lnTo>
                        <a:pt x="69" y="139"/>
                      </a:lnTo>
                      <a:lnTo>
                        <a:pt x="59" y="135"/>
                      </a:lnTo>
                      <a:lnTo>
                        <a:pt x="52" y="128"/>
                      </a:lnTo>
                      <a:lnTo>
                        <a:pt x="45" y="120"/>
                      </a:lnTo>
                      <a:lnTo>
                        <a:pt x="40" y="111"/>
                      </a:lnTo>
                      <a:lnTo>
                        <a:pt x="39" y="105"/>
                      </a:lnTo>
                      <a:lnTo>
                        <a:pt x="37" y="101"/>
                      </a:lnTo>
                      <a:lnTo>
                        <a:pt x="37" y="96"/>
                      </a:lnTo>
                      <a:lnTo>
                        <a:pt x="36" y="89"/>
                      </a:lnTo>
                      <a:lnTo>
                        <a:pt x="37" y="84"/>
                      </a:lnTo>
                      <a:lnTo>
                        <a:pt x="37" y="78"/>
                      </a:lnTo>
                      <a:lnTo>
                        <a:pt x="39" y="74"/>
                      </a:lnTo>
                      <a:lnTo>
                        <a:pt x="40" y="69"/>
                      </a:lnTo>
                      <a:lnTo>
                        <a:pt x="45" y="59"/>
                      </a:lnTo>
                      <a:lnTo>
                        <a:pt x="52" y="51"/>
                      </a:lnTo>
                      <a:lnTo>
                        <a:pt x="59" y="45"/>
                      </a:lnTo>
                      <a:lnTo>
                        <a:pt x="69" y="40"/>
                      </a:lnTo>
                      <a:lnTo>
                        <a:pt x="74" y="39"/>
                      </a:lnTo>
                      <a:lnTo>
                        <a:pt x="79" y="36"/>
                      </a:lnTo>
                      <a:lnTo>
                        <a:pt x="84" y="36"/>
                      </a:lnTo>
                      <a:lnTo>
                        <a:pt x="90" y="35"/>
                      </a:lnTo>
                      <a:close/>
                      <a:moveTo>
                        <a:pt x="90" y="180"/>
                      </a:moveTo>
                      <a:lnTo>
                        <a:pt x="99" y="179"/>
                      </a:lnTo>
                      <a:lnTo>
                        <a:pt x="108" y="178"/>
                      </a:lnTo>
                      <a:lnTo>
                        <a:pt x="117" y="176"/>
                      </a:lnTo>
                      <a:lnTo>
                        <a:pt x="125" y="172"/>
                      </a:lnTo>
                      <a:lnTo>
                        <a:pt x="133" y="169"/>
                      </a:lnTo>
                      <a:lnTo>
                        <a:pt x="140" y="165"/>
                      </a:lnTo>
                      <a:lnTo>
                        <a:pt x="147" y="159"/>
                      </a:lnTo>
                      <a:lnTo>
                        <a:pt x="153" y="153"/>
                      </a:lnTo>
                      <a:lnTo>
                        <a:pt x="160" y="147"/>
                      </a:lnTo>
                      <a:lnTo>
                        <a:pt x="164" y="140"/>
                      </a:lnTo>
                      <a:lnTo>
                        <a:pt x="170" y="132"/>
                      </a:lnTo>
                      <a:lnTo>
                        <a:pt x="173" y="125"/>
                      </a:lnTo>
                      <a:lnTo>
                        <a:pt x="176" y="116"/>
                      </a:lnTo>
                      <a:lnTo>
                        <a:pt x="178" y="108"/>
                      </a:lnTo>
                      <a:lnTo>
                        <a:pt x="179" y="99"/>
                      </a:lnTo>
                      <a:lnTo>
                        <a:pt x="180" y="89"/>
                      </a:lnTo>
                      <a:lnTo>
                        <a:pt x="179" y="81"/>
                      </a:lnTo>
                      <a:lnTo>
                        <a:pt x="178" y="72"/>
                      </a:lnTo>
                      <a:lnTo>
                        <a:pt x="176" y="63"/>
                      </a:lnTo>
                      <a:lnTo>
                        <a:pt x="173" y="55"/>
                      </a:lnTo>
                      <a:lnTo>
                        <a:pt x="170" y="47"/>
                      </a:lnTo>
                      <a:lnTo>
                        <a:pt x="164" y="40"/>
                      </a:lnTo>
                      <a:lnTo>
                        <a:pt x="160" y="32"/>
                      </a:lnTo>
                      <a:lnTo>
                        <a:pt x="153" y="27"/>
                      </a:lnTo>
                      <a:lnTo>
                        <a:pt x="147" y="20"/>
                      </a:lnTo>
                      <a:lnTo>
                        <a:pt x="140" y="15"/>
                      </a:lnTo>
                      <a:lnTo>
                        <a:pt x="133" y="10"/>
                      </a:lnTo>
                      <a:lnTo>
                        <a:pt x="125" y="7"/>
                      </a:lnTo>
                      <a:lnTo>
                        <a:pt x="117" y="4"/>
                      </a:lnTo>
                      <a:lnTo>
                        <a:pt x="108" y="2"/>
                      </a:lnTo>
                      <a:lnTo>
                        <a:pt x="99" y="1"/>
                      </a:lnTo>
                      <a:lnTo>
                        <a:pt x="90" y="0"/>
                      </a:lnTo>
                      <a:lnTo>
                        <a:pt x="81" y="1"/>
                      </a:lnTo>
                      <a:lnTo>
                        <a:pt x="71" y="2"/>
                      </a:lnTo>
                      <a:lnTo>
                        <a:pt x="64" y="4"/>
                      </a:lnTo>
                      <a:lnTo>
                        <a:pt x="55" y="7"/>
                      </a:lnTo>
                      <a:lnTo>
                        <a:pt x="48" y="10"/>
                      </a:lnTo>
                      <a:lnTo>
                        <a:pt x="40" y="15"/>
                      </a:lnTo>
                      <a:lnTo>
                        <a:pt x="32" y="20"/>
                      </a:lnTo>
                      <a:lnTo>
                        <a:pt x="26" y="27"/>
                      </a:lnTo>
                      <a:lnTo>
                        <a:pt x="21" y="32"/>
                      </a:lnTo>
                      <a:lnTo>
                        <a:pt x="15" y="40"/>
                      </a:lnTo>
                      <a:lnTo>
                        <a:pt x="11" y="47"/>
                      </a:lnTo>
                      <a:lnTo>
                        <a:pt x="7" y="55"/>
                      </a:lnTo>
                      <a:lnTo>
                        <a:pt x="4" y="63"/>
                      </a:lnTo>
                      <a:lnTo>
                        <a:pt x="2" y="72"/>
                      </a:lnTo>
                      <a:lnTo>
                        <a:pt x="0" y="81"/>
                      </a:lnTo>
                      <a:lnTo>
                        <a:pt x="0" y="89"/>
                      </a:lnTo>
                      <a:lnTo>
                        <a:pt x="0" y="99"/>
                      </a:lnTo>
                      <a:lnTo>
                        <a:pt x="2" y="108"/>
                      </a:lnTo>
                      <a:lnTo>
                        <a:pt x="4" y="116"/>
                      </a:lnTo>
                      <a:lnTo>
                        <a:pt x="7" y="125"/>
                      </a:lnTo>
                      <a:lnTo>
                        <a:pt x="11" y="132"/>
                      </a:lnTo>
                      <a:lnTo>
                        <a:pt x="15" y="140"/>
                      </a:lnTo>
                      <a:lnTo>
                        <a:pt x="21" y="147"/>
                      </a:lnTo>
                      <a:lnTo>
                        <a:pt x="26" y="153"/>
                      </a:lnTo>
                      <a:lnTo>
                        <a:pt x="32" y="159"/>
                      </a:lnTo>
                      <a:lnTo>
                        <a:pt x="40" y="165"/>
                      </a:lnTo>
                      <a:lnTo>
                        <a:pt x="48" y="169"/>
                      </a:lnTo>
                      <a:lnTo>
                        <a:pt x="55" y="172"/>
                      </a:lnTo>
                      <a:lnTo>
                        <a:pt x="64" y="176"/>
                      </a:lnTo>
                      <a:lnTo>
                        <a:pt x="71" y="178"/>
                      </a:lnTo>
                      <a:lnTo>
                        <a:pt x="81" y="179"/>
                      </a:lnTo>
                      <a:lnTo>
                        <a:pt x="90" y="18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26" name="Freeform 40"/>
                <p:cNvSpPr>
                  <a:spLocks noEditPoints="1"/>
                </p:cNvSpPr>
                <p:nvPr/>
              </p:nvSpPr>
              <p:spPr bwMode="auto">
                <a:xfrm>
                  <a:off x="7557294" y="3646884"/>
                  <a:ext cx="71438" cy="71438"/>
                </a:xfrm>
                <a:custGeom>
                  <a:avLst/>
                  <a:gdLst>
                    <a:gd name="T0" fmla="*/ 84 w 180"/>
                    <a:gd name="T1" fmla="*/ 144 h 179"/>
                    <a:gd name="T2" fmla="*/ 74 w 180"/>
                    <a:gd name="T3" fmla="*/ 141 h 179"/>
                    <a:gd name="T4" fmla="*/ 60 w 180"/>
                    <a:gd name="T5" fmla="*/ 135 h 179"/>
                    <a:gd name="T6" fmla="*/ 45 w 180"/>
                    <a:gd name="T7" fmla="*/ 120 h 179"/>
                    <a:gd name="T8" fmla="*/ 39 w 180"/>
                    <a:gd name="T9" fmla="*/ 106 h 179"/>
                    <a:gd name="T10" fmla="*/ 36 w 180"/>
                    <a:gd name="T11" fmla="*/ 95 h 179"/>
                    <a:gd name="T12" fmla="*/ 36 w 180"/>
                    <a:gd name="T13" fmla="*/ 84 h 179"/>
                    <a:gd name="T14" fmla="*/ 39 w 180"/>
                    <a:gd name="T15" fmla="*/ 73 h 179"/>
                    <a:gd name="T16" fmla="*/ 45 w 180"/>
                    <a:gd name="T17" fmla="*/ 59 h 179"/>
                    <a:gd name="T18" fmla="*/ 60 w 180"/>
                    <a:gd name="T19" fmla="*/ 45 h 179"/>
                    <a:gd name="T20" fmla="*/ 74 w 180"/>
                    <a:gd name="T21" fmla="*/ 38 h 179"/>
                    <a:gd name="T22" fmla="*/ 84 w 180"/>
                    <a:gd name="T23" fmla="*/ 36 h 179"/>
                    <a:gd name="T24" fmla="*/ 96 w 180"/>
                    <a:gd name="T25" fmla="*/ 36 h 179"/>
                    <a:gd name="T26" fmla="*/ 106 w 180"/>
                    <a:gd name="T27" fmla="*/ 38 h 179"/>
                    <a:gd name="T28" fmla="*/ 121 w 180"/>
                    <a:gd name="T29" fmla="*/ 45 h 179"/>
                    <a:gd name="T30" fmla="*/ 135 w 180"/>
                    <a:gd name="T31" fmla="*/ 59 h 179"/>
                    <a:gd name="T32" fmla="*/ 141 w 180"/>
                    <a:gd name="T33" fmla="*/ 73 h 179"/>
                    <a:gd name="T34" fmla="*/ 143 w 180"/>
                    <a:gd name="T35" fmla="*/ 84 h 179"/>
                    <a:gd name="T36" fmla="*/ 143 w 180"/>
                    <a:gd name="T37" fmla="*/ 95 h 179"/>
                    <a:gd name="T38" fmla="*/ 141 w 180"/>
                    <a:gd name="T39" fmla="*/ 106 h 179"/>
                    <a:gd name="T40" fmla="*/ 135 w 180"/>
                    <a:gd name="T41" fmla="*/ 120 h 179"/>
                    <a:gd name="T42" fmla="*/ 121 w 180"/>
                    <a:gd name="T43" fmla="*/ 135 h 179"/>
                    <a:gd name="T44" fmla="*/ 106 w 180"/>
                    <a:gd name="T45" fmla="*/ 141 h 179"/>
                    <a:gd name="T46" fmla="*/ 96 w 180"/>
                    <a:gd name="T47" fmla="*/ 144 h 179"/>
                    <a:gd name="T48" fmla="*/ 90 w 180"/>
                    <a:gd name="T49" fmla="*/ 0 h 179"/>
                    <a:gd name="T50" fmla="*/ 72 w 180"/>
                    <a:gd name="T51" fmla="*/ 1 h 179"/>
                    <a:gd name="T52" fmla="*/ 55 w 180"/>
                    <a:gd name="T53" fmla="*/ 6 h 179"/>
                    <a:gd name="T54" fmla="*/ 40 w 180"/>
                    <a:gd name="T55" fmla="*/ 15 h 179"/>
                    <a:gd name="T56" fmla="*/ 27 w 180"/>
                    <a:gd name="T57" fmla="*/ 26 h 179"/>
                    <a:gd name="T58" fmla="*/ 15 w 180"/>
                    <a:gd name="T59" fmla="*/ 40 h 179"/>
                    <a:gd name="T60" fmla="*/ 7 w 180"/>
                    <a:gd name="T61" fmla="*/ 55 h 179"/>
                    <a:gd name="T62" fmla="*/ 2 w 180"/>
                    <a:gd name="T63" fmla="*/ 71 h 179"/>
                    <a:gd name="T64" fmla="*/ 0 w 180"/>
                    <a:gd name="T65" fmla="*/ 90 h 179"/>
                    <a:gd name="T66" fmla="*/ 2 w 180"/>
                    <a:gd name="T67" fmla="*/ 108 h 179"/>
                    <a:gd name="T68" fmla="*/ 7 w 180"/>
                    <a:gd name="T69" fmla="*/ 125 h 179"/>
                    <a:gd name="T70" fmla="*/ 15 w 180"/>
                    <a:gd name="T71" fmla="*/ 140 h 179"/>
                    <a:gd name="T72" fmla="*/ 27 w 180"/>
                    <a:gd name="T73" fmla="*/ 153 h 179"/>
                    <a:gd name="T74" fmla="*/ 40 w 180"/>
                    <a:gd name="T75" fmla="*/ 164 h 179"/>
                    <a:gd name="T76" fmla="*/ 55 w 180"/>
                    <a:gd name="T77" fmla="*/ 173 h 179"/>
                    <a:gd name="T78" fmla="*/ 72 w 180"/>
                    <a:gd name="T79" fmla="*/ 178 h 179"/>
                    <a:gd name="T80" fmla="*/ 90 w 180"/>
                    <a:gd name="T81" fmla="*/ 179 h 179"/>
                    <a:gd name="T82" fmla="*/ 108 w 180"/>
                    <a:gd name="T83" fmla="*/ 178 h 179"/>
                    <a:gd name="T84" fmla="*/ 125 w 180"/>
                    <a:gd name="T85" fmla="*/ 173 h 179"/>
                    <a:gd name="T86" fmla="*/ 140 w 180"/>
                    <a:gd name="T87" fmla="*/ 164 h 179"/>
                    <a:gd name="T88" fmla="*/ 153 w 180"/>
                    <a:gd name="T89" fmla="*/ 153 h 179"/>
                    <a:gd name="T90" fmla="*/ 165 w 180"/>
                    <a:gd name="T91" fmla="*/ 140 h 179"/>
                    <a:gd name="T92" fmla="*/ 173 w 180"/>
                    <a:gd name="T93" fmla="*/ 125 h 179"/>
                    <a:gd name="T94" fmla="*/ 178 w 180"/>
                    <a:gd name="T95" fmla="*/ 108 h 179"/>
                    <a:gd name="T96" fmla="*/ 180 w 180"/>
                    <a:gd name="T97" fmla="*/ 90 h 179"/>
                    <a:gd name="T98" fmla="*/ 178 w 180"/>
                    <a:gd name="T99" fmla="*/ 71 h 179"/>
                    <a:gd name="T100" fmla="*/ 173 w 180"/>
                    <a:gd name="T101" fmla="*/ 55 h 179"/>
                    <a:gd name="T102" fmla="*/ 165 w 180"/>
                    <a:gd name="T103" fmla="*/ 40 h 179"/>
                    <a:gd name="T104" fmla="*/ 153 w 180"/>
                    <a:gd name="T105" fmla="*/ 26 h 179"/>
                    <a:gd name="T106" fmla="*/ 140 w 180"/>
                    <a:gd name="T107" fmla="*/ 15 h 179"/>
                    <a:gd name="T108" fmla="*/ 125 w 180"/>
                    <a:gd name="T109" fmla="*/ 6 h 179"/>
                    <a:gd name="T110" fmla="*/ 108 w 180"/>
                    <a:gd name="T111" fmla="*/ 1 h 179"/>
                    <a:gd name="T112" fmla="*/ 90 w 180"/>
                    <a:gd name="T113" fmla="*/ 0 h 1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80" h="179">
                      <a:moveTo>
                        <a:pt x="90" y="144"/>
                      </a:moveTo>
                      <a:lnTo>
                        <a:pt x="84" y="144"/>
                      </a:lnTo>
                      <a:lnTo>
                        <a:pt x="79" y="143"/>
                      </a:lnTo>
                      <a:lnTo>
                        <a:pt x="74" y="141"/>
                      </a:lnTo>
                      <a:lnTo>
                        <a:pt x="69" y="139"/>
                      </a:lnTo>
                      <a:lnTo>
                        <a:pt x="60" y="135"/>
                      </a:lnTo>
                      <a:lnTo>
                        <a:pt x="52" y="127"/>
                      </a:lnTo>
                      <a:lnTo>
                        <a:pt x="45" y="120"/>
                      </a:lnTo>
                      <a:lnTo>
                        <a:pt x="40" y="111"/>
                      </a:lnTo>
                      <a:lnTo>
                        <a:pt x="39" y="106"/>
                      </a:lnTo>
                      <a:lnTo>
                        <a:pt x="38" y="100"/>
                      </a:lnTo>
                      <a:lnTo>
                        <a:pt x="36" y="95"/>
                      </a:lnTo>
                      <a:lnTo>
                        <a:pt x="36" y="90"/>
                      </a:lnTo>
                      <a:lnTo>
                        <a:pt x="36" y="84"/>
                      </a:lnTo>
                      <a:lnTo>
                        <a:pt x="38" y="79"/>
                      </a:lnTo>
                      <a:lnTo>
                        <a:pt x="39" y="73"/>
                      </a:lnTo>
                      <a:lnTo>
                        <a:pt x="41" y="69"/>
                      </a:lnTo>
                      <a:lnTo>
                        <a:pt x="45" y="59"/>
                      </a:lnTo>
                      <a:lnTo>
                        <a:pt x="52" y="52"/>
                      </a:lnTo>
                      <a:lnTo>
                        <a:pt x="60" y="45"/>
                      </a:lnTo>
                      <a:lnTo>
                        <a:pt x="69" y="40"/>
                      </a:lnTo>
                      <a:lnTo>
                        <a:pt x="74" y="38"/>
                      </a:lnTo>
                      <a:lnTo>
                        <a:pt x="79" y="37"/>
                      </a:lnTo>
                      <a:lnTo>
                        <a:pt x="84" y="36"/>
                      </a:lnTo>
                      <a:lnTo>
                        <a:pt x="90" y="36"/>
                      </a:lnTo>
                      <a:lnTo>
                        <a:pt x="96" y="36"/>
                      </a:lnTo>
                      <a:lnTo>
                        <a:pt x="101" y="37"/>
                      </a:lnTo>
                      <a:lnTo>
                        <a:pt x="106" y="38"/>
                      </a:lnTo>
                      <a:lnTo>
                        <a:pt x="111" y="40"/>
                      </a:lnTo>
                      <a:lnTo>
                        <a:pt x="121" y="45"/>
                      </a:lnTo>
                      <a:lnTo>
                        <a:pt x="128" y="52"/>
                      </a:lnTo>
                      <a:lnTo>
                        <a:pt x="135" y="59"/>
                      </a:lnTo>
                      <a:lnTo>
                        <a:pt x="140" y="69"/>
                      </a:lnTo>
                      <a:lnTo>
                        <a:pt x="141" y="73"/>
                      </a:lnTo>
                      <a:lnTo>
                        <a:pt x="143" y="79"/>
                      </a:lnTo>
                      <a:lnTo>
                        <a:pt x="143" y="84"/>
                      </a:lnTo>
                      <a:lnTo>
                        <a:pt x="144" y="90"/>
                      </a:lnTo>
                      <a:lnTo>
                        <a:pt x="143" y="95"/>
                      </a:lnTo>
                      <a:lnTo>
                        <a:pt x="143" y="100"/>
                      </a:lnTo>
                      <a:lnTo>
                        <a:pt x="141" y="106"/>
                      </a:lnTo>
                      <a:lnTo>
                        <a:pt x="140" y="111"/>
                      </a:lnTo>
                      <a:lnTo>
                        <a:pt x="135" y="120"/>
                      </a:lnTo>
                      <a:lnTo>
                        <a:pt x="128" y="127"/>
                      </a:lnTo>
                      <a:lnTo>
                        <a:pt x="121" y="135"/>
                      </a:lnTo>
                      <a:lnTo>
                        <a:pt x="111" y="139"/>
                      </a:lnTo>
                      <a:lnTo>
                        <a:pt x="106" y="141"/>
                      </a:lnTo>
                      <a:lnTo>
                        <a:pt x="101" y="143"/>
                      </a:lnTo>
                      <a:lnTo>
                        <a:pt x="96" y="144"/>
                      </a:lnTo>
                      <a:lnTo>
                        <a:pt x="90" y="144"/>
                      </a:lnTo>
                      <a:close/>
                      <a:moveTo>
                        <a:pt x="90" y="0"/>
                      </a:moveTo>
                      <a:lnTo>
                        <a:pt x="81" y="0"/>
                      </a:lnTo>
                      <a:lnTo>
                        <a:pt x="72" y="1"/>
                      </a:lnTo>
                      <a:lnTo>
                        <a:pt x="63" y="4"/>
                      </a:lnTo>
                      <a:lnTo>
                        <a:pt x="55" y="6"/>
                      </a:lnTo>
                      <a:lnTo>
                        <a:pt x="47" y="11"/>
                      </a:lnTo>
                      <a:lnTo>
                        <a:pt x="40" y="15"/>
                      </a:lnTo>
                      <a:lnTo>
                        <a:pt x="33" y="21"/>
                      </a:lnTo>
                      <a:lnTo>
                        <a:pt x="27" y="26"/>
                      </a:lnTo>
                      <a:lnTo>
                        <a:pt x="20" y="32"/>
                      </a:lnTo>
                      <a:lnTo>
                        <a:pt x="15" y="40"/>
                      </a:lnTo>
                      <a:lnTo>
                        <a:pt x="11" y="46"/>
                      </a:lnTo>
                      <a:lnTo>
                        <a:pt x="7" y="55"/>
                      </a:lnTo>
                      <a:lnTo>
                        <a:pt x="4" y="63"/>
                      </a:lnTo>
                      <a:lnTo>
                        <a:pt x="2" y="71"/>
                      </a:lnTo>
                      <a:lnTo>
                        <a:pt x="1" y="81"/>
                      </a:lnTo>
                      <a:lnTo>
                        <a:pt x="0" y="90"/>
                      </a:lnTo>
                      <a:lnTo>
                        <a:pt x="1" y="99"/>
                      </a:lnTo>
                      <a:lnTo>
                        <a:pt x="2" y="108"/>
                      </a:lnTo>
                      <a:lnTo>
                        <a:pt x="4" y="117"/>
                      </a:lnTo>
                      <a:lnTo>
                        <a:pt x="7" y="125"/>
                      </a:lnTo>
                      <a:lnTo>
                        <a:pt x="11" y="133"/>
                      </a:lnTo>
                      <a:lnTo>
                        <a:pt x="15" y="140"/>
                      </a:lnTo>
                      <a:lnTo>
                        <a:pt x="20" y="147"/>
                      </a:lnTo>
                      <a:lnTo>
                        <a:pt x="27" y="153"/>
                      </a:lnTo>
                      <a:lnTo>
                        <a:pt x="33" y="159"/>
                      </a:lnTo>
                      <a:lnTo>
                        <a:pt x="40" y="164"/>
                      </a:lnTo>
                      <a:lnTo>
                        <a:pt x="47" y="168"/>
                      </a:lnTo>
                      <a:lnTo>
                        <a:pt x="55" y="173"/>
                      </a:lnTo>
                      <a:lnTo>
                        <a:pt x="63" y="176"/>
                      </a:lnTo>
                      <a:lnTo>
                        <a:pt x="72" y="178"/>
                      </a:lnTo>
                      <a:lnTo>
                        <a:pt x="81" y="179"/>
                      </a:lnTo>
                      <a:lnTo>
                        <a:pt x="90" y="179"/>
                      </a:lnTo>
                      <a:lnTo>
                        <a:pt x="99" y="179"/>
                      </a:lnTo>
                      <a:lnTo>
                        <a:pt x="108" y="178"/>
                      </a:lnTo>
                      <a:lnTo>
                        <a:pt x="116" y="176"/>
                      </a:lnTo>
                      <a:lnTo>
                        <a:pt x="125" y="173"/>
                      </a:lnTo>
                      <a:lnTo>
                        <a:pt x="133" y="168"/>
                      </a:lnTo>
                      <a:lnTo>
                        <a:pt x="140" y="164"/>
                      </a:lnTo>
                      <a:lnTo>
                        <a:pt x="148" y="159"/>
                      </a:lnTo>
                      <a:lnTo>
                        <a:pt x="153" y="153"/>
                      </a:lnTo>
                      <a:lnTo>
                        <a:pt x="160" y="147"/>
                      </a:lnTo>
                      <a:lnTo>
                        <a:pt x="165" y="140"/>
                      </a:lnTo>
                      <a:lnTo>
                        <a:pt x="169" y="133"/>
                      </a:lnTo>
                      <a:lnTo>
                        <a:pt x="173" y="125"/>
                      </a:lnTo>
                      <a:lnTo>
                        <a:pt x="176" y="117"/>
                      </a:lnTo>
                      <a:lnTo>
                        <a:pt x="178" y="108"/>
                      </a:lnTo>
                      <a:lnTo>
                        <a:pt x="179" y="99"/>
                      </a:lnTo>
                      <a:lnTo>
                        <a:pt x="180" y="90"/>
                      </a:lnTo>
                      <a:lnTo>
                        <a:pt x="179" y="81"/>
                      </a:lnTo>
                      <a:lnTo>
                        <a:pt x="178" y="71"/>
                      </a:lnTo>
                      <a:lnTo>
                        <a:pt x="176" y="63"/>
                      </a:lnTo>
                      <a:lnTo>
                        <a:pt x="173" y="55"/>
                      </a:lnTo>
                      <a:lnTo>
                        <a:pt x="169" y="46"/>
                      </a:lnTo>
                      <a:lnTo>
                        <a:pt x="165" y="40"/>
                      </a:lnTo>
                      <a:lnTo>
                        <a:pt x="160" y="32"/>
                      </a:lnTo>
                      <a:lnTo>
                        <a:pt x="153" y="26"/>
                      </a:lnTo>
                      <a:lnTo>
                        <a:pt x="148" y="21"/>
                      </a:lnTo>
                      <a:lnTo>
                        <a:pt x="140" y="15"/>
                      </a:lnTo>
                      <a:lnTo>
                        <a:pt x="133" y="11"/>
                      </a:lnTo>
                      <a:lnTo>
                        <a:pt x="125" y="6"/>
                      </a:lnTo>
                      <a:lnTo>
                        <a:pt x="116" y="4"/>
                      </a:lnTo>
                      <a:lnTo>
                        <a:pt x="108" y="1"/>
                      </a:lnTo>
                      <a:lnTo>
                        <a:pt x="99" y="0"/>
                      </a:lnTo>
                      <a:lnTo>
                        <a:pt x="90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27" name="Freeform 41"/>
                <p:cNvSpPr>
                  <a:spLocks noEditPoints="1"/>
                </p:cNvSpPr>
                <p:nvPr/>
              </p:nvSpPr>
              <p:spPr bwMode="auto">
                <a:xfrm>
                  <a:off x="7285831" y="3861197"/>
                  <a:ext cx="57150" cy="57150"/>
                </a:xfrm>
                <a:custGeom>
                  <a:avLst/>
                  <a:gdLst>
                    <a:gd name="T0" fmla="*/ 79 w 144"/>
                    <a:gd name="T1" fmla="*/ 37 h 144"/>
                    <a:gd name="T2" fmla="*/ 92 w 144"/>
                    <a:gd name="T3" fmla="*/ 42 h 144"/>
                    <a:gd name="T4" fmla="*/ 102 w 144"/>
                    <a:gd name="T5" fmla="*/ 52 h 144"/>
                    <a:gd name="T6" fmla="*/ 107 w 144"/>
                    <a:gd name="T7" fmla="*/ 65 h 144"/>
                    <a:gd name="T8" fmla="*/ 107 w 144"/>
                    <a:gd name="T9" fmla="*/ 79 h 144"/>
                    <a:gd name="T10" fmla="*/ 102 w 144"/>
                    <a:gd name="T11" fmla="*/ 92 h 144"/>
                    <a:gd name="T12" fmla="*/ 92 w 144"/>
                    <a:gd name="T13" fmla="*/ 102 h 144"/>
                    <a:gd name="T14" fmla="*/ 79 w 144"/>
                    <a:gd name="T15" fmla="*/ 107 h 144"/>
                    <a:gd name="T16" fmla="*/ 65 w 144"/>
                    <a:gd name="T17" fmla="*/ 107 h 144"/>
                    <a:gd name="T18" fmla="*/ 52 w 144"/>
                    <a:gd name="T19" fmla="*/ 102 h 144"/>
                    <a:gd name="T20" fmla="*/ 42 w 144"/>
                    <a:gd name="T21" fmla="*/ 92 h 144"/>
                    <a:gd name="T22" fmla="*/ 37 w 144"/>
                    <a:gd name="T23" fmla="*/ 79 h 144"/>
                    <a:gd name="T24" fmla="*/ 37 w 144"/>
                    <a:gd name="T25" fmla="*/ 65 h 144"/>
                    <a:gd name="T26" fmla="*/ 42 w 144"/>
                    <a:gd name="T27" fmla="*/ 52 h 144"/>
                    <a:gd name="T28" fmla="*/ 52 w 144"/>
                    <a:gd name="T29" fmla="*/ 42 h 144"/>
                    <a:gd name="T30" fmla="*/ 65 w 144"/>
                    <a:gd name="T31" fmla="*/ 37 h 144"/>
                    <a:gd name="T32" fmla="*/ 72 w 144"/>
                    <a:gd name="T33" fmla="*/ 36 h 144"/>
                    <a:gd name="T34" fmla="*/ 0 w 144"/>
                    <a:gd name="T35" fmla="*/ 79 h 144"/>
                    <a:gd name="T36" fmla="*/ 3 w 144"/>
                    <a:gd name="T37" fmla="*/ 93 h 144"/>
                    <a:gd name="T38" fmla="*/ 9 w 144"/>
                    <a:gd name="T39" fmla="*/ 106 h 144"/>
                    <a:gd name="T40" fmla="*/ 16 w 144"/>
                    <a:gd name="T41" fmla="*/ 118 h 144"/>
                    <a:gd name="T42" fmla="*/ 26 w 144"/>
                    <a:gd name="T43" fmla="*/ 127 h 144"/>
                    <a:gd name="T44" fmla="*/ 38 w 144"/>
                    <a:gd name="T45" fmla="*/ 135 h 144"/>
                    <a:gd name="T46" fmla="*/ 51 w 144"/>
                    <a:gd name="T47" fmla="*/ 140 h 144"/>
                    <a:gd name="T48" fmla="*/ 65 w 144"/>
                    <a:gd name="T49" fmla="*/ 144 h 144"/>
                    <a:gd name="T50" fmla="*/ 79 w 144"/>
                    <a:gd name="T51" fmla="*/ 144 h 144"/>
                    <a:gd name="T52" fmla="*/ 93 w 144"/>
                    <a:gd name="T53" fmla="*/ 140 h 144"/>
                    <a:gd name="T54" fmla="*/ 106 w 144"/>
                    <a:gd name="T55" fmla="*/ 135 h 144"/>
                    <a:gd name="T56" fmla="*/ 118 w 144"/>
                    <a:gd name="T57" fmla="*/ 127 h 144"/>
                    <a:gd name="T58" fmla="*/ 128 w 144"/>
                    <a:gd name="T59" fmla="*/ 118 h 144"/>
                    <a:gd name="T60" fmla="*/ 135 w 144"/>
                    <a:gd name="T61" fmla="*/ 106 h 144"/>
                    <a:gd name="T62" fmla="*/ 140 w 144"/>
                    <a:gd name="T63" fmla="*/ 93 h 144"/>
                    <a:gd name="T64" fmla="*/ 144 w 144"/>
                    <a:gd name="T65" fmla="*/ 79 h 144"/>
                    <a:gd name="T66" fmla="*/ 144 w 144"/>
                    <a:gd name="T67" fmla="*/ 65 h 144"/>
                    <a:gd name="T68" fmla="*/ 140 w 144"/>
                    <a:gd name="T69" fmla="*/ 51 h 144"/>
                    <a:gd name="T70" fmla="*/ 135 w 144"/>
                    <a:gd name="T71" fmla="*/ 38 h 144"/>
                    <a:gd name="T72" fmla="*/ 128 w 144"/>
                    <a:gd name="T73" fmla="*/ 26 h 144"/>
                    <a:gd name="T74" fmla="*/ 118 w 144"/>
                    <a:gd name="T75" fmla="*/ 16 h 144"/>
                    <a:gd name="T76" fmla="*/ 106 w 144"/>
                    <a:gd name="T77" fmla="*/ 9 h 144"/>
                    <a:gd name="T78" fmla="*/ 93 w 144"/>
                    <a:gd name="T79" fmla="*/ 3 h 144"/>
                    <a:gd name="T80" fmla="*/ 79 w 144"/>
                    <a:gd name="T81" fmla="*/ 0 h 144"/>
                    <a:gd name="T82" fmla="*/ 65 w 144"/>
                    <a:gd name="T83" fmla="*/ 0 h 144"/>
                    <a:gd name="T84" fmla="*/ 51 w 144"/>
                    <a:gd name="T85" fmla="*/ 3 h 144"/>
                    <a:gd name="T86" fmla="*/ 38 w 144"/>
                    <a:gd name="T87" fmla="*/ 9 h 144"/>
                    <a:gd name="T88" fmla="*/ 26 w 144"/>
                    <a:gd name="T89" fmla="*/ 16 h 144"/>
                    <a:gd name="T90" fmla="*/ 16 w 144"/>
                    <a:gd name="T91" fmla="*/ 26 h 144"/>
                    <a:gd name="T92" fmla="*/ 9 w 144"/>
                    <a:gd name="T93" fmla="*/ 38 h 144"/>
                    <a:gd name="T94" fmla="*/ 3 w 144"/>
                    <a:gd name="T95" fmla="*/ 51 h 144"/>
                    <a:gd name="T96" fmla="*/ 0 w 144"/>
                    <a:gd name="T97" fmla="*/ 65 h 14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4" h="144">
                      <a:moveTo>
                        <a:pt x="72" y="36"/>
                      </a:moveTo>
                      <a:lnTo>
                        <a:pt x="79" y="37"/>
                      </a:lnTo>
                      <a:lnTo>
                        <a:pt x="86" y="39"/>
                      </a:lnTo>
                      <a:lnTo>
                        <a:pt x="92" y="42"/>
                      </a:lnTo>
                      <a:lnTo>
                        <a:pt x="97" y="46"/>
                      </a:lnTo>
                      <a:lnTo>
                        <a:pt x="102" y="52"/>
                      </a:lnTo>
                      <a:lnTo>
                        <a:pt x="105" y="57"/>
                      </a:lnTo>
                      <a:lnTo>
                        <a:pt x="107" y="65"/>
                      </a:lnTo>
                      <a:lnTo>
                        <a:pt x="108" y="71"/>
                      </a:lnTo>
                      <a:lnTo>
                        <a:pt x="107" y="79"/>
                      </a:lnTo>
                      <a:lnTo>
                        <a:pt x="105" y="85"/>
                      </a:lnTo>
                      <a:lnTo>
                        <a:pt x="102" y="92"/>
                      </a:lnTo>
                      <a:lnTo>
                        <a:pt x="97" y="97"/>
                      </a:lnTo>
                      <a:lnTo>
                        <a:pt x="92" y="102"/>
                      </a:lnTo>
                      <a:lnTo>
                        <a:pt x="86" y="105"/>
                      </a:lnTo>
                      <a:lnTo>
                        <a:pt x="79" y="107"/>
                      </a:lnTo>
                      <a:lnTo>
                        <a:pt x="72" y="108"/>
                      </a:lnTo>
                      <a:lnTo>
                        <a:pt x="65" y="107"/>
                      </a:lnTo>
                      <a:lnTo>
                        <a:pt x="58" y="105"/>
                      </a:lnTo>
                      <a:lnTo>
                        <a:pt x="52" y="102"/>
                      </a:lnTo>
                      <a:lnTo>
                        <a:pt x="47" y="97"/>
                      </a:lnTo>
                      <a:lnTo>
                        <a:pt x="42" y="92"/>
                      </a:lnTo>
                      <a:lnTo>
                        <a:pt x="39" y="85"/>
                      </a:lnTo>
                      <a:lnTo>
                        <a:pt x="37" y="79"/>
                      </a:lnTo>
                      <a:lnTo>
                        <a:pt x="36" y="71"/>
                      </a:lnTo>
                      <a:lnTo>
                        <a:pt x="37" y="65"/>
                      </a:lnTo>
                      <a:lnTo>
                        <a:pt x="39" y="57"/>
                      </a:lnTo>
                      <a:lnTo>
                        <a:pt x="42" y="52"/>
                      </a:lnTo>
                      <a:lnTo>
                        <a:pt x="47" y="46"/>
                      </a:lnTo>
                      <a:lnTo>
                        <a:pt x="52" y="42"/>
                      </a:lnTo>
                      <a:lnTo>
                        <a:pt x="58" y="39"/>
                      </a:lnTo>
                      <a:lnTo>
                        <a:pt x="65" y="37"/>
                      </a:lnTo>
                      <a:lnTo>
                        <a:pt x="72" y="36"/>
                      </a:lnTo>
                      <a:lnTo>
                        <a:pt x="72" y="36"/>
                      </a:lnTo>
                      <a:close/>
                      <a:moveTo>
                        <a:pt x="0" y="71"/>
                      </a:moveTo>
                      <a:lnTo>
                        <a:pt x="0" y="79"/>
                      </a:lnTo>
                      <a:lnTo>
                        <a:pt x="1" y="86"/>
                      </a:lnTo>
                      <a:lnTo>
                        <a:pt x="3" y="93"/>
                      </a:lnTo>
                      <a:lnTo>
                        <a:pt x="5" y="99"/>
                      </a:lnTo>
                      <a:lnTo>
                        <a:pt x="9" y="106"/>
                      </a:lnTo>
                      <a:lnTo>
                        <a:pt x="12" y="112"/>
                      </a:lnTo>
                      <a:lnTo>
                        <a:pt x="16" y="118"/>
                      </a:lnTo>
                      <a:lnTo>
                        <a:pt x="21" y="123"/>
                      </a:lnTo>
                      <a:lnTo>
                        <a:pt x="26" y="127"/>
                      </a:lnTo>
                      <a:lnTo>
                        <a:pt x="31" y="132"/>
                      </a:lnTo>
                      <a:lnTo>
                        <a:pt x="38" y="135"/>
                      </a:lnTo>
                      <a:lnTo>
                        <a:pt x="44" y="138"/>
                      </a:lnTo>
                      <a:lnTo>
                        <a:pt x="51" y="140"/>
                      </a:lnTo>
                      <a:lnTo>
                        <a:pt x="57" y="143"/>
                      </a:lnTo>
                      <a:lnTo>
                        <a:pt x="65" y="144"/>
                      </a:lnTo>
                      <a:lnTo>
                        <a:pt x="72" y="144"/>
                      </a:lnTo>
                      <a:lnTo>
                        <a:pt x="79" y="144"/>
                      </a:lnTo>
                      <a:lnTo>
                        <a:pt x="86" y="143"/>
                      </a:lnTo>
                      <a:lnTo>
                        <a:pt x="93" y="140"/>
                      </a:lnTo>
                      <a:lnTo>
                        <a:pt x="101" y="138"/>
                      </a:lnTo>
                      <a:lnTo>
                        <a:pt x="106" y="135"/>
                      </a:lnTo>
                      <a:lnTo>
                        <a:pt x="112" y="132"/>
                      </a:lnTo>
                      <a:lnTo>
                        <a:pt x="118" y="127"/>
                      </a:lnTo>
                      <a:lnTo>
                        <a:pt x="123" y="123"/>
                      </a:lnTo>
                      <a:lnTo>
                        <a:pt x="128" y="118"/>
                      </a:lnTo>
                      <a:lnTo>
                        <a:pt x="132" y="112"/>
                      </a:lnTo>
                      <a:lnTo>
                        <a:pt x="135" y="106"/>
                      </a:lnTo>
                      <a:lnTo>
                        <a:pt x="138" y="99"/>
                      </a:lnTo>
                      <a:lnTo>
                        <a:pt x="140" y="93"/>
                      </a:lnTo>
                      <a:lnTo>
                        <a:pt x="143" y="86"/>
                      </a:lnTo>
                      <a:lnTo>
                        <a:pt x="144" y="79"/>
                      </a:lnTo>
                      <a:lnTo>
                        <a:pt x="144" y="71"/>
                      </a:lnTo>
                      <a:lnTo>
                        <a:pt x="144" y="65"/>
                      </a:lnTo>
                      <a:lnTo>
                        <a:pt x="143" y="57"/>
                      </a:lnTo>
                      <a:lnTo>
                        <a:pt x="140" y="51"/>
                      </a:lnTo>
                      <a:lnTo>
                        <a:pt x="138" y="43"/>
                      </a:lnTo>
                      <a:lnTo>
                        <a:pt x="135" y="38"/>
                      </a:lnTo>
                      <a:lnTo>
                        <a:pt x="132" y="31"/>
                      </a:lnTo>
                      <a:lnTo>
                        <a:pt x="128" y="26"/>
                      </a:lnTo>
                      <a:lnTo>
                        <a:pt x="123" y="21"/>
                      </a:lnTo>
                      <a:lnTo>
                        <a:pt x="118" y="16"/>
                      </a:lnTo>
                      <a:lnTo>
                        <a:pt x="112" y="12"/>
                      </a:lnTo>
                      <a:lnTo>
                        <a:pt x="106" y="9"/>
                      </a:lnTo>
                      <a:lnTo>
                        <a:pt x="101" y="5"/>
                      </a:lnTo>
                      <a:lnTo>
                        <a:pt x="93" y="3"/>
                      </a:lnTo>
                      <a:lnTo>
                        <a:pt x="86" y="1"/>
                      </a:lnTo>
                      <a:lnTo>
                        <a:pt x="79" y="0"/>
                      </a:lnTo>
                      <a:lnTo>
                        <a:pt x="72" y="0"/>
                      </a:lnTo>
                      <a:lnTo>
                        <a:pt x="65" y="0"/>
                      </a:lnTo>
                      <a:lnTo>
                        <a:pt x="57" y="1"/>
                      </a:lnTo>
                      <a:lnTo>
                        <a:pt x="51" y="3"/>
                      </a:lnTo>
                      <a:lnTo>
                        <a:pt x="44" y="5"/>
                      </a:lnTo>
                      <a:lnTo>
                        <a:pt x="38" y="9"/>
                      </a:lnTo>
                      <a:lnTo>
                        <a:pt x="31" y="12"/>
                      </a:lnTo>
                      <a:lnTo>
                        <a:pt x="26" y="16"/>
                      </a:lnTo>
                      <a:lnTo>
                        <a:pt x="21" y="21"/>
                      </a:lnTo>
                      <a:lnTo>
                        <a:pt x="16" y="26"/>
                      </a:lnTo>
                      <a:lnTo>
                        <a:pt x="12" y="31"/>
                      </a:lnTo>
                      <a:lnTo>
                        <a:pt x="9" y="38"/>
                      </a:lnTo>
                      <a:lnTo>
                        <a:pt x="5" y="43"/>
                      </a:lnTo>
                      <a:lnTo>
                        <a:pt x="3" y="51"/>
                      </a:lnTo>
                      <a:lnTo>
                        <a:pt x="1" y="57"/>
                      </a:lnTo>
                      <a:lnTo>
                        <a:pt x="0" y="65"/>
                      </a:lnTo>
                      <a:lnTo>
                        <a:pt x="0" y="71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28" name="Freeform 42"/>
                <p:cNvSpPr/>
                <p:nvPr/>
              </p:nvSpPr>
              <p:spPr bwMode="auto">
                <a:xfrm>
                  <a:off x="7342981" y="3961209"/>
                  <a:ext cx="28575" cy="28575"/>
                </a:xfrm>
                <a:custGeom>
                  <a:avLst/>
                  <a:gdLst>
                    <a:gd name="T0" fmla="*/ 36 w 72"/>
                    <a:gd name="T1" fmla="*/ 72 h 72"/>
                    <a:gd name="T2" fmla="*/ 43 w 72"/>
                    <a:gd name="T3" fmla="*/ 71 h 72"/>
                    <a:gd name="T4" fmla="*/ 50 w 72"/>
                    <a:gd name="T5" fmla="*/ 69 h 72"/>
                    <a:gd name="T6" fmla="*/ 56 w 72"/>
                    <a:gd name="T7" fmla="*/ 66 h 72"/>
                    <a:gd name="T8" fmla="*/ 61 w 72"/>
                    <a:gd name="T9" fmla="*/ 61 h 72"/>
                    <a:gd name="T10" fmla="*/ 66 w 72"/>
                    <a:gd name="T11" fmla="*/ 56 h 72"/>
                    <a:gd name="T12" fmla="*/ 69 w 72"/>
                    <a:gd name="T13" fmla="*/ 49 h 72"/>
                    <a:gd name="T14" fmla="*/ 71 w 72"/>
                    <a:gd name="T15" fmla="*/ 43 h 72"/>
                    <a:gd name="T16" fmla="*/ 72 w 72"/>
                    <a:gd name="T17" fmla="*/ 35 h 72"/>
                    <a:gd name="T18" fmla="*/ 71 w 72"/>
                    <a:gd name="T19" fmla="*/ 29 h 72"/>
                    <a:gd name="T20" fmla="*/ 69 w 72"/>
                    <a:gd name="T21" fmla="*/ 21 h 72"/>
                    <a:gd name="T22" fmla="*/ 66 w 72"/>
                    <a:gd name="T23" fmla="*/ 16 h 72"/>
                    <a:gd name="T24" fmla="*/ 61 w 72"/>
                    <a:gd name="T25" fmla="*/ 10 h 72"/>
                    <a:gd name="T26" fmla="*/ 56 w 72"/>
                    <a:gd name="T27" fmla="*/ 6 h 72"/>
                    <a:gd name="T28" fmla="*/ 50 w 72"/>
                    <a:gd name="T29" fmla="*/ 3 h 72"/>
                    <a:gd name="T30" fmla="*/ 43 w 72"/>
                    <a:gd name="T31" fmla="*/ 1 h 72"/>
                    <a:gd name="T32" fmla="*/ 36 w 72"/>
                    <a:gd name="T33" fmla="*/ 0 h 72"/>
                    <a:gd name="T34" fmla="*/ 29 w 72"/>
                    <a:gd name="T35" fmla="*/ 1 h 72"/>
                    <a:gd name="T36" fmla="*/ 22 w 72"/>
                    <a:gd name="T37" fmla="*/ 3 h 72"/>
                    <a:gd name="T38" fmla="*/ 16 w 72"/>
                    <a:gd name="T39" fmla="*/ 6 h 72"/>
                    <a:gd name="T40" fmla="*/ 11 w 72"/>
                    <a:gd name="T41" fmla="*/ 10 h 72"/>
                    <a:gd name="T42" fmla="*/ 6 w 72"/>
                    <a:gd name="T43" fmla="*/ 16 h 72"/>
                    <a:gd name="T44" fmla="*/ 3 w 72"/>
                    <a:gd name="T45" fmla="*/ 21 h 72"/>
                    <a:gd name="T46" fmla="*/ 1 w 72"/>
                    <a:gd name="T47" fmla="*/ 29 h 72"/>
                    <a:gd name="T48" fmla="*/ 0 w 72"/>
                    <a:gd name="T49" fmla="*/ 35 h 72"/>
                    <a:gd name="T50" fmla="*/ 1 w 72"/>
                    <a:gd name="T51" fmla="*/ 43 h 72"/>
                    <a:gd name="T52" fmla="*/ 3 w 72"/>
                    <a:gd name="T53" fmla="*/ 49 h 72"/>
                    <a:gd name="T54" fmla="*/ 6 w 72"/>
                    <a:gd name="T55" fmla="*/ 56 h 72"/>
                    <a:gd name="T56" fmla="*/ 11 w 72"/>
                    <a:gd name="T57" fmla="*/ 61 h 72"/>
                    <a:gd name="T58" fmla="*/ 16 w 72"/>
                    <a:gd name="T59" fmla="*/ 66 h 72"/>
                    <a:gd name="T60" fmla="*/ 22 w 72"/>
                    <a:gd name="T61" fmla="*/ 69 h 72"/>
                    <a:gd name="T62" fmla="*/ 29 w 72"/>
                    <a:gd name="T63" fmla="*/ 71 h 72"/>
                    <a:gd name="T64" fmla="*/ 36 w 72"/>
                    <a:gd name="T65" fmla="*/ 72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2" h="72">
                      <a:moveTo>
                        <a:pt x="36" y="72"/>
                      </a:moveTo>
                      <a:lnTo>
                        <a:pt x="43" y="71"/>
                      </a:lnTo>
                      <a:lnTo>
                        <a:pt x="50" y="69"/>
                      </a:lnTo>
                      <a:lnTo>
                        <a:pt x="56" y="66"/>
                      </a:lnTo>
                      <a:lnTo>
                        <a:pt x="61" y="61"/>
                      </a:lnTo>
                      <a:lnTo>
                        <a:pt x="66" y="56"/>
                      </a:lnTo>
                      <a:lnTo>
                        <a:pt x="69" y="49"/>
                      </a:lnTo>
                      <a:lnTo>
                        <a:pt x="71" y="43"/>
                      </a:lnTo>
                      <a:lnTo>
                        <a:pt x="72" y="35"/>
                      </a:lnTo>
                      <a:lnTo>
                        <a:pt x="71" y="29"/>
                      </a:lnTo>
                      <a:lnTo>
                        <a:pt x="69" y="21"/>
                      </a:lnTo>
                      <a:lnTo>
                        <a:pt x="66" y="16"/>
                      </a:lnTo>
                      <a:lnTo>
                        <a:pt x="61" y="10"/>
                      </a:lnTo>
                      <a:lnTo>
                        <a:pt x="56" y="6"/>
                      </a:lnTo>
                      <a:lnTo>
                        <a:pt x="50" y="3"/>
                      </a:lnTo>
                      <a:lnTo>
                        <a:pt x="43" y="1"/>
                      </a:lnTo>
                      <a:lnTo>
                        <a:pt x="36" y="0"/>
                      </a:lnTo>
                      <a:lnTo>
                        <a:pt x="29" y="1"/>
                      </a:lnTo>
                      <a:lnTo>
                        <a:pt x="22" y="3"/>
                      </a:lnTo>
                      <a:lnTo>
                        <a:pt x="16" y="6"/>
                      </a:lnTo>
                      <a:lnTo>
                        <a:pt x="11" y="10"/>
                      </a:lnTo>
                      <a:lnTo>
                        <a:pt x="6" y="16"/>
                      </a:lnTo>
                      <a:lnTo>
                        <a:pt x="3" y="21"/>
                      </a:lnTo>
                      <a:lnTo>
                        <a:pt x="1" y="29"/>
                      </a:lnTo>
                      <a:lnTo>
                        <a:pt x="0" y="35"/>
                      </a:lnTo>
                      <a:lnTo>
                        <a:pt x="1" y="43"/>
                      </a:lnTo>
                      <a:lnTo>
                        <a:pt x="3" y="49"/>
                      </a:lnTo>
                      <a:lnTo>
                        <a:pt x="6" y="56"/>
                      </a:lnTo>
                      <a:lnTo>
                        <a:pt x="11" y="61"/>
                      </a:lnTo>
                      <a:lnTo>
                        <a:pt x="16" y="66"/>
                      </a:lnTo>
                      <a:lnTo>
                        <a:pt x="22" y="69"/>
                      </a:lnTo>
                      <a:lnTo>
                        <a:pt x="29" y="71"/>
                      </a:lnTo>
                      <a:lnTo>
                        <a:pt x="36" y="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29" name="Freeform 43"/>
                <p:cNvSpPr/>
                <p:nvPr/>
              </p:nvSpPr>
              <p:spPr bwMode="auto">
                <a:xfrm>
                  <a:off x="7571581" y="3746897"/>
                  <a:ext cx="28575" cy="28575"/>
                </a:xfrm>
                <a:custGeom>
                  <a:avLst/>
                  <a:gdLst>
                    <a:gd name="T0" fmla="*/ 36 w 72"/>
                    <a:gd name="T1" fmla="*/ 0 h 72"/>
                    <a:gd name="T2" fmla="*/ 29 w 72"/>
                    <a:gd name="T3" fmla="*/ 1 h 72"/>
                    <a:gd name="T4" fmla="*/ 22 w 72"/>
                    <a:gd name="T5" fmla="*/ 3 h 72"/>
                    <a:gd name="T6" fmla="*/ 16 w 72"/>
                    <a:gd name="T7" fmla="*/ 6 h 72"/>
                    <a:gd name="T8" fmla="*/ 10 w 72"/>
                    <a:gd name="T9" fmla="*/ 10 h 72"/>
                    <a:gd name="T10" fmla="*/ 6 w 72"/>
                    <a:gd name="T11" fmla="*/ 16 h 72"/>
                    <a:gd name="T12" fmla="*/ 3 w 72"/>
                    <a:gd name="T13" fmla="*/ 21 h 72"/>
                    <a:gd name="T14" fmla="*/ 0 w 72"/>
                    <a:gd name="T15" fmla="*/ 29 h 72"/>
                    <a:gd name="T16" fmla="*/ 0 w 72"/>
                    <a:gd name="T17" fmla="*/ 35 h 72"/>
                    <a:gd name="T18" fmla="*/ 0 w 72"/>
                    <a:gd name="T19" fmla="*/ 43 h 72"/>
                    <a:gd name="T20" fmla="*/ 3 w 72"/>
                    <a:gd name="T21" fmla="*/ 49 h 72"/>
                    <a:gd name="T22" fmla="*/ 6 w 72"/>
                    <a:gd name="T23" fmla="*/ 56 h 72"/>
                    <a:gd name="T24" fmla="*/ 10 w 72"/>
                    <a:gd name="T25" fmla="*/ 61 h 72"/>
                    <a:gd name="T26" fmla="*/ 16 w 72"/>
                    <a:gd name="T27" fmla="*/ 66 h 72"/>
                    <a:gd name="T28" fmla="*/ 22 w 72"/>
                    <a:gd name="T29" fmla="*/ 69 h 72"/>
                    <a:gd name="T30" fmla="*/ 29 w 72"/>
                    <a:gd name="T31" fmla="*/ 71 h 72"/>
                    <a:gd name="T32" fmla="*/ 36 w 72"/>
                    <a:gd name="T33" fmla="*/ 72 h 72"/>
                    <a:gd name="T34" fmla="*/ 44 w 72"/>
                    <a:gd name="T35" fmla="*/ 71 h 72"/>
                    <a:gd name="T36" fmla="*/ 50 w 72"/>
                    <a:gd name="T37" fmla="*/ 69 h 72"/>
                    <a:gd name="T38" fmla="*/ 57 w 72"/>
                    <a:gd name="T39" fmla="*/ 66 h 72"/>
                    <a:gd name="T40" fmla="*/ 61 w 72"/>
                    <a:gd name="T41" fmla="*/ 61 h 72"/>
                    <a:gd name="T42" fmla="*/ 66 w 72"/>
                    <a:gd name="T43" fmla="*/ 56 h 72"/>
                    <a:gd name="T44" fmla="*/ 70 w 72"/>
                    <a:gd name="T45" fmla="*/ 49 h 72"/>
                    <a:gd name="T46" fmla="*/ 72 w 72"/>
                    <a:gd name="T47" fmla="*/ 43 h 72"/>
                    <a:gd name="T48" fmla="*/ 72 w 72"/>
                    <a:gd name="T49" fmla="*/ 35 h 72"/>
                    <a:gd name="T50" fmla="*/ 72 w 72"/>
                    <a:gd name="T51" fmla="*/ 29 h 72"/>
                    <a:gd name="T52" fmla="*/ 70 w 72"/>
                    <a:gd name="T53" fmla="*/ 21 h 72"/>
                    <a:gd name="T54" fmla="*/ 66 w 72"/>
                    <a:gd name="T55" fmla="*/ 16 h 72"/>
                    <a:gd name="T56" fmla="*/ 61 w 72"/>
                    <a:gd name="T57" fmla="*/ 10 h 72"/>
                    <a:gd name="T58" fmla="*/ 57 w 72"/>
                    <a:gd name="T59" fmla="*/ 6 h 72"/>
                    <a:gd name="T60" fmla="*/ 50 w 72"/>
                    <a:gd name="T61" fmla="*/ 3 h 72"/>
                    <a:gd name="T62" fmla="*/ 44 w 72"/>
                    <a:gd name="T63" fmla="*/ 1 h 72"/>
                    <a:gd name="T64" fmla="*/ 36 w 72"/>
                    <a:gd name="T65" fmla="*/ 0 h 7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72" h="72">
                      <a:moveTo>
                        <a:pt x="36" y="0"/>
                      </a:moveTo>
                      <a:lnTo>
                        <a:pt x="29" y="1"/>
                      </a:lnTo>
                      <a:lnTo>
                        <a:pt x="22" y="3"/>
                      </a:lnTo>
                      <a:lnTo>
                        <a:pt x="16" y="6"/>
                      </a:lnTo>
                      <a:lnTo>
                        <a:pt x="10" y="10"/>
                      </a:lnTo>
                      <a:lnTo>
                        <a:pt x="6" y="16"/>
                      </a:lnTo>
                      <a:lnTo>
                        <a:pt x="3" y="21"/>
                      </a:lnTo>
                      <a:lnTo>
                        <a:pt x="0" y="29"/>
                      </a:lnTo>
                      <a:lnTo>
                        <a:pt x="0" y="35"/>
                      </a:lnTo>
                      <a:lnTo>
                        <a:pt x="0" y="43"/>
                      </a:lnTo>
                      <a:lnTo>
                        <a:pt x="3" y="49"/>
                      </a:lnTo>
                      <a:lnTo>
                        <a:pt x="6" y="56"/>
                      </a:lnTo>
                      <a:lnTo>
                        <a:pt x="10" y="61"/>
                      </a:lnTo>
                      <a:lnTo>
                        <a:pt x="16" y="66"/>
                      </a:lnTo>
                      <a:lnTo>
                        <a:pt x="22" y="69"/>
                      </a:lnTo>
                      <a:lnTo>
                        <a:pt x="29" y="71"/>
                      </a:lnTo>
                      <a:lnTo>
                        <a:pt x="36" y="72"/>
                      </a:lnTo>
                      <a:lnTo>
                        <a:pt x="44" y="71"/>
                      </a:lnTo>
                      <a:lnTo>
                        <a:pt x="50" y="69"/>
                      </a:lnTo>
                      <a:lnTo>
                        <a:pt x="57" y="66"/>
                      </a:lnTo>
                      <a:lnTo>
                        <a:pt x="61" y="61"/>
                      </a:lnTo>
                      <a:lnTo>
                        <a:pt x="66" y="56"/>
                      </a:lnTo>
                      <a:lnTo>
                        <a:pt x="70" y="49"/>
                      </a:lnTo>
                      <a:lnTo>
                        <a:pt x="72" y="43"/>
                      </a:lnTo>
                      <a:lnTo>
                        <a:pt x="72" y="35"/>
                      </a:lnTo>
                      <a:lnTo>
                        <a:pt x="72" y="29"/>
                      </a:lnTo>
                      <a:lnTo>
                        <a:pt x="70" y="21"/>
                      </a:lnTo>
                      <a:lnTo>
                        <a:pt x="66" y="16"/>
                      </a:lnTo>
                      <a:lnTo>
                        <a:pt x="61" y="10"/>
                      </a:lnTo>
                      <a:lnTo>
                        <a:pt x="57" y="6"/>
                      </a:lnTo>
                      <a:lnTo>
                        <a:pt x="50" y="3"/>
                      </a:lnTo>
                      <a:lnTo>
                        <a:pt x="44" y="1"/>
                      </a:lnTo>
                      <a:lnTo>
                        <a:pt x="3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</p:grpSp>
        </p:grpSp>
        <p:sp>
          <p:nvSpPr>
            <p:cNvPr id="51" name="矩形 50"/>
            <p:cNvSpPr/>
            <p:nvPr/>
          </p:nvSpPr>
          <p:spPr>
            <a:xfrm>
              <a:off x="3678268" y="3813039"/>
              <a:ext cx="2103668" cy="18524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6522251" y="2171201"/>
            <a:ext cx="2103668" cy="1827078"/>
            <a:chOff x="6522251" y="2171201"/>
            <a:chExt cx="2103668" cy="1827078"/>
          </a:xfrm>
          <a:solidFill>
            <a:schemeClr val="bg1"/>
          </a:solidFill>
        </p:grpSpPr>
        <p:grpSp>
          <p:nvGrpSpPr>
            <p:cNvPr id="38" name="组合 37"/>
            <p:cNvGrpSpPr/>
            <p:nvPr/>
          </p:nvGrpSpPr>
          <p:grpSpPr>
            <a:xfrm>
              <a:off x="6522251" y="2171201"/>
              <a:ext cx="2103668" cy="1662158"/>
              <a:chOff x="6522251" y="2597921"/>
              <a:chExt cx="2103668" cy="1662158"/>
            </a:xfrm>
            <a:grpFill/>
          </p:grpSpPr>
          <p:sp>
            <p:nvSpPr>
              <p:cNvPr id="14" name="Rectangle 34"/>
              <p:cNvSpPr/>
              <p:nvPr/>
            </p:nvSpPr>
            <p:spPr>
              <a:xfrm>
                <a:off x="6522251" y="2597921"/>
                <a:ext cx="2103668" cy="16621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200" kern="12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grpSp>
            <p:nvGrpSpPr>
              <p:cNvPr id="30" name="Group 70"/>
              <p:cNvGrpSpPr/>
              <p:nvPr/>
            </p:nvGrpSpPr>
            <p:grpSpPr>
              <a:xfrm>
                <a:off x="7312506" y="2890096"/>
                <a:ext cx="514230" cy="449951"/>
                <a:chOff x="2734468" y="4611290"/>
                <a:chExt cx="457200" cy="400050"/>
              </a:xfrm>
              <a:grpFill/>
            </p:grpSpPr>
            <p:sp>
              <p:nvSpPr>
                <p:cNvPr id="31" name="Freeform 104"/>
                <p:cNvSpPr/>
                <p:nvPr/>
              </p:nvSpPr>
              <p:spPr bwMode="auto">
                <a:xfrm>
                  <a:off x="2805906" y="4682728"/>
                  <a:ext cx="165100" cy="106363"/>
                </a:xfrm>
                <a:custGeom>
                  <a:avLst/>
                  <a:gdLst>
                    <a:gd name="T0" fmla="*/ 376 w 415"/>
                    <a:gd name="T1" fmla="*/ 1 h 270"/>
                    <a:gd name="T2" fmla="*/ 337 w 415"/>
                    <a:gd name="T3" fmla="*/ 3 h 270"/>
                    <a:gd name="T4" fmla="*/ 298 w 415"/>
                    <a:gd name="T5" fmla="*/ 8 h 270"/>
                    <a:gd name="T6" fmla="*/ 261 w 415"/>
                    <a:gd name="T7" fmla="*/ 16 h 270"/>
                    <a:gd name="T8" fmla="*/ 227 w 415"/>
                    <a:gd name="T9" fmla="*/ 26 h 270"/>
                    <a:gd name="T10" fmla="*/ 192 w 415"/>
                    <a:gd name="T11" fmla="*/ 37 h 270"/>
                    <a:gd name="T12" fmla="*/ 161 w 415"/>
                    <a:gd name="T13" fmla="*/ 50 h 270"/>
                    <a:gd name="T14" fmla="*/ 132 w 415"/>
                    <a:gd name="T15" fmla="*/ 67 h 270"/>
                    <a:gd name="T16" fmla="*/ 105 w 415"/>
                    <a:gd name="T17" fmla="*/ 84 h 270"/>
                    <a:gd name="T18" fmla="*/ 80 w 415"/>
                    <a:gd name="T19" fmla="*/ 102 h 270"/>
                    <a:gd name="T20" fmla="*/ 58 w 415"/>
                    <a:gd name="T21" fmla="*/ 123 h 270"/>
                    <a:gd name="T22" fmla="*/ 40 w 415"/>
                    <a:gd name="T23" fmla="*/ 143 h 270"/>
                    <a:gd name="T24" fmla="*/ 25 w 415"/>
                    <a:gd name="T25" fmla="*/ 166 h 270"/>
                    <a:gd name="T26" fmla="*/ 13 w 415"/>
                    <a:gd name="T27" fmla="*/ 190 h 270"/>
                    <a:gd name="T28" fmla="*/ 5 w 415"/>
                    <a:gd name="T29" fmla="*/ 215 h 270"/>
                    <a:gd name="T30" fmla="*/ 1 w 415"/>
                    <a:gd name="T31" fmla="*/ 239 h 270"/>
                    <a:gd name="T32" fmla="*/ 1 w 415"/>
                    <a:gd name="T33" fmla="*/ 256 h 270"/>
                    <a:gd name="T34" fmla="*/ 3 w 415"/>
                    <a:gd name="T35" fmla="*/ 262 h 270"/>
                    <a:gd name="T36" fmla="*/ 8 w 415"/>
                    <a:gd name="T37" fmla="*/ 266 h 270"/>
                    <a:gd name="T38" fmla="*/ 15 w 415"/>
                    <a:gd name="T39" fmla="*/ 270 h 270"/>
                    <a:gd name="T40" fmla="*/ 21 w 415"/>
                    <a:gd name="T41" fmla="*/ 270 h 270"/>
                    <a:gd name="T42" fmla="*/ 28 w 415"/>
                    <a:gd name="T43" fmla="*/ 266 h 270"/>
                    <a:gd name="T44" fmla="*/ 33 w 415"/>
                    <a:gd name="T45" fmla="*/ 262 h 270"/>
                    <a:gd name="T46" fmla="*/ 35 w 415"/>
                    <a:gd name="T47" fmla="*/ 256 h 270"/>
                    <a:gd name="T48" fmla="*/ 36 w 415"/>
                    <a:gd name="T49" fmla="*/ 242 h 270"/>
                    <a:gd name="T50" fmla="*/ 41 w 415"/>
                    <a:gd name="T51" fmla="*/ 220 h 270"/>
                    <a:gd name="T52" fmla="*/ 47 w 415"/>
                    <a:gd name="T53" fmla="*/ 199 h 270"/>
                    <a:gd name="T54" fmla="*/ 58 w 415"/>
                    <a:gd name="T55" fmla="*/ 179 h 270"/>
                    <a:gd name="T56" fmla="*/ 73 w 415"/>
                    <a:gd name="T57" fmla="*/ 161 h 270"/>
                    <a:gd name="T58" fmla="*/ 89 w 415"/>
                    <a:gd name="T59" fmla="*/ 142 h 270"/>
                    <a:gd name="T60" fmla="*/ 110 w 415"/>
                    <a:gd name="T61" fmla="*/ 125 h 270"/>
                    <a:gd name="T62" fmla="*/ 132 w 415"/>
                    <a:gd name="T63" fmla="*/ 109 h 270"/>
                    <a:gd name="T64" fmla="*/ 156 w 415"/>
                    <a:gd name="T65" fmla="*/ 94 h 270"/>
                    <a:gd name="T66" fmla="*/ 183 w 415"/>
                    <a:gd name="T67" fmla="*/ 80 h 270"/>
                    <a:gd name="T68" fmla="*/ 228 w 415"/>
                    <a:gd name="T69" fmla="*/ 62 h 270"/>
                    <a:gd name="T70" fmla="*/ 275 w 415"/>
                    <a:gd name="T71" fmla="*/ 49 h 270"/>
                    <a:gd name="T72" fmla="*/ 309 w 415"/>
                    <a:gd name="T73" fmla="*/ 43 h 270"/>
                    <a:gd name="T74" fmla="*/ 343 w 415"/>
                    <a:gd name="T75" fmla="*/ 39 h 270"/>
                    <a:gd name="T76" fmla="*/ 378 w 415"/>
                    <a:gd name="T77" fmla="*/ 36 h 270"/>
                    <a:gd name="T78" fmla="*/ 399 w 415"/>
                    <a:gd name="T79" fmla="*/ 35 h 270"/>
                    <a:gd name="T80" fmla="*/ 406 w 415"/>
                    <a:gd name="T81" fmla="*/ 33 h 270"/>
                    <a:gd name="T82" fmla="*/ 411 w 415"/>
                    <a:gd name="T83" fmla="*/ 28 h 270"/>
                    <a:gd name="T84" fmla="*/ 413 w 415"/>
                    <a:gd name="T85" fmla="*/ 21 h 270"/>
                    <a:gd name="T86" fmla="*/ 413 w 415"/>
                    <a:gd name="T87" fmla="*/ 15 h 270"/>
                    <a:gd name="T88" fmla="*/ 411 w 415"/>
                    <a:gd name="T89" fmla="*/ 8 h 270"/>
                    <a:gd name="T90" fmla="*/ 406 w 415"/>
                    <a:gd name="T91" fmla="*/ 3 h 270"/>
                    <a:gd name="T92" fmla="*/ 399 w 415"/>
                    <a:gd name="T93" fmla="*/ 1 h 2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415" h="270">
                      <a:moveTo>
                        <a:pt x="396" y="0"/>
                      </a:moveTo>
                      <a:lnTo>
                        <a:pt x="376" y="1"/>
                      </a:lnTo>
                      <a:lnTo>
                        <a:pt x="356" y="1"/>
                      </a:lnTo>
                      <a:lnTo>
                        <a:pt x="337" y="3"/>
                      </a:lnTo>
                      <a:lnTo>
                        <a:pt x="317" y="5"/>
                      </a:lnTo>
                      <a:lnTo>
                        <a:pt x="298" y="8"/>
                      </a:lnTo>
                      <a:lnTo>
                        <a:pt x="280" y="12"/>
                      </a:lnTo>
                      <a:lnTo>
                        <a:pt x="261" y="16"/>
                      </a:lnTo>
                      <a:lnTo>
                        <a:pt x="244" y="20"/>
                      </a:lnTo>
                      <a:lnTo>
                        <a:pt x="227" y="26"/>
                      </a:lnTo>
                      <a:lnTo>
                        <a:pt x="209" y="31"/>
                      </a:lnTo>
                      <a:lnTo>
                        <a:pt x="192" y="37"/>
                      </a:lnTo>
                      <a:lnTo>
                        <a:pt x="177" y="44"/>
                      </a:lnTo>
                      <a:lnTo>
                        <a:pt x="161" y="50"/>
                      </a:lnTo>
                      <a:lnTo>
                        <a:pt x="146" y="58"/>
                      </a:lnTo>
                      <a:lnTo>
                        <a:pt x="132" y="67"/>
                      </a:lnTo>
                      <a:lnTo>
                        <a:pt x="117" y="74"/>
                      </a:lnTo>
                      <a:lnTo>
                        <a:pt x="105" y="84"/>
                      </a:lnTo>
                      <a:lnTo>
                        <a:pt x="92" y="93"/>
                      </a:lnTo>
                      <a:lnTo>
                        <a:pt x="80" y="102"/>
                      </a:lnTo>
                      <a:lnTo>
                        <a:pt x="69" y="112"/>
                      </a:lnTo>
                      <a:lnTo>
                        <a:pt x="58" y="123"/>
                      </a:lnTo>
                      <a:lnTo>
                        <a:pt x="48" y="132"/>
                      </a:lnTo>
                      <a:lnTo>
                        <a:pt x="40" y="143"/>
                      </a:lnTo>
                      <a:lnTo>
                        <a:pt x="32" y="155"/>
                      </a:lnTo>
                      <a:lnTo>
                        <a:pt x="25" y="166"/>
                      </a:lnTo>
                      <a:lnTo>
                        <a:pt x="18" y="178"/>
                      </a:lnTo>
                      <a:lnTo>
                        <a:pt x="13" y="190"/>
                      </a:lnTo>
                      <a:lnTo>
                        <a:pt x="8" y="202"/>
                      </a:lnTo>
                      <a:lnTo>
                        <a:pt x="5" y="215"/>
                      </a:lnTo>
                      <a:lnTo>
                        <a:pt x="2" y="226"/>
                      </a:lnTo>
                      <a:lnTo>
                        <a:pt x="1" y="239"/>
                      </a:lnTo>
                      <a:lnTo>
                        <a:pt x="0" y="252"/>
                      </a:lnTo>
                      <a:lnTo>
                        <a:pt x="1" y="256"/>
                      </a:lnTo>
                      <a:lnTo>
                        <a:pt x="2" y="259"/>
                      </a:lnTo>
                      <a:lnTo>
                        <a:pt x="3" y="262"/>
                      </a:lnTo>
                      <a:lnTo>
                        <a:pt x="5" y="264"/>
                      </a:lnTo>
                      <a:lnTo>
                        <a:pt x="8" y="266"/>
                      </a:lnTo>
                      <a:lnTo>
                        <a:pt x="11" y="269"/>
                      </a:lnTo>
                      <a:lnTo>
                        <a:pt x="15" y="270"/>
                      </a:lnTo>
                      <a:lnTo>
                        <a:pt x="18" y="270"/>
                      </a:lnTo>
                      <a:lnTo>
                        <a:pt x="21" y="270"/>
                      </a:lnTo>
                      <a:lnTo>
                        <a:pt x="25" y="269"/>
                      </a:lnTo>
                      <a:lnTo>
                        <a:pt x="28" y="266"/>
                      </a:lnTo>
                      <a:lnTo>
                        <a:pt x="31" y="264"/>
                      </a:lnTo>
                      <a:lnTo>
                        <a:pt x="33" y="262"/>
                      </a:lnTo>
                      <a:lnTo>
                        <a:pt x="34" y="259"/>
                      </a:lnTo>
                      <a:lnTo>
                        <a:pt x="35" y="256"/>
                      </a:lnTo>
                      <a:lnTo>
                        <a:pt x="36" y="252"/>
                      </a:lnTo>
                      <a:lnTo>
                        <a:pt x="36" y="242"/>
                      </a:lnTo>
                      <a:lnTo>
                        <a:pt x="38" y="231"/>
                      </a:lnTo>
                      <a:lnTo>
                        <a:pt x="41" y="220"/>
                      </a:lnTo>
                      <a:lnTo>
                        <a:pt x="44" y="209"/>
                      </a:lnTo>
                      <a:lnTo>
                        <a:pt x="47" y="199"/>
                      </a:lnTo>
                      <a:lnTo>
                        <a:pt x="53" y="190"/>
                      </a:lnTo>
                      <a:lnTo>
                        <a:pt x="58" y="179"/>
                      </a:lnTo>
                      <a:lnTo>
                        <a:pt x="66" y="169"/>
                      </a:lnTo>
                      <a:lnTo>
                        <a:pt x="73" y="161"/>
                      </a:lnTo>
                      <a:lnTo>
                        <a:pt x="81" y="151"/>
                      </a:lnTo>
                      <a:lnTo>
                        <a:pt x="89" y="142"/>
                      </a:lnTo>
                      <a:lnTo>
                        <a:pt x="99" y="132"/>
                      </a:lnTo>
                      <a:lnTo>
                        <a:pt x="110" y="125"/>
                      </a:lnTo>
                      <a:lnTo>
                        <a:pt x="121" y="116"/>
                      </a:lnTo>
                      <a:lnTo>
                        <a:pt x="132" y="109"/>
                      </a:lnTo>
                      <a:lnTo>
                        <a:pt x="145" y="101"/>
                      </a:lnTo>
                      <a:lnTo>
                        <a:pt x="156" y="94"/>
                      </a:lnTo>
                      <a:lnTo>
                        <a:pt x="170" y="86"/>
                      </a:lnTo>
                      <a:lnTo>
                        <a:pt x="183" y="80"/>
                      </a:lnTo>
                      <a:lnTo>
                        <a:pt x="197" y="74"/>
                      </a:lnTo>
                      <a:lnTo>
                        <a:pt x="228" y="62"/>
                      </a:lnTo>
                      <a:lnTo>
                        <a:pt x="259" y="54"/>
                      </a:lnTo>
                      <a:lnTo>
                        <a:pt x="275" y="49"/>
                      </a:lnTo>
                      <a:lnTo>
                        <a:pt x="291" y="46"/>
                      </a:lnTo>
                      <a:lnTo>
                        <a:pt x="309" y="43"/>
                      </a:lnTo>
                      <a:lnTo>
                        <a:pt x="326" y="41"/>
                      </a:lnTo>
                      <a:lnTo>
                        <a:pt x="343" y="39"/>
                      </a:lnTo>
                      <a:lnTo>
                        <a:pt x="361" y="37"/>
                      </a:lnTo>
                      <a:lnTo>
                        <a:pt x="378" y="36"/>
                      </a:lnTo>
                      <a:lnTo>
                        <a:pt x="396" y="36"/>
                      </a:lnTo>
                      <a:lnTo>
                        <a:pt x="399" y="35"/>
                      </a:lnTo>
                      <a:lnTo>
                        <a:pt x="403" y="34"/>
                      </a:lnTo>
                      <a:lnTo>
                        <a:pt x="406" y="33"/>
                      </a:lnTo>
                      <a:lnTo>
                        <a:pt x="409" y="31"/>
                      </a:lnTo>
                      <a:lnTo>
                        <a:pt x="411" y="28"/>
                      </a:lnTo>
                      <a:lnTo>
                        <a:pt x="412" y="24"/>
                      </a:lnTo>
                      <a:lnTo>
                        <a:pt x="413" y="21"/>
                      </a:lnTo>
                      <a:lnTo>
                        <a:pt x="415" y="18"/>
                      </a:lnTo>
                      <a:lnTo>
                        <a:pt x="413" y="15"/>
                      </a:lnTo>
                      <a:lnTo>
                        <a:pt x="412" y="10"/>
                      </a:lnTo>
                      <a:lnTo>
                        <a:pt x="411" y="8"/>
                      </a:lnTo>
                      <a:lnTo>
                        <a:pt x="409" y="5"/>
                      </a:lnTo>
                      <a:lnTo>
                        <a:pt x="406" y="3"/>
                      </a:lnTo>
                      <a:lnTo>
                        <a:pt x="403" y="2"/>
                      </a:lnTo>
                      <a:lnTo>
                        <a:pt x="399" y="1"/>
                      </a:lnTo>
                      <a:lnTo>
                        <a:pt x="396" y="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32" name="Freeform 105"/>
                <p:cNvSpPr>
                  <a:spLocks noEditPoints="1"/>
                </p:cNvSpPr>
                <p:nvPr/>
              </p:nvSpPr>
              <p:spPr bwMode="auto">
                <a:xfrm>
                  <a:off x="2734468" y="4611290"/>
                  <a:ext cx="457200" cy="400050"/>
                </a:xfrm>
                <a:custGeom>
                  <a:avLst/>
                  <a:gdLst>
                    <a:gd name="T0" fmla="*/ 476 w 1152"/>
                    <a:gd name="T1" fmla="*/ 784 h 1008"/>
                    <a:gd name="T2" fmla="*/ 441 w 1152"/>
                    <a:gd name="T3" fmla="*/ 788 h 1008"/>
                    <a:gd name="T4" fmla="*/ 409 w 1152"/>
                    <a:gd name="T5" fmla="*/ 810 h 1008"/>
                    <a:gd name="T6" fmla="*/ 352 w 1152"/>
                    <a:gd name="T7" fmla="*/ 864 h 1008"/>
                    <a:gd name="T8" fmla="*/ 316 w 1152"/>
                    <a:gd name="T9" fmla="*/ 850 h 1008"/>
                    <a:gd name="T10" fmla="*/ 325 w 1152"/>
                    <a:gd name="T11" fmla="*/ 792 h 1008"/>
                    <a:gd name="T12" fmla="*/ 314 w 1152"/>
                    <a:gd name="T13" fmla="*/ 752 h 1008"/>
                    <a:gd name="T14" fmla="*/ 261 w 1152"/>
                    <a:gd name="T15" fmla="*/ 712 h 1008"/>
                    <a:gd name="T16" fmla="*/ 159 w 1152"/>
                    <a:gd name="T17" fmla="*/ 633 h 1008"/>
                    <a:gd name="T18" fmla="*/ 94 w 1152"/>
                    <a:gd name="T19" fmla="*/ 537 h 1008"/>
                    <a:gd name="T20" fmla="*/ 72 w 1152"/>
                    <a:gd name="T21" fmla="*/ 432 h 1008"/>
                    <a:gd name="T22" fmla="*/ 88 w 1152"/>
                    <a:gd name="T23" fmla="*/ 342 h 1008"/>
                    <a:gd name="T24" fmla="*/ 133 w 1152"/>
                    <a:gd name="T25" fmla="*/ 261 h 1008"/>
                    <a:gd name="T26" fmla="*/ 204 w 1152"/>
                    <a:gd name="T27" fmla="*/ 190 h 1008"/>
                    <a:gd name="T28" fmla="*/ 294 w 1152"/>
                    <a:gd name="T29" fmla="*/ 133 h 1008"/>
                    <a:gd name="T30" fmla="*/ 403 w 1152"/>
                    <a:gd name="T31" fmla="*/ 93 h 1008"/>
                    <a:gd name="T32" fmla="*/ 524 w 1152"/>
                    <a:gd name="T33" fmla="*/ 74 h 1008"/>
                    <a:gd name="T34" fmla="*/ 653 w 1152"/>
                    <a:gd name="T35" fmla="*/ 76 h 1008"/>
                    <a:gd name="T36" fmla="*/ 772 w 1152"/>
                    <a:gd name="T37" fmla="*/ 100 h 1008"/>
                    <a:gd name="T38" fmla="*/ 877 w 1152"/>
                    <a:gd name="T39" fmla="*/ 144 h 1008"/>
                    <a:gd name="T40" fmla="*/ 965 w 1152"/>
                    <a:gd name="T41" fmla="*/ 203 h 1008"/>
                    <a:gd name="T42" fmla="*/ 1030 w 1152"/>
                    <a:gd name="T43" fmla="*/ 276 h 1008"/>
                    <a:gd name="T44" fmla="*/ 1070 w 1152"/>
                    <a:gd name="T45" fmla="*/ 359 h 1008"/>
                    <a:gd name="T46" fmla="*/ 1079 w 1152"/>
                    <a:gd name="T47" fmla="*/ 451 h 1008"/>
                    <a:gd name="T48" fmla="*/ 1057 w 1152"/>
                    <a:gd name="T49" fmla="*/ 539 h 1008"/>
                    <a:gd name="T50" fmla="*/ 1007 w 1152"/>
                    <a:gd name="T51" fmla="*/ 618 h 1008"/>
                    <a:gd name="T52" fmla="*/ 933 w 1152"/>
                    <a:gd name="T53" fmla="*/ 686 h 1008"/>
                    <a:gd name="T54" fmla="*/ 838 w 1152"/>
                    <a:gd name="T55" fmla="*/ 740 h 1008"/>
                    <a:gd name="T56" fmla="*/ 725 w 1152"/>
                    <a:gd name="T57" fmla="*/ 776 h 1008"/>
                    <a:gd name="T58" fmla="*/ 602 w 1152"/>
                    <a:gd name="T59" fmla="*/ 791 h 1008"/>
                    <a:gd name="T60" fmla="*/ 489 w 1152"/>
                    <a:gd name="T61" fmla="*/ 5 h 1008"/>
                    <a:gd name="T62" fmla="*/ 352 w 1152"/>
                    <a:gd name="T63" fmla="*/ 34 h 1008"/>
                    <a:gd name="T64" fmla="*/ 232 w 1152"/>
                    <a:gd name="T65" fmla="*/ 86 h 1008"/>
                    <a:gd name="T66" fmla="*/ 131 w 1152"/>
                    <a:gd name="T67" fmla="*/ 157 h 1008"/>
                    <a:gd name="T68" fmla="*/ 57 w 1152"/>
                    <a:gd name="T69" fmla="*/ 244 h 1008"/>
                    <a:gd name="T70" fmla="*/ 11 w 1152"/>
                    <a:gd name="T71" fmla="*/ 345 h 1008"/>
                    <a:gd name="T72" fmla="*/ 0 w 1152"/>
                    <a:gd name="T73" fmla="*/ 445 h 1008"/>
                    <a:gd name="T74" fmla="*/ 10 w 1152"/>
                    <a:gd name="T75" fmla="*/ 513 h 1008"/>
                    <a:gd name="T76" fmla="*/ 53 w 1152"/>
                    <a:gd name="T77" fmla="*/ 614 h 1008"/>
                    <a:gd name="T78" fmla="*/ 148 w 1152"/>
                    <a:gd name="T79" fmla="*/ 722 h 1008"/>
                    <a:gd name="T80" fmla="*/ 252 w 1152"/>
                    <a:gd name="T81" fmla="*/ 791 h 1008"/>
                    <a:gd name="T82" fmla="*/ 245 w 1152"/>
                    <a:gd name="T83" fmla="*/ 841 h 1008"/>
                    <a:gd name="T84" fmla="*/ 192 w 1152"/>
                    <a:gd name="T85" fmla="*/ 948 h 1008"/>
                    <a:gd name="T86" fmla="*/ 181 w 1152"/>
                    <a:gd name="T87" fmla="*/ 982 h 1008"/>
                    <a:gd name="T88" fmla="*/ 200 w 1152"/>
                    <a:gd name="T89" fmla="*/ 1005 h 1008"/>
                    <a:gd name="T90" fmla="*/ 242 w 1152"/>
                    <a:gd name="T91" fmla="*/ 1003 h 1008"/>
                    <a:gd name="T92" fmla="*/ 342 w 1152"/>
                    <a:gd name="T93" fmla="*/ 959 h 1008"/>
                    <a:gd name="T94" fmla="*/ 421 w 1152"/>
                    <a:gd name="T95" fmla="*/ 900 h 1008"/>
                    <a:gd name="T96" fmla="*/ 520 w 1152"/>
                    <a:gd name="T97" fmla="*/ 862 h 1008"/>
                    <a:gd name="T98" fmla="*/ 664 w 1152"/>
                    <a:gd name="T99" fmla="*/ 859 h 1008"/>
                    <a:gd name="T100" fmla="*/ 800 w 1152"/>
                    <a:gd name="T101" fmla="*/ 830 h 1008"/>
                    <a:gd name="T102" fmla="*/ 921 w 1152"/>
                    <a:gd name="T103" fmla="*/ 778 h 1008"/>
                    <a:gd name="T104" fmla="*/ 1020 w 1152"/>
                    <a:gd name="T105" fmla="*/ 707 h 1008"/>
                    <a:gd name="T106" fmla="*/ 1096 w 1152"/>
                    <a:gd name="T107" fmla="*/ 619 h 1008"/>
                    <a:gd name="T108" fmla="*/ 1140 w 1152"/>
                    <a:gd name="T109" fmla="*/ 519 h 1008"/>
                    <a:gd name="T110" fmla="*/ 1151 w 1152"/>
                    <a:gd name="T111" fmla="*/ 410 h 1008"/>
                    <a:gd name="T112" fmla="*/ 1126 w 1152"/>
                    <a:gd name="T113" fmla="*/ 304 h 1008"/>
                    <a:gd name="T114" fmla="*/ 1069 w 1152"/>
                    <a:gd name="T115" fmla="*/ 208 h 1008"/>
                    <a:gd name="T116" fmla="*/ 983 w 1152"/>
                    <a:gd name="T117" fmla="*/ 127 h 1008"/>
                    <a:gd name="T118" fmla="*/ 874 w 1152"/>
                    <a:gd name="T119" fmla="*/ 62 h 1008"/>
                    <a:gd name="T120" fmla="*/ 747 w 1152"/>
                    <a:gd name="T121" fmla="*/ 20 h 1008"/>
                    <a:gd name="T122" fmla="*/ 605 w 1152"/>
                    <a:gd name="T123" fmla="*/ 0 h 100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152" h="1008">
                      <a:moveTo>
                        <a:pt x="576" y="792"/>
                      </a:moveTo>
                      <a:lnTo>
                        <a:pt x="551" y="791"/>
                      </a:lnTo>
                      <a:lnTo>
                        <a:pt x="526" y="790"/>
                      </a:lnTo>
                      <a:lnTo>
                        <a:pt x="501" y="788"/>
                      </a:lnTo>
                      <a:lnTo>
                        <a:pt x="476" y="784"/>
                      </a:lnTo>
                      <a:lnTo>
                        <a:pt x="470" y="783"/>
                      </a:lnTo>
                      <a:lnTo>
                        <a:pt x="465" y="783"/>
                      </a:lnTo>
                      <a:lnTo>
                        <a:pt x="457" y="784"/>
                      </a:lnTo>
                      <a:lnTo>
                        <a:pt x="449" y="786"/>
                      </a:lnTo>
                      <a:lnTo>
                        <a:pt x="441" y="788"/>
                      </a:lnTo>
                      <a:lnTo>
                        <a:pt x="435" y="791"/>
                      </a:lnTo>
                      <a:lnTo>
                        <a:pt x="427" y="794"/>
                      </a:lnTo>
                      <a:lnTo>
                        <a:pt x="421" y="798"/>
                      </a:lnTo>
                      <a:lnTo>
                        <a:pt x="415" y="804"/>
                      </a:lnTo>
                      <a:lnTo>
                        <a:pt x="409" y="810"/>
                      </a:lnTo>
                      <a:lnTo>
                        <a:pt x="402" y="818"/>
                      </a:lnTo>
                      <a:lnTo>
                        <a:pt x="393" y="828"/>
                      </a:lnTo>
                      <a:lnTo>
                        <a:pt x="381" y="840"/>
                      </a:lnTo>
                      <a:lnTo>
                        <a:pt x="368" y="851"/>
                      </a:lnTo>
                      <a:lnTo>
                        <a:pt x="352" y="864"/>
                      </a:lnTo>
                      <a:lnTo>
                        <a:pt x="335" y="876"/>
                      </a:lnTo>
                      <a:lnTo>
                        <a:pt x="317" y="889"/>
                      </a:lnTo>
                      <a:lnTo>
                        <a:pt x="299" y="901"/>
                      </a:lnTo>
                      <a:lnTo>
                        <a:pt x="308" y="876"/>
                      </a:lnTo>
                      <a:lnTo>
                        <a:pt x="316" y="850"/>
                      </a:lnTo>
                      <a:lnTo>
                        <a:pt x="319" y="837"/>
                      </a:lnTo>
                      <a:lnTo>
                        <a:pt x="321" y="823"/>
                      </a:lnTo>
                      <a:lnTo>
                        <a:pt x="323" y="809"/>
                      </a:lnTo>
                      <a:lnTo>
                        <a:pt x="323" y="796"/>
                      </a:lnTo>
                      <a:lnTo>
                        <a:pt x="325" y="792"/>
                      </a:lnTo>
                      <a:lnTo>
                        <a:pt x="325" y="789"/>
                      </a:lnTo>
                      <a:lnTo>
                        <a:pt x="323" y="779"/>
                      </a:lnTo>
                      <a:lnTo>
                        <a:pt x="321" y="769"/>
                      </a:lnTo>
                      <a:lnTo>
                        <a:pt x="318" y="761"/>
                      </a:lnTo>
                      <a:lnTo>
                        <a:pt x="314" y="752"/>
                      </a:lnTo>
                      <a:lnTo>
                        <a:pt x="308" y="743"/>
                      </a:lnTo>
                      <a:lnTo>
                        <a:pt x="302" y="737"/>
                      </a:lnTo>
                      <a:lnTo>
                        <a:pt x="293" y="730"/>
                      </a:lnTo>
                      <a:lnTo>
                        <a:pt x="285" y="725"/>
                      </a:lnTo>
                      <a:lnTo>
                        <a:pt x="261" y="712"/>
                      </a:lnTo>
                      <a:lnTo>
                        <a:pt x="238" y="698"/>
                      </a:lnTo>
                      <a:lnTo>
                        <a:pt x="215" y="683"/>
                      </a:lnTo>
                      <a:lnTo>
                        <a:pt x="196" y="667"/>
                      </a:lnTo>
                      <a:lnTo>
                        <a:pt x="177" y="651"/>
                      </a:lnTo>
                      <a:lnTo>
                        <a:pt x="159" y="633"/>
                      </a:lnTo>
                      <a:lnTo>
                        <a:pt x="143" y="615"/>
                      </a:lnTo>
                      <a:lnTo>
                        <a:pt x="129" y="597"/>
                      </a:lnTo>
                      <a:lnTo>
                        <a:pt x="116" y="577"/>
                      </a:lnTo>
                      <a:lnTo>
                        <a:pt x="104" y="558"/>
                      </a:lnTo>
                      <a:lnTo>
                        <a:pt x="94" y="537"/>
                      </a:lnTo>
                      <a:lnTo>
                        <a:pt x="87" y="517"/>
                      </a:lnTo>
                      <a:lnTo>
                        <a:pt x="80" y="496"/>
                      </a:lnTo>
                      <a:lnTo>
                        <a:pt x="76" y="474"/>
                      </a:lnTo>
                      <a:lnTo>
                        <a:pt x="73" y="454"/>
                      </a:lnTo>
                      <a:lnTo>
                        <a:pt x="72" y="432"/>
                      </a:lnTo>
                      <a:lnTo>
                        <a:pt x="73" y="413"/>
                      </a:lnTo>
                      <a:lnTo>
                        <a:pt x="75" y="396"/>
                      </a:lnTo>
                      <a:lnTo>
                        <a:pt x="78" y="377"/>
                      </a:lnTo>
                      <a:lnTo>
                        <a:pt x="83" y="359"/>
                      </a:lnTo>
                      <a:lnTo>
                        <a:pt x="88" y="342"/>
                      </a:lnTo>
                      <a:lnTo>
                        <a:pt x="94" y="325"/>
                      </a:lnTo>
                      <a:lnTo>
                        <a:pt x="103" y="308"/>
                      </a:lnTo>
                      <a:lnTo>
                        <a:pt x="112" y="292"/>
                      </a:lnTo>
                      <a:lnTo>
                        <a:pt x="121" y="276"/>
                      </a:lnTo>
                      <a:lnTo>
                        <a:pt x="133" y="261"/>
                      </a:lnTo>
                      <a:lnTo>
                        <a:pt x="145" y="246"/>
                      </a:lnTo>
                      <a:lnTo>
                        <a:pt x="158" y="230"/>
                      </a:lnTo>
                      <a:lnTo>
                        <a:pt x="172" y="216"/>
                      </a:lnTo>
                      <a:lnTo>
                        <a:pt x="187" y="203"/>
                      </a:lnTo>
                      <a:lnTo>
                        <a:pt x="204" y="190"/>
                      </a:lnTo>
                      <a:lnTo>
                        <a:pt x="220" y="177"/>
                      </a:lnTo>
                      <a:lnTo>
                        <a:pt x="237" y="166"/>
                      </a:lnTo>
                      <a:lnTo>
                        <a:pt x="255" y="154"/>
                      </a:lnTo>
                      <a:lnTo>
                        <a:pt x="275" y="144"/>
                      </a:lnTo>
                      <a:lnTo>
                        <a:pt x="294" y="133"/>
                      </a:lnTo>
                      <a:lnTo>
                        <a:pt x="315" y="125"/>
                      </a:lnTo>
                      <a:lnTo>
                        <a:pt x="336" y="116"/>
                      </a:lnTo>
                      <a:lnTo>
                        <a:pt x="358" y="107"/>
                      </a:lnTo>
                      <a:lnTo>
                        <a:pt x="380" y="100"/>
                      </a:lnTo>
                      <a:lnTo>
                        <a:pt x="403" y="93"/>
                      </a:lnTo>
                      <a:lnTo>
                        <a:pt x="426" y="88"/>
                      </a:lnTo>
                      <a:lnTo>
                        <a:pt x="450" y="84"/>
                      </a:lnTo>
                      <a:lnTo>
                        <a:pt x="475" y="79"/>
                      </a:lnTo>
                      <a:lnTo>
                        <a:pt x="499" y="76"/>
                      </a:lnTo>
                      <a:lnTo>
                        <a:pt x="524" y="74"/>
                      </a:lnTo>
                      <a:lnTo>
                        <a:pt x="550" y="73"/>
                      </a:lnTo>
                      <a:lnTo>
                        <a:pt x="576" y="72"/>
                      </a:lnTo>
                      <a:lnTo>
                        <a:pt x="602" y="73"/>
                      </a:lnTo>
                      <a:lnTo>
                        <a:pt x="628" y="74"/>
                      </a:lnTo>
                      <a:lnTo>
                        <a:pt x="653" y="76"/>
                      </a:lnTo>
                      <a:lnTo>
                        <a:pt x="678" y="79"/>
                      </a:lnTo>
                      <a:lnTo>
                        <a:pt x="701" y="84"/>
                      </a:lnTo>
                      <a:lnTo>
                        <a:pt x="725" y="88"/>
                      </a:lnTo>
                      <a:lnTo>
                        <a:pt x="749" y="93"/>
                      </a:lnTo>
                      <a:lnTo>
                        <a:pt x="772" y="100"/>
                      </a:lnTo>
                      <a:lnTo>
                        <a:pt x="794" y="107"/>
                      </a:lnTo>
                      <a:lnTo>
                        <a:pt x="816" y="116"/>
                      </a:lnTo>
                      <a:lnTo>
                        <a:pt x="838" y="125"/>
                      </a:lnTo>
                      <a:lnTo>
                        <a:pt x="858" y="133"/>
                      </a:lnTo>
                      <a:lnTo>
                        <a:pt x="877" y="144"/>
                      </a:lnTo>
                      <a:lnTo>
                        <a:pt x="897" y="154"/>
                      </a:lnTo>
                      <a:lnTo>
                        <a:pt x="914" y="166"/>
                      </a:lnTo>
                      <a:lnTo>
                        <a:pt x="933" y="177"/>
                      </a:lnTo>
                      <a:lnTo>
                        <a:pt x="949" y="190"/>
                      </a:lnTo>
                      <a:lnTo>
                        <a:pt x="965" y="203"/>
                      </a:lnTo>
                      <a:lnTo>
                        <a:pt x="980" y="216"/>
                      </a:lnTo>
                      <a:lnTo>
                        <a:pt x="994" y="230"/>
                      </a:lnTo>
                      <a:lnTo>
                        <a:pt x="1007" y="246"/>
                      </a:lnTo>
                      <a:lnTo>
                        <a:pt x="1019" y="261"/>
                      </a:lnTo>
                      <a:lnTo>
                        <a:pt x="1030" y="276"/>
                      </a:lnTo>
                      <a:lnTo>
                        <a:pt x="1041" y="292"/>
                      </a:lnTo>
                      <a:lnTo>
                        <a:pt x="1049" y="308"/>
                      </a:lnTo>
                      <a:lnTo>
                        <a:pt x="1057" y="325"/>
                      </a:lnTo>
                      <a:lnTo>
                        <a:pt x="1064" y="342"/>
                      </a:lnTo>
                      <a:lnTo>
                        <a:pt x="1070" y="359"/>
                      </a:lnTo>
                      <a:lnTo>
                        <a:pt x="1074" y="377"/>
                      </a:lnTo>
                      <a:lnTo>
                        <a:pt x="1077" y="396"/>
                      </a:lnTo>
                      <a:lnTo>
                        <a:pt x="1079" y="413"/>
                      </a:lnTo>
                      <a:lnTo>
                        <a:pt x="1081" y="432"/>
                      </a:lnTo>
                      <a:lnTo>
                        <a:pt x="1079" y="451"/>
                      </a:lnTo>
                      <a:lnTo>
                        <a:pt x="1077" y="469"/>
                      </a:lnTo>
                      <a:lnTo>
                        <a:pt x="1074" y="486"/>
                      </a:lnTo>
                      <a:lnTo>
                        <a:pt x="1070" y="505"/>
                      </a:lnTo>
                      <a:lnTo>
                        <a:pt x="1064" y="522"/>
                      </a:lnTo>
                      <a:lnTo>
                        <a:pt x="1057" y="539"/>
                      </a:lnTo>
                      <a:lnTo>
                        <a:pt x="1049" y="555"/>
                      </a:lnTo>
                      <a:lnTo>
                        <a:pt x="1041" y="572"/>
                      </a:lnTo>
                      <a:lnTo>
                        <a:pt x="1030" y="588"/>
                      </a:lnTo>
                      <a:lnTo>
                        <a:pt x="1019" y="603"/>
                      </a:lnTo>
                      <a:lnTo>
                        <a:pt x="1007" y="618"/>
                      </a:lnTo>
                      <a:lnTo>
                        <a:pt x="994" y="633"/>
                      </a:lnTo>
                      <a:lnTo>
                        <a:pt x="980" y="647"/>
                      </a:lnTo>
                      <a:lnTo>
                        <a:pt x="965" y="660"/>
                      </a:lnTo>
                      <a:lnTo>
                        <a:pt x="949" y="674"/>
                      </a:lnTo>
                      <a:lnTo>
                        <a:pt x="933" y="686"/>
                      </a:lnTo>
                      <a:lnTo>
                        <a:pt x="914" y="698"/>
                      </a:lnTo>
                      <a:lnTo>
                        <a:pt x="897" y="710"/>
                      </a:lnTo>
                      <a:lnTo>
                        <a:pt x="877" y="721"/>
                      </a:lnTo>
                      <a:lnTo>
                        <a:pt x="858" y="730"/>
                      </a:lnTo>
                      <a:lnTo>
                        <a:pt x="838" y="740"/>
                      </a:lnTo>
                      <a:lnTo>
                        <a:pt x="816" y="749"/>
                      </a:lnTo>
                      <a:lnTo>
                        <a:pt x="794" y="756"/>
                      </a:lnTo>
                      <a:lnTo>
                        <a:pt x="772" y="764"/>
                      </a:lnTo>
                      <a:lnTo>
                        <a:pt x="749" y="770"/>
                      </a:lnTo>
                      <a:lnTo>
                        <a:pt x="725" y="776"/>
                      </a:lnTo>
                      <a:lnTo>
                        <a:pt x="701" y="780"/>
                      </a:lnTo>
                      <a:lnTo>
                        <a:pt x="678" y="784"/>
                      </a:lnTo>
                      <a:lnTo>
                        <a:pt x="653" y="788"/>
                      </a:lnTo>
                      <a:lnTo>
                        <a:pt x="628" y="790"/>
                      </a:lnTo>
                      <a:lnTo>
                        <a:pt x="602" y="791"/>
                      </a:lnTo>
                      <a:lnTo>
                        <a:pt x="576" y="792"/>
                      </a:lnTo>
                      <a:close/>
                      <a:moveTo>
                        <a:pt x="576" y="0"/>
                      </a:moveTo>
                      <a:lnTo>
                        <a:pt x="546" y="0"/>
                      </a:lnTo>
                      <a:lnTo>
                        <a:pt x="517" y="3"/>
                      </a:lnTo>
                      <a:lnTo>
                        <a:pt x="489" y="5"/>
                      </a:lnTo>
                      <a:lnTo>
                        <a:pt x="460" y="9"/>
                      </a:lnTo>
                      <a:lnTo>
                        <a:pt x="433" y="13"/>
                      </a:lnTo>
                      <a:lnTo>
                        <a:pt x="404" y="20"/>
                      </a:lnTo>
                      <a:lnTo>
                        <a:pt x="377" y="26"/>
                      </a:lnTo>
                      <a:lnTo>
                        <a:pt x="352" y="34"/>
                      </a:lnTo>
                      <a:lnTo>
                        <a:pt x="327" y="42"/>
                      </a:lnTo>
                      <a:lnTo>
                        <a:pt x="302" y="52"/>
                      </a:lnTo>
                      <a:lnTo>
                        <a:pt x="277" y="62"/>
                      </a:lnTo>
                      <a:lnTo>
                        <a:pt x="254" y="74"/>
                      </a:lnTo>
                      <a:lnTo>
                        <a:pt x="232" y="86"/>
                      </a:lnTo>
                      <a:lnTo>
                        <a:pt x="210" y="99"/>
                      </a:lnTo>
                      <a:lnTo>
                        <a:pt x="188" y="112"/>
                      </a:lnTo>
                      <a:lnTo>
                        <a:pt x="169" y="127"/>
                      </a:lnTo>
                      <a:lnTo>
                        <a:pt x="150" y="142"/>
                      </a:lnTo>
                      <a:lnTo>
                        <a:pt x="131" y="157"/>
                      </a:lnTo>
                      <a:lnTo>
                        <a:pt x="114" y="173"/>
                      </a:lnTo>
                      <a:lnTo>
                        <a:pt x="99" y="190"/>
                      </a:lnTo>
                      <a:lnTo>
                        <a:pt x="84" y="208"/>
                      </a:lnTo>
                      <a:lnTo>
                        <a:pt x="70" y="226"/>
                      </a:lnTo>
                      <a:lnTo>
                        <a:pt x="57" y="244"/>
                      </a:lnTo>
                      <a:lnTo>
                        <a:pt x="45" y="264"/>
                      </a:lnTo>
                      <a:lnTo>
                        <a:pt x="35" y="283"/>
                      </a:lnTo>
                      <a:lnTo>
                        <a:pt x="26" y="304"/>
                      </a:lnTo>
                      <a:lnTo>
                        <a:pt x="18" y="324"/>
                      </a:lnTo>
                      <a:lnTo>
                        <a:pt x="11" y="345"/>
                      </a:lnTo>
                      <a:lnTo>
                        <a:pt x="7" y="366"/>
                      </a:lnTo>
                      <a:lnTo>
                        <a:pt x="3" y="388"/>
                      </a:lnTo>
                      <a:lnTo>
                        <a:pt x="0" y="410"/>
                      </a:lnTo>
                      <a:lnTo>
                        <a:pt x="0" y="432"/>
                      </a:lnTo>
                      <a:lnTo>
                        <a:pt x="0" y="445"/>
                      </a:lnTo>
                      <a:lnTo>
                        <a:pt x="2" y="459"/>
                      </a:lnTo>
                      <a:lnTo>
                        <a:pt x="3" y="473"/>
                      </a:lnTo>
                      <a:lnTo>
                        <a:pt x="5" y="486"/>
                      </a:lnTo>
                      <a:lnTo>
                        <a:pt x="7" y="500"/>
                      </a:lnTo>
                      <a:lnTo>
                        <a:pt x="10" y="513"/>
                      </a:lnTo>
                      <a:lnTo>
                        <a:pt x="13" y="526"/>
                      </a:lnTo>
                      <a:lnTo>
                        <a:pt x="18" y="539"/>
                      </a:lnTo>
                      <a:lnTo>
                        <a:pt x="27" y="565"/>
                      </a:lnTo>
                      <a:lnTo>
                        <a:pt x="39" y="590"/>
                      </a:lnTo>
                      <a:lnTo>
                        <a:pt x="53" y="614"/>
                      </a:lnTo>
                      <a:lnTo>
                        <a:pt x="69" y="638"/>
                      </a:lnTo>
                      <a:lnTo>
                        <a:pt x="87" y="659"/>
                      </a:lnTo>
                      <a:lnTo>
                        <a:pt x="105" y="681"/>
                      </a:lnTo>
                      <a:lnTo>
                        <a:pt x="126" y="701"/>
                      </a:lnTo>
                      <a:lnTo>
                        <a:pt x="148" y="722"/>
                      </a:lnTo>
                      <a:lnTo>
                        <a:pt x="172" y="740"/>
                      </a:lnTo>
                      <a:lnTo>
                        <a:pt x="198" y="757"/>
                      </a:lnTo>
                      <a:lnTo>
                        <a:pt x="224" y="774"/>
                      </a:lnTo>
                      <a:lnTo>
                        <a:pt x="252" y="789"/>
                      </a:lnTo>
                      <a:lnTo>
                        <a:pt x="252" y="791"/>
                      </a:lnTo>
                      <a:lnTo>
                        <a:pt x="252" y="792"/>
                      </a:lnTo>
                      <a:lnTo>
                        <a:pt x="251" y="804"/>
                      </a:lnTo>
                      <a:lnTo>
                        <a:pt x="250" y="816"/>
                      </a:lnTo>
                      <a:lnTo>
                        <a:pt x="248" y="829"/>
                      </a:lnTo>
                      <a:lnTo>
                        <a:pt x="245" y="841"/>
                      </a:lnTo>
                      <a:lnTo>
                        <a:pt x="236" y="864"/>
                      </a:lnTo>
                      <a:lnTo>
                        <a:pt x="225" y="888"/>
                      </a:lnTo>
                      <a:lnTo>
                        <a:pt x="214" y="910"/>
                      </a:lnTo>
                      <a:lnTo>
                        <a:pt x="202" y="929"/>
                      </a:lnTo>
                      <a:lnTo>
                        <a:pt x="192" y="948"/>
                      </a:lnTo>
                      <a:lnTo>
                        <a:pt x="183" y="963"/>
                      </a:lnTo>
                      <a:lnTo>
                        <a:pt x="183" y="963"/>
                      </a:lnTo>
                      <a:lnTo>
                        <a:pt x="181" y="968"/>
                      </a:lnTo>
                      <a:lnTo>
                        <a:pt x="180" y="976"/>
                      </a:lnTo>
                      <a:lnTo>
                        <a:pt x="181" y="982"/>
                      </a:lnTo>
                      <a:lnTo>
                        <a:pt x="183" y="987"/>
                      </a:lnTo>
                      <a:lnTo>
                        <a:pt x="185" y="994"/>
                      </a:lnTo>
                      <a:lnTo>
                        <a:pt x="189" y="998"/>
                      </a:lnTo>
                      <a:lnTo>
                        <a:pt x="195" y="1003"/>
                      </a:lnTo>
                      <a:lnTo>
                        <a:pt x="200" y="1005"/>
                      </a:lnTo>
                      <a:lnTo>
                        <a:pt x="206" y="1007"/>
                      </a:lnTo>
                      <a:lnTo>
                        <a:pt x="212" y="1008"/>
                      </a:lnTo>
                      <a:lnTo>
                        <a:pt x="219" y="1008"/>
                      </a:lnTo>
                      <a:lnTo>
                        <a:pt x="222" y="1007"/>
                      </a:lnTo>
                      <a:lnTo>
                        <a:pt x="242" y="1003"/>
                      </a:lnTo>
                      <a:lnTo>
                        <a:pt x="264" y="997"/>
                      </a:lnTo>
                      <a:lnTo>
                        <a:pt x="283" y="990"/>
                      </a:lnTo>
                      <a:lnTo>
                        <a:pt x="304" y="980"/>
                      </a:lnTo>
                      <a:lnTo>
                        <a:pt x="323" y="970"/>
                      </a:lnTo>
                      <a:lnTo>
                        <a:pt x="342" y="959"/>
                      </a:lnTo>
                      <a:lnTo>
                        <a:pt x="359" y="948"/>
                      </a:lnTo>
                      <a:lnTo>
                        <a:pt x="376" y="936"/>
                      </a:lnTo>
                      <a:lnTo>
                        <a:pt x="393" y="924"/>
                      </a:lnTo>
                      <a:lnTo>
                        <a:pt x="407" y="912"/>
                      </a:lnTo>
                      <a:lnTo>
                        <a:pt x="421" y="900"/>
                      </a:lnTo>
                      <a:lnTo>
                        <a:pt x="433" y="889"/>
                      </a:lnTo>
                      <a:lnTo>
                        <a:pt x="452" y="870"/>
                      </a:lnTo>
                      <a:lnTo>
                        <a:pt x="465" y="856"/>
                      </a:lnTo>
                      <a:lnTo>
                        <a:pt x="492" y="859"/>
                      </a:lnTo>
                      <a:lnTo>
                        <a:pt x="520" y="862"/>
                      </a:lnTo>
                      <a:lnTo>
                        <a:pt x="548" y="863"/>
                      </a:lnTo>
                      <a:lnTo>
                        <a:pt x="576" y="864"/>
                      </a:lnTo>
                      <a:lnTo>
                        <a:pt x="605" y="863"/>
                      </a:lnTo>
                      <a:lnTo>
                        <a:pt x="634" y="861"/>
                      </a:lnTo>
                      <a:lnTo>
                        <a:pt x="664" y="859"/>
                      </a:lnTo>
                      <a:lnTo>
                        <a:pt x="692" y="855"/>
                      </a:lnTo>
                      <a:lnTo>
                        <a:pt x="720" y="850"/>
                      </a:lnTo>
                      <a:lnTo>
                        <a:pt x="747" y="845"/>
                      </a:lnTo>
                      <a:lnTo>
                        <a:pt x="774" y="837"/>
                      </a:lnTo>
                      <a:lnTo>
                        <a:pt x="800" y="830"/>
                      </a:lnTo>
                      <a:lnTo>
                        <a:pt x="826" y="821"/>
                      </a:lnTo>
                      <a:lnTo>
                        <a:pt x="850" y="811"/>
                      </a:lnTo>
                      <a:lnTo>
                        <a:pt x="874" y="802"/>
                      </a:lnTo>
                      <a:lnTo>
                        <a:pt x="898" y="790"/>
                      </a:lnTo>
                      <a:lnTo>
                        <a:pt x="921" y="778"/>
                      </a:lnTo>
                      <a:lnTo>
                        <a:pt x="942" y="765"/>
                      </a:lnTo>
                      <a:lnTo>
                        <a:pt x="963" y="752"/>
                      </a:lnTo>
                      <a:lnTo>
                        <a:pt x="983" y="737"/>
                      </a:lnTo>
                      <a:lnTo>
                        <a:pt x="1003" y="722"/>
                      </a:lnTo>
                      <a:lnTo>
                        <a:pt x="1020" y="707"/>
                      </a:lnTo>
                      <a:lnTo>
                        <a:pt x="1037" y="690"/>
                      </a:lnTo>
                      <a:lnTo>
                        <a:pt x="1054" y="673"/>
                      </a:lnTo>
                      <a:lnTo>
                        <a:pt x="1069" y="656"/>
                      </a:lnTo>
                      <a:lnTo>
                        <a:pt x="1083" y="638"/>
                      </a:lnTo>
                      <a:lnTo>
                        <a:pt x="1096" y="619"/>
                      </a:lnTo>
                      <a:lnTo>
                        <a:pt x="1106" y="600"/>
                      </a:lnTo>
                      <a:lnTo>
                        <a:pt x="1117" y="580"/>
                      </a:lnTo>
                      <a:lnTo>
                        <a:pt x="1126" y="560"/>
                      </a:lnTo>
                      <a:lnTo>
                        <a:pt x="1133" y="540"/>
                      </a:lnTo>
                      <a:lnTo>
                        <a:pt x="1140" y="519"/>
                      </a:lnTo>
                      <a:lnTo>
                        <a:pt x="1145" y="497"/>
                      </a:lnTo>
                      <a:lnTo>
                        <a:pt x="1149" y="476"/>
                      </a:lnTo>
                      <a:lnTo>
                        <a:pt x="1151" y="454"/>
                      </a:lnTo>
                      <a:lnTo>
                        <a:pt x="1152" y="432"/>
                      </a:lnTo>
                      <a:lnTo>
                        <a:pt x="1151" y="410"/>
                      </a:lnTo>
                      <a:lnTo>
                        <a:pt x="1149" y="388"/>
                      </a:lnTo>
                      <a:lnTo>
                        <a:pt x="1145" y="366"/>
                      </a:lnTo>
                      <a:lnTo>
                        <a:pt x="1140" y="345"/>
                      </a:lnTo>
                      <a:lnTo>
                        <a:pt x="1133" y="324"/>
                      </a:lnTo>
                      <a:lnTo>
                        <a:pt x="1126" y="304"/>
                      </a:lnTo>
                      <a:lnTo>
                        <a:pt x="1117" y="283"/>
                      </a:lnTo>
                      <a:lnTo>
                        <a:pt x="1106" y="264"/>
                      </a:lnTo>
                      <a:lnTo>
                        <a:pt x="1096" y="244"/>
                      </a:lnTo>
                      <a:lnTo>
                        <a:pt x="1083" y="226"/>
                      </a:lnTo>
                      <a:lnTo>
                        <a:pt x="1069" y="208"/>
                      </a:lnTo>
                      <a:lnTo>
                        <a:pt x="1054" y="190"/>
                      </a:lnTo>
                      <a:lnTo>
                        <a:pt x="1037" y="173"/>
                      </a:lnTo>
                      <a:lnTo>
                        <a:pt x="1020" y="157"/>
                      </a:lnTo>
                      <a:lnTo>
                        <a:pt x="1003" y="142"/>
                      </a:lnTo>
                      <a:lnTo>
                        <a:pt x="983" y="127"/>
                      </a:lnTo>
                      <a:lnTo>
                        <a:pt x="963" y="112"/>
                      </a:lnTo>
                      <a:lnTo>
                        <a:pt x="942" y="99"/>
                      </a:lnTo>
                      <a:lnTo>
                        <a:pt x="921" y="86"/>
                      </a:lnTo>
                      <a:lnTo>
                        <a:pt x="898" y="74"/>
                      </a:lnTo>
                      <a:lnTo>
                        <a:pt x="874" y="62"/>
                      </a:lnTo>
                      <a:lnTo>
                        <a:pt x="850" y="52"/>
                      </a:lnTo>
                      <a:lnTo>
                        <a:pt x="826" y="42"/>
                      </a:lnTo>
                      <a:lnTo>
                        <a:pt x="800" y="34"/>
                      </a:lnTo>
                      <a:lnTo>
                        <a:pt x="774" y="26"/>
                      </a:lnTo>
                      <a:lnTo>
                        <a:pt x="747" y="20"/>
                      </a:lnTo>
                      <a:lnTo>
                        <a:pt x="720" y="13"/>
                      </a:lnTo>
                      <a:lnTo>
                        <a:pt x="692" y="9"/>
                      </a:lnTo>
                      <a:lnTo>
                        <a:pt x="664" y="5"/>
                      </a:lnTo>
                      <a:lnTo>
                        <a:pt x="634" y="3"/>
                      </a:lnTo>
                      <a:lnTo>
                        <a:pt x="605" y="0"/>
                      </a:lnTo>
                      <a:lnTo>
                        <a:pt x="576" y="0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</p:grpSp>
        </p:grpSp>
        <p:sp>
          <p:nvSpPr>
            <p:cNvPr id="52" name="矩形 51"/>
            <p:cNvSpPr/>
            <p:nvPr/>
          </p:nvSpPr>
          <p:spPr>
            <a:xfrm>
              <a:off x="6522251" y="3813039"/>
              <a:ext cx="2103668" cy="18524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9307583" y="2171201"/>
            <a:ext cx="2103668" cy="1798737"/>
            <a:chOff x="9307583" y="2171201"/>
            <a:chExt cx="2103668" cy="1798737"/>
          </a:xfrm>
          <a:solidFill>
            <a:schemeClr val="bg1"/>
          </a:solidFill>
        </p:grpSpPr>
        <p:grpSp>
          <p:nvGrpSpPr>
            <p:cNvPr id="39" name="组合 38"/>
            <p:cNvGrpSpPr/>
            <p:nvPr/>
          </p:nvGrpSpPr>
          <p:grpSpPr>
            <a:xfrm>
              <a:off x="9307583" y="2171201"/>
              <a:ext cx="2103668" cy="1662158"/>
              <a:chOff x="9307583" y="2597921"/>
              <a:chExt cx="2103668" cy="1662158"/>
            </a:xfrm>
            <a:grpFill/>
          </p:grpSpPr>
          <p:sp>
            <p:nvSpPr>
              <p:cNvPr id="15" name="Rectangle 35"/>
              <p:cNvSpPr/>
              <p:nvPr/>
            </p:nvSpPr>
            <p:spPr>
              <a:xfrm>
                <a:off x="9307583" y="2597921"/>
                <a:ext cx="2103668" cy="1662158"/>
              </a:xfrm>
              <a:prstGeom prst="rect">
                <a:avLst/>
              </a:prstGeom>
              <a:grp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1828800" rtl="0"/>
                <a:endParaRPr lang="en-US" sz="3200" kern="120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grpSp>
            <p:nvGrpSpPr>
              <p:cNvPr id="33" name="Group 73"/>
              <p:cNvGrpSpPr/>
              <p:nvPr/>
            </p:nvGrpSpPr>
            <p:grpSpPr>
              <a:xfrm>
                <a:off x="10098165" y="2857956"/>
                <a:ext cx="514231" cy="514230"/>
                <a:chOff x="4563268" y="1839515"/>
                <a:chExt cx="457201" cy="457200"/>
              </a:xfrm>
              <a:grpFill/>
            </p:grpSpPr>
            <p:sp>
              <p:nvSpPr>
                <p:cNvPr id="34" name="Freeform 137"/>
                <p:cNvSpPr/>
                <p:nvPr/>
              </p:nvSpPr>
              <p:spPr bwMode="auto">
                <a:xfrm>
                  <a:off x="4812506" y="1896665"/>
                  <a:ext cx="150813" cy="149225"/>
                </a:xfrm>
                <a:custGeom>
                  <a:avLst/>
                  <a:gdLst>
                    <a:gd name="T0" fmla="*/ 342 w 378"/>
                    <a:gd name="T1" fmla="*/ 360 h 378"/>
                    <a:gd name="T2" fmla="*/ 343 w 378"/>
                    <a:gd name="T3" fmla="*/ 367 h 378"/>
                    <a:gd name="T4" fmla="*/ 347 w 378"/>
                    <a:gd name="T5" fmla="*/ 372 h 378"/>
                    <a:gd name="T6" fmla="*/ 353 w 378"/>
                    <a:gd name="T7" fmla="*/ 377 h 378"/>
                    <a:gd name="T8" fmla="*/ 360 w 378"/>
                    <a:gd name="T9" fmla="*/ 378 h 378"/>
                    <a:gd name="T10" fmla="*/ 367 w 378"/>
                    <a:gd name="T11" fmla="*/ 377 h 378"/>
                    <a:gd name="T12" fmla="*/ 373 w 378"/>
                    <a:gd name="T13" fmla="*/ 372 h 378"/>
                    <a:gd name="T14" fmla="*/ 376 w 378"/>
                    <a:gd name="T15" fmla="*/ 367 h 378"/>
                    <a:gd name="T16" fmla="*/ 378 w 378"/>
                    <a:gd name="T17" fmla="*/ 360 h 378"/>
                    <a:gd name="T18" fmla="*/ 378 w 378"/>
                    <a:gd name="T19" fmla="*/ 359 h 378"/>
                    <a:gd name="T20" fmla="*/ 376 w 378"/>
                    <a:gd name="T21" fmla="*/ 323 h 378"/>
                    <a:gd name="T22" fmla="*/ 371 w 378"/>
                    <a:gd name="T23" fmla="*/ 287 h 378"/>
                    <a:gd name="T24" fmla="*/ 361 w 378"/>
                    <a:gd name="T25" fmla="*/ 253 h 378"/>
                    <a:gd name="T26" fmla="*/ 349 w 378"/>
                    <a:gd name="T27" fmla="*/ 220 h 378"/>
                    <a:gd name="T28" fmla="*/ 334 w 378"/>
                    <a:gd name="T29" fmla="*/ 189 h 378"/>
                    <a:gd name="T30" fmla="*/ 316 w 378"/>
                    <a:gd name="T31" fmla="*/ 158 h 378"/>
                    <a:gd name="T32" fmla="*/ 295 w 378"/>
                    <a:gd name="T33" fmla="*/ 131 h 378"/>
                    <a:gd name="T34" fmla="*/ 273 w 378"/>
                    <a:gd name="T35" fmla="*/ 105 h 378"/>
                    <a:gd name="T36" fmla="*/ 247 w 378"/>
                    <a:gd name="T37" fmla="*/ 83 h 378"/>
                    <a:gd name="T38" fmla="*/ 220 w 378"/>
                    <a:gd name="T39" fmla="*/ 62 h 378"/>
                    <a:gd name="T40" fmla="*/ 190 w 378"/>
                    <a:gd name="T41" fmla="*/ 44 h 378"/>
                    <a:gd name="T42" fmla="*/ 158 w 378"/>
                    <a:gd name="T43" fmla="*/ 29 h 378"/>
                    <a:gd name="T44" fmla="*/ 126 w 378"/>
                    <a:gd name="T45" fmla="*/ 17 h 378"/>
                    <a:gd name="T46" fmla="*/ 91 w 378"/>
                    <a:gd name="T47" fmla="*/ 7 h 378"/>
                    <a:gd name="T48" fmla="*/ 56 w 378"/>
                    <a:gd name="T49" fmla="*/ 2 h 378"/>
                    <a:gd name="T50" fmla="*/ 19 w 378"/>
                    <a:gd name="T51" fmla="*/ 1 h 378"/>
                    <a:gd name="T52" fmla="*/ 18 w 378"/>
                    <a:gd name="T53" fmla="*/ 0 h 378"/>
                    <a:gd name="T54" fmla="*/ 11 w 378"/>
                    <a:gd name="T55" fmla="*/ 2 h 378"/>
                    <a:gd name="T56" fmla="*/ 5 w 378"/>
                    <a:gd name="T57" fmla="*/ 5 h 378"/>
                    <a:gd name="T58" fmla="*/ 2 w 378"/>
                    <a:gd name="T59" fmla="*/ 12 h 378"/>
                    <a:gd name="T60" fmla="*/ 0 w 378"/>
                    <a:gd name="T61" fmla="*/ 18 h 378"/>
                    <a:gd name="T62" fmla="*/ 2 w 378"/>
                    <a:gd name="T63" fmla="*/ 24 h 378"/>
                    <a:gd name="T64" fmla="*/ 5 w 378"/>
                    <a:gd name="T65" fmla="*/ 31 h 378"/>
                    <a:gd name="T66" fmla="*/ 11 w 378"/>
                    <a:gd name="T67" fmla="*/ 34 h 378"/>
                    <a:gd name="T68" fmla="*/ 18 w 378"/>
                    <a:gd name="T69" fmla="*/ 36 h 378"/>
                    <a:gd name="T70" fmla="*/ 34 w 378"/>
                    <a:gd name="T71" fmla="*/ 36 h 378"/>
                    <a:gd name="T72" fmla="*/ 68 w 378"/>
                    <a:gd name="T73" fmla="*/ 40 h 378"/>
                    <a:gd name="T74" fmla="*/ 99 w 378"/>
                    <a:gd name="T75" fmla="*/ 46 h 378"/>
                    <a:gd name="T76" fmla="*/ 129 w 378"/>
                    <a:gd name="T77" fmla="*/ 56 h 378"/>
                    <a:gd name="T78" fmla="*/ 158 w 378"/>
                    <a:gd name="T79" fmla="*/ 68 h 378"/>
                    <a:gd name="T80" fmla="*/ 185 w 378"/>
                    <a:gd name="T81" fmla="*/ 83 h 378"/>
                    <a:gd name="T82" fmla="*/ 211 w 378"/>
                    <a:gd name="T83" fmla="*/ 100 h 378"/>
                    <a:gd name="T84" fmla="*/ 236 w 378"/>
                    <a:gd name="T85" fmla="*/ 121 h 378"/>
                    <a:gd name="T86" fmla="*/ 258 w 378"/>
                    <a:gd name="T87" fmla="*/ 142 h 378"/>
                    <a:gd name="T88" fmla="*/ 277 w 378"/>
                    <a:gd name="T89" fmla="*/ 166 h 378"/>
                    <a:gd name="T90" fmla="*/ 295 w 378"/>
                    <a:gd name="T91" fmla="*/ 192 h 378"/>
                    <a:gd name="T92" fmla="*/ 310 w 378"/>
                    <a:gd name="T93" fmla="*/ 220 h 378"/>
                    <a:gd name="T94" fmla="*/ 322 w 378"/>
                    <a:gd name="T95" fmla="*/ 249 h 378"/>
                    <a:gd name="T96" fmla="*/ 332 w 378"/>
                    <a:gd name="T97" fmla="*/ 279 h 378"/>
                    <a:gd name="T98" fmla="*/ 339 w 378"/>
                    <a:gd name="T99" fmla="*/ 311 h 378"/>
                    <a:gd name="T100" fmla="*/ 342 w 378"/>
                    <a:gd name="T101" fmla="*/ 343 h 37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378" h="378">
                      <a:moveTo>
                        <a:pt x="342" y="360"/>
                      </a:moveTo>
                      <a:lnTo>
                        <a:pt x="342" y="360"/>
                      </a:lnTo>
                      <a:lnTo>
                        <a:pt x="342" y="364"/>
                      </a:lnTo>
                      <a:lnTo>
                        <a:pt x="343" y="367"/>
                      </a:lnTo>
                      <a:lnTo>
                        <a:pt x="345" y="370"/>
                      </a:lnTo>
                      <a:lnTo>
                        <a:pt x="347" y="372"/>
                      </a:lnTo>
                      <a:lnTo>
                        <a:pt x="349" y="375"/>
                      </a:lnTo>
                      <a:lnTo>
                        <a:pt x="353" y="377"/>
                      </a:lnTo>
                      <a:lnTo>
                        <a:pt x="356" y="378"/>
                      </a:lnTo>
                      <a:lnTo>
                        <a:pt x="360" y="378"/>
                      </a:lnTo>
                      <a:lnTo>
                        <a:pt x="364" y="378"/>
                      </a:lnTo>
                      <a:lnTo>
                        <a:pt x="367" y="377"/>
                      </a:lnTo>
                      <a:lnTo>
                        <a:pt x="370" y="374"/>
                      </a:lnTo>
                      <a:lnTo>
                        <a:pt x="373" y="372"/>
                      </a:lnTo>
                      <a:lnTo>
                        <a:pt x="375" y="370"/>
                      </a:lnTo>
                      <a:lnTo>
                        <a:pt x="376" y="367"/>
                      </a:lnTo>
                      <a:lnTo>
                        <a:pt x="378" y="364"/>
                      </a:lnTo>
                      <a:lnTo>
                        <a:pt x="378" y="360"/>
                      </a:lnTo>
                      <a:lnTo>
                        <a:pt x="378" y="360"/>
                      </a:lnTo>
                      <a:lnTo>
                        <a:pt x="378" y="359"/>
                      </a:lnTo>
                      <a:lnTo>
                        <a:pt x="378" y="341"/>
                      </a:lnTo>
                      <a:lnTo>
                        <a:pt x="376" y="323"/>
                      </a:lnTo>
                      <a:lnTo>
                        <a:pt x="373" y="305"/>
                      </a:lnTo>
                      <a:lnTo>
                        <a:pt x="371" y="287"/>
                      </a:lnTo>
                      <a:lnTo>
                        <a:pt x="367" y="270"/>
                      </a:lnTo>
                      <a:lnTo>
                        <a:pt x="361" y="253"/>
                      </a:lnTo>
                      <a:lnTo>
                        <a:pt x="356" y="236"/>
                      </a:lnTo>
                      <a:lnTo>
                        <a:pt x="349" y="220"/>
                      </a:lnTo>
                      <a:lnTo>
                        <a:pt x="342" y="204"/>
                      </a:lnTo>
                      <a:lnTo>
                        <a:pt x="334" y="189"/>
                      </a:lnTo>
                      <a:lnTo>
                        <a:pt x="326" y="174"/>
                      </a:lnTo>
                      <a:lnTo>
                        <a:pt x="316" y="158"/>
                      </a:lnTo>
                      <a:lnTo>
                        <a:pt x="306" y="144"/>
                      </a:lnTo>
                      <a:lnTo>
                        <a:pt x="295" y="131"/>
                      </a:lnTo>
                      <a:lnTo>
                        <a:pt x="285" y="118"/>
                      </a:lnTo>
                      <a:lnTo>
                        <a:pt x="273" y="105"/>
                      </a:lnTo>
                      <a:lnTo>
                        <a:pt x="260" y="94"/>
                      </a:lnTo>
                      <a:lnTo>
                        <a:pt x="247" y="83"/>
                      </a:lnTo>
                      <a:lnTo>
                        <a:pt x="234" y="72"/>
                      </a:lnTo>
                      <a:lnTo>
                        <a:pt x="220" y="62"/>
                      </a:lnTo>
                      <a:lnTo>
                        <a:pt x="205" y="53"/>
                      </a:lnTo>
                      <a:lnTo>
                        <a:pt x="190" y="44"/>
                      </a:lnTo>
                      <a:lnTo>
                        <a:pt x="175" y="36"/>
                      </a:lnTo>
                      <a:lnTo>
                        <a:pt x="158" y="29"/>
                      </a:lnTo>
                      <a:lnTo>
                        <a:pt x="142" y="22"/>
                      </a:lnTo>
                      <a:lnTo>
                        <a:pt x="126" y="17"/>
                      </a:lnTo>
                      <a:lnTo>
                        <a:pt x="109" y="12"/>
                      </a:lnTo>
                      <a:lnTo>
                        <a:pt x="91" y="7"/>
                      </a:lnTo>
                      <a:lnTo>
                        <a:pt x="74" y="4"/>
                      </a:lnTo>
                      <a:lnTo>
                        <a:pt x="56" y="2"/>
                      </a:lnTo>
                      <a:lnTo>
                        <a:pt x="37" y="1"/>
                      </a:lnTo>
                      <a:lnTo>
                        <a:pt x="19" y="1"/>
                      </a:lnTo>
                      <a:lnTo>
                        <a:pt x="19" y="0"/>
                      </a:lnTo>
                      <a:lnTo>
                        <a:pt x="18" y="0"/>
                      </a:lnTo>
                      <a:lnTo>
                        <a:pt x="15" y="1"/>
                      </a:lnTo>
                      <a:lnTo>
                        <a:pt x="11" y="2"/>
                      </a:lnTo>
                      <a:lnTo>
                        <a:pt x="8" y="3"/>
                      </a:lnTo>
                      <a:lnTo>
                        <a:pt x="5" y="5"/>
                      </a:lnTo>
                      <a:lnTo>
                        <a:pt x="3" y="8"/>
                      </a:lnTo>
                      <a:lnTo>
                        <a:pt x="2" y="12"/>
                      </a:lnTo>
                      <a:lnTo>
                        <a:pt x="1" y="15"/>
                      </a:lnTo>
                      <a:lnTo>
                        <a:pt x="0" y="18"/>
                      </a:lnTo>
                      <a:lnTo>
                        <a:pt x="1" y="21"/>
                      </a:lnTo>
                      <a:lnTo>
                        <a:pt x="2" y="24"/>
                      </a:lnTo>
                      <a:lnTo>
                        <a:pt x="3" y="28"/>
                      </a:lnTo>
                      <a:lnTo>
                        <a:pt x="5" y="31"/>
                      </a:lnTo>
                      <a:lnTo>
                        <a:pt x="8" y="33"/>
                      </a:lnTo>
                      <a:lnTo>
                        <a:pt x="11" y="34"/>
                      </a:lnTo>
                      <a:lnTo>
                        <a:pt x="15" y="35"/>
                      </a:lnTo>
                      <a:lnTo>
                        <a:pt x="18" y="36"/>
                      </a:lnTo>
                      <a:lnTo>
                        <a:pt x="18" y="36"/>
                      </a:lnTo>
                      <a:lnTo>
                        <a:pt x="34" y="36"/>
                      </a:lnTo>
                      <a:lnTo>
                        <a:pt x="51" y="37"/>
                      </a:lnTo>
                      <a:lnTo>
                        <a:pt x="68" y="40"/>
                      </a:lnTo>
                      <a:lnTo>
                        <a:pt x="83" y="43"/>
                      </a:lnTo>
                      <a:lnTo>
                        <a:pt x="99" y="46"/>
                      </a:lnTo>
                      <a:lnTo>
                        <a:pt x="114" y="50"/>
                      </a:lnTo>
                      <a:lnTo>
                        <a:pt x="129" y="56"/>
                      </a:lnTo>
                      <a:lnTo>
                        <a:pt x="144" y="61"/>
                      </a:lnTo>
                      <a:lnTo>
                        <a:pt x="158" y="68"/>
                      </a:lnTo>
                      <a:lnTo>
                        <a:pt x="172" y="75"/>
                      </a:lnTo>
                      <a:lnTo>
                        <a:pt x="185" y="83"/>
                      </a:lnTo>
                      <a:lnTo>
                        <a:pt x="199" y="91"/>
                      </a:lnTo>
                      <a:lnTo>
                        <a:pt x="211" y="100"/>
                      </a:lnTo>
                      <a:lnTo>
                        <a:pt x="224" y="110"/>
                      </a:lnTo>
                      <a:lnTo>
                        <a:pt x="236" y="121"/>
                      </a:lnTo>
                      <a:lnTo>
                        <a:pt x="247" y="131"/>
                      </a:lnTo>
                      <a:lnTo>
                        <a:pt x="258" y="142"/>
                      </a:lnTo>
                      <a:lnTo>
                        <a:pt x="267" y="154"/>
                      </a:lnTo>
                      <a:lnTo>
                        <a:pt x="277" y="166"/>
                      </a:lnTo>
                      <a:lnTo>
                        <a:pt x="287" y="179"/>
                      </a:lnTo>
                      <a:lnTo>
                        <a:pt x="295" y="192"/>
                      </a:lnTo>
                      <a:lnTo>
                        <a:pt x="303" y="206"/>
                      </a:lnTo>
                      <a:lnTo>
                        <a:pt x="310" y="220"/>
                      </a:lnTo>
                      <a:lnTo>
                        <a:pt x="316" y="234"/>
                      </a:lnTo>
                      <a:lnTo>
                        <a:pt x="322" y="249"/>
                      </a:lnTo>
                      <a:lnTo>
                        <a:pt x="328" y="264"/>
                      </a:lnTo>
                      <a:lnTo>
                        <a:pt x="332" y="279"/>
                      </a:lnTo>
                      <a:lnTo>
                        <a:pt x="335" y="294"/>
                      </a:lnTo>
                      <a:lnTo>
                        <a:pt x="339" y="311"/>
                      </a:lnTo>
                      <a:lnTo>
                        <a:pt x="340" y="327"/>
                      </a:lnTo>
                      <a:lnTo>
                        <a:pt x="342" y="343"/>
                      </a:lnTo>
                      <a:lnTo>
                        <a:pt x="342" y="360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35" name="Freeform 138"/>
                <p:cNvSpPr>
                  <a:spLocks noEditPoints="1"/>
                </p:cNvSpPr>
                <p:nvPr/>
              </p:nvSpPr>
              <p:spPr bwMode="auto">
                <a:xfrm>
                  <a:off x="4563268" y="1839515"/>
                  <a:ext cx="457200" cy="457200"/>
                </a:xfrm>
                <a:custGeom>
                  <a:avLst/>
                  <a:gdLst>
                    <a:gd name="T0" fmla="*/ 1071 w 1152"/>
                    <a:gd name="T1" fmla="*/ 923 h 1152"/>
                    <a:gd name="T2" fmla="*/ 1059 w 1152"/>
                    <a:gd name="T3" fmla="*/ 932 h 1152"/>
                    <a:gd name="T4" fmla="*/ 1044 w 1152"/>
                    <a:gd name="T5" fmla="*/ 936 h 1152"/>
                    <a:gd name="T6" fmla="*/ 216 w 1152"/>
                    <a:gd name="T7" fmla="*/ 108 h 1152"/>
                    <a:gd name="T8" fmla="*/ 219 w 1152"/>
                    <a:gd name="T9" fmla="*/ 93 h 1152"/>
                    <a:gd name="T10" fmla="*/ 229 w 1152"/>
                    <a:gd name="T11" fmla="*/ 80 h 1152"/>
                    <a:gd name="T12" fmla="*/ 245 w 1152"/>
                    <a:gd name="T13" fmla="*/ 72 h 1152"/>
                    <a:gd name="T14" fmla="*/ 266 w 1152"/>
                    <a:gd name="T15" fmla="*/ 75 h 1152"/>
                    <a:gd name="T16" fmla="*/ 1069 w 1152"/>
                    <a:gd name="T17" fmla="*/ 875 h 1152"/>
                    <a:gd name="T18" fmla="*/ 1078 w 1152"/>
                    <a:gd name="T19" fmla="*/ 888 h 1152"/>
                    <a:gd name="T20" fmla="*/ 1080 w 1152"/>
                    <a:gd name="T21" fmla="*/ 903 h 1152"/>
                    <a:gd name="T22" fmla="*/ 1077 w 1152"/>
                    <a:gd name="T23" fmla="*/ 914 h 1152"/>
                    <a:gd name="T24" fmla="*/ 532 w 1152"/>
                    <a:gd name="T25" fmla="*/ 940 h 1152"/>
                    <a:gd name="T26" fmla="*/ 216 w 1152"/>
                    <a:gd name="T27" fmla="*/ 604 h 1152"/>
                    <a:gd name="T28" fmla="*/ 549 w 1152"/>
                    <a:gd name="T29" fmla="*/ 936 h 1152"/>
                    <a:gd name="T30" fmla="*/ 378 w 1152"/>
                    <a:gd name="T31" fmla="*/ 1075 h 1152"/>
                    <a:gd name="T32" fmla="*/ 360 w 1152"/>
                    <a:gd name="T33" fmla="*/ 1080 h 1152"/>
                    <a:gd name="T34" fmla="*/ 341 w 1152"/>
                    <a:gd name="T35" fmla="*/ 1075 h 1152"/>
                    <a:gd name="T36" fmla="*/ 77 w 1152"/>
                    <a:gd name="T37" fmla="*/ 810 h 1152"/>
                    <a:gd name="T38" fmla="*/ 72 w 1152"/>
                    <a:gd name="T39" fmla="*/ 792 h 1152"/>
                    <a:gd name="T40" fmla="*/ 77 w 1152"/>
                    <a:gd name="T41" fmla="*/ 773 h 1152"/>
                    <a:gd name="T42" fmla="*/ 195 w 1152"/>
                    <a:gd name="T43" fmla="*/ 653 h 1152"/>
                    <a:gd name="T44" fmla="*/ 499 w 1152"/>
                    <a:gd name="T45" fmla="*/ 957 h 1152"/>
                    <a:gd name="T46" fmla="*/ 328 w 1152"/>
                    <a:gd name="T47" fmla="*/ 31 h 1152"/>
                    <a:gd name="T48" fmla="*/ 302 w 1152"/>
                    <a:gd name="T49" fmla="*/ 13 h 1152"/>
                    <a:gd name="T50" fmla="*/ 273 w 1152"/>
                    <a:gd name="T51" fmla="*/ 2 h 1152"/>
                    <a:gd name="T52" fmla="*/ 242 w 1152"/>
                    <a:gd name="T53" fmla="*/ 0 h 1152"/>
                    <a:gd name="T54" fmla="*/ 211 w 1152"/>
                    <a:gd name="T55" fmla="*/ 9 h 1152"/>
                    <a:gd name="T56" fmla="*/ 190 w 1152"/>
                    <a:gd name="T57" fmla="*/ 19 h 1152"/>
                    <a:gd name="T58" fmla="*/ 172 w 1152"/>
                    <a:gd name="T59" fmla="*/ 36 h 1152"/>
                    <a:gd name="T60" fmla="*/ 158 w 1152"/>
                    <a:gd name="T61" fmla="*/ 55 h 1152"/>
                    <a:gd name="T62" fmla="*/ 149 w 1152"/>
                    <a:gd name="T63" fmla="*/ 77 h 1152"/>
                    <a:gd name="T64" fmla="*/ 145 w 1152"/>
                    <a:gd name="T65" fmla="*/ 99 h 1152"/>
                    <a:gd name="T66" fmla="*/ 31 w 1152"/>
                    <a:gd name="T67" fmla="*/ 716 h 1152"/>
                    <a:gd name="T68" fmla="*/ 13 w 1152"/>
                    <a:gd name="T69" fmla="*/ 742 h 1152"/>
                    <a:gd name="T70" fmla="*/ 2 w 1152"/>
                    <a:gd name="T71" fmla="*/ 771 h 1152"/>
                    <a:gd name="T72" fmla="*/ 1 w 1152"/>
                    <a:gd name="T73" fmla="*/ 802 h 1152"/>
                    <a:gd name="T74" fmla="*/ 7 w 1152"/>
                    <a:gd name="T75" fmla="*/ 833 h 1152"/>
                    <a:gd name="T76" fmla="*/ 25 w 1152"/>
                    <a:gd name="T77" fmla="*/ 860 h 1152"/>
                    <a:gd name="T78" fmla="*/ 292 w 1152"/>
                    <a:gd name="T79" fmla="*/ 1128 h 1152"/>
                    <a:gd name="T80" fmla="*/ 320 w 1152"/>
                    <a:gd name="T81" fmla="*/ 1144 h 1152"/>
                    <a:gd name="T82" fmla="*/ 350 w 1152"/>
                    <a:gd name="T83" fmla="*/ 1151 h 1152"/>
                    <a:gd name="T84" fmla="*/ 381 w 1152"/>
                    <a:gd name="T85" fmla="*/ 1150 h 1152"/>
                    <a:gd name="T86" fmla="*/ 410 w 1152"/>
                    <a:gd name="T87" fmla="*/ 1139 h 1152"/>
                    <a:gd name="T88" fmla="*/ 436 w 1152"/>
                    <a:gd name="T89" fmla="*/ 1120 h 1152"/>
                    <a:gd name="T90" fmla="*/ 1052 w 1152"/>
                    <a:gd name="T91" fmla="*/ 1008 h 1152"/>
                    <a:gd name="T92" fmla="*/ 1076 w 1152"/>
                    <a:gd name="T93" fmla="*/ 1003 h 1152"/>
                    <a:gd name="T94" fmla="*/ 1097 w 1152"/>
                    <a:gd name="T95" fmla="*/ 994 h 1152"/>
                    <a:gd name="T96" fmla="*/ 1117 w 1152"/>
                    <a:gd name="T97" fmla="*/ 981 h 1152"/>
                    <a:gd name="T98" fmla="*/ 1132 w 1152"/>
                    <a:gd name="T99" fmla="*/ 962 h 1152"/>
                    <a:gd name="T100" fmla="*/ 1144 w 1152"/>
                    <a:gd name="T101" fmla="*/ 942 h 1152"/>
                    <a:gd name="T102" fmla="*/ 1150 w 1152"/>
                    <a:gd name="T103" fmla="*/ 918 h 1152"/>
                    <a:gd name="T104" fmla="*/ 1152 w 1152"/>
                    <a:gd name="T105" fmla="*/ 894 h 1152"/>
                    <a:gd name="T106" fmla="*/ 1148 w 1152"/>
                    <a:gd name="T107" fmla="*/ 872 h 1152"/>
                    <a:gd name="T108" fmla="*/ 1139 w 1152"/>
                    <a:gd name="T109" fmla="*/ 849 h 1152"/>
                    <a:gd name="T110" fmla="*/ 1126 w 1152"/>
                    <a:gd name="T111" fmla="*/ 829 h 115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152" h="1152">
                      <a:moveTo>
                        <a:pt x="1077" y="914"/>
                      </a:moveTo>
                      <a:lnTo>
                        <a:pt x="1075" y="919"/>
                      </a:lnTo>
                      <a:lnTo>
                        <a:pt x="1071" y="923"/>
                      </a:lnTo>
                      <a:lnTo>
                        <a:pt x="1068" y="927"/>
                      </a:lnTo>
                      <a:lnTo>
                        <a:pt x="1064" y="930"/>
                      </a:lnTo>
                      <a:lnTo>
                        <a:pt x="1059" y="932"/>
                      </a:lnTo>
                      <a:lnTo>
                        <a:pt x="1054" y="934"/>
                      </a:lnTo>
                      <a:lnTo>
                        <a:pt x="1050" y="935"/>
                      </a:lnTo>
                      <a:lnTo>
                        <a:pt x="1044" y="936"/>
                      </a:lnTo>
                      <a:lnTo>
                        <a:pt x="1033" y="936"/>
                      </a:lnTo>
                      <a:lnTo>
                        <a:pt x="216" y="119"/>
                      </a:lnTo>
                      <a:lnTo>
                        <a:pt x="216" y="108"/>
                      </a:lnTo>
                      <a:lnTo>
                        <a:pt x="216" y="103"/>
                      </a:lnTo>
                      <a:lnTo>
                        <a:pt x="218" y="97"/>
                      </a:lnTo>
                      <a:lnTo>
                        <a:pt x="219" y="93"/>
                      </a:lnTo>
                      <a:lnTo>
                        <a:pt x="222" y="87"/>
                      </a:lnTo>
                      <a:lnTo>
                        <a:pt x="226" y="84"/>
                      </a:lnTo>
                      <a:lnTo>
                        <a:pt x="229" y="80"/>
                      </a:lnTo>
                      <a:lnTo>
                        <a:pt x="233" y="77"/>
                      </a:lnTo>
                      <a:lnTo>
                        <a:pt x="239" y="75"/>
                      </a:lnTo>
                      <a:lnTo>
                        <a:pt x="245" y="72"/>
                      </a:lnTo>
                      <a:lnTo>
                        <a:pt x="252" y="72"/>
                      </a:lnTo>
                      <a:lnTo>
                        <a:pt x="259" y="72"/>
                      </a:lnTo>
                      <a:lnTo>
                        <a:pt x="266" y="75"/>
                      </a:lnTo>
                      <a:lnTo>
                        <a:pt x="272" y="78"/>
                      </a:lnTo>
                      <a:lnTo>
                        <a:pt x="277" y="82"/>
                      </a:lnTo>
                      <a:lnTo>
                        <a:pt x="1069" y="875"/>
                      </a:lnTo>
                      <a:lnTo>
                        <a:pt x="1073" y="879"/>
                      </a:lnTo>
                      <a:lnTo>
                        <a:pt x="1076" y="883"/>
                      </a:lnTo>
                      <a:lnTo>
                        <a:pt x="1078" y="888"/>
                      </a:lnTo>
                      <a:lnTo>
                        <a:pt x="1079" y="893"/>
                      </a:lnTo>
                      <a:lnTo>
                        <a:pt x="1080" y="899"/>
                      </a:lnTo>
                      <a:lnTo>
                        <a:pt x="1080" y="903"/>
                      </a:lnTo>
                      <a:lnTo>
                        <a:pt x="1079" y="908"/>
                      </a:lnTo>
                      <a:lnTo>
                        <a:pt x="1077" y="914"/>
                      </a:lnTo>
                      <a:lnTo>
                        <a:pt x="1077" y="914"/>
                      </a:lnTo>
                      <a:close/>
                      <a:moveTo>
                        <a:pt x="549" y="936"/>
                      </a:moveTo>
                      <a:lnTo>
                        <a:pt x="541" y="937"/>
                      </a:lnTo>
                      <a:lnTo>
                        <a:pt x="532" y="940"/>
                      </a:lnTo>
                      <a:lnTo>
                        <a:pt x="213" y="619"/>
                      </a:lnTo>
                      <a:lnTo>
                        <a:pt x="215" y="611"/>
                      </a:lnTo>
                      <a:lnTo>
                        <a:pt x="216" y="604"/>
                      </a:lnTo>
                      <a:lnTo>
                        <a:pt x="216" y="170"/>
                      </a:lnTo>
                      <a:lnTo>
                        <a:pt x="983" y="936"/>
                      </a:lnTo>
                      <a:lnTo>
                        <a:pt x="549" y="936"/>
                      </a:lnTo>
                      <a:close/>
                      <a:moveTo>
                        <a:pt x="498" y="957"/>
                      </a:moveTo>
                      <a:lnTo>
                        <a:pt x="385" y="1069"/>
                      </a:lnTo>
                      <a:lnTo>
                        <a:pt x="378" y="1075"/>
                      </a:lnTo>
                      <a:lnTo>
                        <a:pt x="371" y="1078"/>
                      </a:lnTo>
                      <a:lnTo>
                        <a:pt x="365" y="1080"/>
                      </a:lnTo>
                      <a:lnTo>
                        <a:pt x="360" y="1080"/>
                      </a:lnTo>
                      <a:lnTo>
                        <a:pt x="355" y="1080"/>
                      </a:lnTo>
                      <a:lnTo>
                        <a:pt x="349" y="1078"/>
                      </a:lnTo>
                      <a:lnTo>
                        <a:pt x="341" y="1075"/>
                      </a:lnTo>
                      <a:lnTo>
                        <a:pt x="335" y="1069"/>
                      </a:lnTo>
                      <a:lnTo>
                        <a:pt x="83" y="818"/>
                      </a:lnTo>
                      <a:lnTo>
                        <a:pt x="77" y="810"/>
                      </a:lnTo>
                      <a:lnTo>
                        <a:pt x="73" y="804"/>
                      </a:lnTo>
                      <a:lnTo>
                        <a:pt x="72" y="797"/>
                      </a:lnTo>
                      <a:lnTo>
                        <a:pt x="72" y="792"/>
                      </a:lnTo>
                      <a:lnTo>
                        <a:pt x="72" y="787"/>
                      </a:lnTo>
                      <a:lnTo>
                        <a:pt x="73" y="781"/>
                      </a:lnTo>
                      <a:lnTo>
                        <a:pt x="77" y="773"/>
                      </a:lnTo>
                      <a:lnTo>
                        <a:pt x="83" y="767"/>
                      </a:lnTo>
                      <a:lnTo>
                        <a:pt x="195" y="654"/>
                      </a:lnTo>
                      <a:lnTo>
                        <a:pt x="195" y="653"/>
                      </a:lnTo>
                      <a:lnTo>
                        <a:pt x="195" y="653"/>
                      </a:lnTo>
                      <a:lnTo>
                        <a:pt x="499" y="957"/>
                      </a:lnTo>
                      <a:lnTo>
                        <a:pt x="499" y="957"/>
                      </a:lnTo>
                      <a:lnTo>
                        <a:pt x="498" y="957"/>
                      </a:lnTo>
                      <a:lnTo>
                        <a:pt x="498" y="957"/>
                      </a:lnTo>
                      <a:close/>
                      <a:moveTo>
                        <a:pt x="328" y="31"/>
                      </a:moveTo>
                      <a:lnTo>
                        <a:pt x="321" y="25"/>
                      </a:lnTo>
                      <a:lnTo>
                        <a:pt x="312" y="18"/>
                      </a:lnTo>
                      <a:lnTo>
                        <a:pt x="302" y="13"/>
                      </a:lnTo>
                      <a:lnTo>
                        <a:pt x="293" y="8"/>
                      </a:lnTo>
                      <a:lnTo>
                        <a:pt x="283" y="4"/>
                      </a:lnTo>
                      <a:lnTo>
                        <a:pt x="273" y="2"/>
                      </a:lnTo>
                      <a:lnTo>
                        <a:pt x="262" y="0"/>
                      </a:lnTo>
                      <a:lnTo>
                        <a:pt x="252" y="0"/>
                      </a:lnTo>
                      <a:lnTo>
                        <a:pt x="242" y="0"/>
                      </a:lnTo>
                      <a:lnTo>
                        <a:pt x="231" y="2"/>
                      </a:lnTo>
                      <a:lnTo>
                        <a:pt x="221" y="4"/>
                      </a:lnTo>
                      <a:lnTo>
                        <a:pt x="211" y="9"/>
                      </a:lnTo>
                      <a:lnTo>
                        <a:pt x="203" y="12"/>
                      </a:lnTo>
                      <a:lnTo>
                        <a:pt x="196" y="15"/>
                      </a:lnTo>
                      <a:lnTo>
                        <a:pt x="190" y="19"/>
                      </a:lnTo>
                      <a:lnTo>
                        <a:pt x="184" y="25"/>
                      </a:lnTo>
                      <a:lnTo>
                        <a:pt x="177" y="30"/>
                      </a:lnTo>
                      <a:lnTo>
                        <a:pt x="172" y="36"/>
                      </a:lnTo>
                      <a:lnTo>
                        <a:pt x="167" y="42"/>
                      </a:lnTo>
                      <a:lnTo>
                        <a:pt x="162" y="48"/>
                      </a:lnTo>
                      <a:lnTo>
                        <a:pt x="158" y="55"/>
                      </a:lnTo>
                      <a:lnTo>
                        <a:pt x="154" y="62"/>
                      </a:lnTo>
                      <a:lnTo>
                        <a:pt x="151" y="69"/>
                      </a:lnTo>
                      <a:lnTo>
                        <a:pt x="149" y="77"/>
                      </a:lnTo>
                      <a:lnTo>
                        <a:pt x="147" y="84"/>
                      </a:lnTo>
                      <a:lnTo>
                        <a:pt x="146" y="92"/>
                      </a:lnTo>
                      <a:lnTo>
                        <a:pt x="145" y="99"/>
                      </a:lnTo>
                      <a:lnTo>
                        <a:pt x="144" y="108"/>
                      </a:lnTo>
                      <a:lnTo>
                        <a:pt x="144" y="604"/>
                      </a:lnTo>
                      <a:lnTo>
                        <a:pt x="31" y="716"/>
                      </a:lnTo>
                      <a:lnTo>
                        <a:pt x="25" y="724"/>
                      </a:lnTo>
                      <a:lnTo>
                        <a:pt x="18" y="732"/>
                      </a:lnTo>
                      <a:lnTo>
                        <a:pt x="13" y="742"/>
                      </a:lnTo>
                      <a:lnTo>
                        <a:pt x="7" y="752"/>
                      </a:lnTo>
                      <a:lnTo>
                        <a:pt x="4" y="761"/>
                      </a:lnTo>
                      <a:lnTo>
                        <a:pt x="2" y="771"/>
                      </a:lnTo>
                      <a:lnTo>
                        <a:pt x="1" y="782"/>
                      </a:lnTo>
                      <a:lnTo>
                        <a:pt x="0" y="792"/>
                      </a:lnTo>
                      <a:lnTo>
                        <a:pt x="1" y="802"/>
                      </a:lnTo>
                      <a:lnTo>
                        <a:pt x="2" y="812"/>
                      </a:lnTo>
                      <a:lnTo>
                        <a:pt x="4" y="823"/>
                      </a:lnTo>
                      <a:lnTo>
                        <a:pt x="7" y="833"/>
                      </a:lnTo>
                      <a:lnTo>
                        <a:pt x="13" y="842"/>
                      </a:lnTo>
                      <a:lnTo>
                        <a:pt x="18" y="851"/>
                      </a:lnTo>
                      <a:lnTo>
                        <a:pt x="25" y="860"/>
                      </a:lnTo>
                      <a:lnTo>
                        <a:pt x="31" y="868"/>
                      </a:lnTo>
                      <a:lnTo>
                        <a:pt x="284" y="1120"/>
                      </a:lnTo>
                      <a:lnTo>
                        <a:pt x="292" y="1128"/>
                      </a:lnTo>
                      <a:lnTo>
                        <a:pt x="300" y="1134"/>
                      </a:lnTo>
                      <a:lnTo>
                        <a:pt x="310" y="1139"/>
                      </a:lnTo>
                      <a:lnTo>
                        <a:pt x="320" y="1144"/>
                      </a:lnTo>
                      <a:lnTo>
                        <a:pt x="329" y="1148"/>
                      </a:lnTo>
                      <a:lnTo>
                        <a:pt x="339" y="1150"/>
                      </a:lnTo>
                      <a:lnTo>
                        <a:pt x="350" y="1151"/>
                      </a:lnTo>
                      <a:lnTo>
                        <a:pt x="360" y="1152"/>
                      </a:lnTo>
                      <a:lnTo>
                        <a:pt x="370" y="1151"/>
                      </a:lnTo>
                      <a:lnTo>
                        <a:pt x="381" y="1150"/>
                      </a:lnTo>
                      <a:lnTo>
                        <a:pt x="391" y="1148"/>
                      </a:lnTo>
                      <a:lnTo>
                        <a:pt x="401" y="1144"/>
                      </a:lnTo>
                      <a:lnTo>
                        <a:pt x="410" y="1139"/>
                      </a:lnTo>
                      <a:lnTo>
                        <a:pt x="419" y="1134"/>
                      </a:lnTo>
                      <a:lnTo>
                        <a:pt x="429" y="1128"/>
                      </a:lnTo>
                      <a:lnTo>
                        <a:pt x="436" y="1120"/>
                      </a:lnTo>
                      <a:lnTo>
                        <a:pt x="549" y="1008"/>
                      </a:lnTo>
                      <a:lnTo>
                        <a:pt x="1044" y="1008"/>
                      </a:lnTo>
                      <a:lnTo>
                        <a:pt x="1052" y="1008"/>
                      </a:lnTo>
                      <a:lnTo>
                        <a:pt x="1060" y="1007"/>
                      </a:lnTo>
                      <a:lnTo>
                        <a:pt x="1068" y="1005"/>
                      </a:lnTo>
                      <a:lnTo>
                        <a:pt x="1076" y="1003"/>
                      </a:lnTo>
                      <a:lnTo>
                        <a:pt x="1083" y="1001"/>
                      </a:lnTo>
                      <a:lnTo>
                        <a:pt x="1091" y="998"/>
                      </a:lnTo>
                      <a:lnTo>
                        <a:pt x="1097" y="994"/>
                      </a:lnTo>
                      <a:lnTo>
                        <a:pt x="1104" y="989"/>
                      </a:lnTo>
                      <a:lnTo>
                        <a:pt x="1110" y="985"/>
                      </a:lnTo>
                      <a:lnTo>
                        <a:pt x="1117" y="981"/>
                      </a:lnTo>
                      <a:lnTo>
                        <a:pt x="1122" y="974"/>
                      </a:lnTo>
                      <a:lnTo>
                        <a:pt x="1127" y="969"/>
                      </a:lnTo>
                      <a:lnTo>
                        <a:pt x="1132" y="962"/>
                      </a:lnTo>
                      <a:lnTo>
                        <a:pt x="1136" y="956"/>
                      </a:lnTo>
                      <a:lnTo>
                        <a:pt x="1140" y="948"/>
                      </a:lnTo>
                      <a:lnTo>
                        <a:pt x="1144" y="942"/>
                      </a:lnTo>
                      <a:lnTo>
                        <a:pt x="1147" y="934"/>
                      </a:lnTo>
                      <a:lnTo>
                        <a:pt x="1149" y="926"/>
                      </a:lnTo>
                      <a:lnTo>
                        <a:pt x="1150" y="918"/>
                      </a:lnTo>
                      <a:lnTo>
                        <a:pt x="1151" y="910"/>
                      </a:lnTo>
                      <a:lnTo>
                        <a:pt x="1152" y="903"/>
                      </a:lnTo>
                      <a:lnTo>
                        <a:pt x="1152" y="894"/>
                      </a:lnTo>
                      <a:lnTo>
                        <a:pt x="1151" y="887"/>
                      </a:lnTo>
                      <a:lnTo>
                        <a:pt x="1150" y="879"/>
                      </a:lnTo>
                      <a:lnTo>
                        <a:pt x="1148" y="872"/>
                      </a:lnTo>
                      <a:lnTo>
                        <a:pt x="1146" y="864"/>
                      </a:lnTo>
                      <a:lnTo>
                        <a:pt x="1143" y="856"/>
                      </a:lnTo>
                      <a:lnTo>
                        <a:pt x="1139" y="849"/>
                      </a:lnTo>
                      <a:lnTo>
                        <a:pt x="1135" y="842"/>
                      </a:lnTo>
                      <a:lnTo>
                        <a:pt x="1131" y="836"/>
                      </a:lnTo>
                      <a:lnTo>
                        <a:pt x="1126" y="829"/>
                      </a:lnTo>
                      <a:lnTo>
                        <a:pt x="1120" y="824"/>
                      </a:lnTo>
                      <a:lnTo>
                        <a:pt x="328" y="31"/>
                      </a:lnTo>
                      <a:close/>
                    </a:path>
                  </a:pathLst>
                </a:custGeom>
                <a:solidFill>
                  <a:srgbClr val="7030A0"/>
                </a:solidFill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36" name="Freeform 139"/>
                <p:cNvSpPr/>
                <p:nvPr/>
              </p:nvSpPr>
              <p:spPr bwMode="auto">
                <a:xfrm>
                  <a:off x="4806156" y="1839515"/>
                  <a:ext cx="214313" cy="214313"/>
                </a:xfrm>
                <a:custGeom>
                  <a:avLst/>
                  <a:gdLst>
                    <a:gd name="T0" fmla="*/ 36 w 540"/>
                    <a:gd name="T1" fmla="*/ 72 h 540"/>
                    <a:gd name="T2" fmla="*/ 80 w 540"/>
                    <a:gd name="T3" fmla="*/ 75 h 540"/>
                    <a:gd name="T4" fmla="*/ 123 w 540"/>
                    <a:gd name="T5" fmla="*/ 81 h 540"/>
                    <a:gd name="T6" fmla="*/ 164 w 540"/>
                    <a:gd name="T7" fmla="*/ 92 h 540"/>
                    <a:gd name="T8" fmla="*/ 204 w 540"/>
                    <a:gd name="T9" fmla="*/ 106 h 540"/>
                    <a:gd name="T10" fmla="*/ 242 w 540"/>
                    <a:gd name="T11" fmla="*/ 124 h 540"/>
                    <a:gd name="T12" fmla="*/ 278 w 540"/>
                    <a:gd name="T13" fmla="*/ 146 h 540"/>
                    <a:gd name="T14" fmla="*/ 310 w 540"/>
                    <a:gd name="T15" fmla="*/ 171 h 540"/>
                    <a:gd name="T16" fmla="*/ 342 w 540"/>
                    <a:gd name="T17" fmla="*/ 199 h 540"/>
                    <a:gd name="T18" fmla="*/ 370 w 540"/>
                    <a:gd name="T19" fmla="*/ 230 h 540"/>
                    <a:gd name="T20" fmla="*/ 394 w 540"/>
                    <a:gd name="T21" fmla="*/ 262 h 540"/>
                    <a:gd name="T22" fmla="*/ 416 w 540"/>
                    <a:gd name="T23" fmla="*/ 298 h 540"/>
                    <a:gd name="T24" fmla="*/ 434 w 540"/>
                    <a:gd name="T25" fmla="*/ 336 h 540"/>
                    <a:gd name="T26" fmla="*/ 448 w 540"/>
                    <a:gd name="T27" fmla="*/ 376 h 540"/>
                    <a:gd name="T28" fmla="*/ 459 w 540"/>
                    <a:gd name="T29" fmla="*/ 417 h 540"/>
                    <a:gd name="T30" fmla="*/ 466 w 540"/>
                    <a:gd name="T31" fmla="*/ 460 h 540"/>
                    <a:gd name="T32" fmla="*/ 468 w 540"/>
                    <a:gd name="T33" fmla="*/ 504 h 540"/>
                    <a:gd name="T34" fmla="*/ 469 w 540"/>
                    <a:gd name="T35" fmla="*/ 511 h 540"/>
                    <a:gd name="T36" fmla="*/ 474 w 540"/>
                    <a:gd name="T37" fmla="*/ 524 h 540"/>
                    <a:gd name="T38" fmla="*/ 484 w 540"/>
                    <a:gd name="T39" fmla="*/ 534 h 540"/>
                    <a:gd name="T40" fmla="*/ 497 w 540"/>
                    <a:gd name="T41" fmla="*/ 539 h 540"/>
                    <a:gd name="T42" fmla="*/ 511 w 540"/>
                    <a:gd name="T43" fmla="*/ 539 h 540"/>
                    <a:gd name="T44" fmla="*/ 524 w 540"/>
                    <a:gd name="T45" fmla="*/ 534 h 540"/>
                    <a:gd name="T46" fmla="*/ 534 w 540"/>
                    <a:gd name="T47" fmla="*/ 524 h 540"/>
                    <a:gd name="T48" fmla="*/ 539 w 540"/>
                    <a:gd name="T49" fmla="*/ 511 h 540"/>
                    <a:gd name="T50" fmla="*/ 540 w 540"/>
                    <a:gd name="T51" fmla="*/ 504 h 540"/>
                    <a:gd name="T52" fmla="*/ 539 w 540"/>
                    <a:gd name="T53" fmla="*/ 477 h 540"/>
                    <a:gd name="T54" fmla="*/ 534 w 540"/>
                    <a:gd name="T55" fmla="*/ 427 h 540"/>
                    <a:gd name="T56" fmla="*/ 524 w 540"/>
                    <a:gd name="T57" fmla="*/ 378 h 540"/>
                    <a:gd name="T58" fmla="*/ 509 w 540"/>
                    <a:gd name="T59" fmla="*/ 330 h 540"/>
                    <a:gd name="T60" fmla="*/ 491 w 540"/>
                    <a:gd name="T61" fmla="*/ 285 h 540"/>
                    <a:gd name="T62" fmla="*/ 467 w 540"/>
                    <a:gd name="T63" fmla="*/ 243 h 540"/>
                    <a:gd name="T64" fmla="*/ 440 w 540"/>
                    <a:gd name="T65" fmla="*/ 203 h 540"/>
                    <a:gd name="T66" fmla="*/ 410 w 540"/>
                    <a:gd name="T67" fmla="*/ 165 h 540"/>
                    <a:gd name="T68" fmla="*/ 375 w 540"/>
                    <a:gd name="T69" fmla="*/ 132 h 540"/>
                    <a:gd name="T70" fmla="*/ 338 w 540"/>
                    <a:gd name="T71" fmla="*/ 100 h 540"/>
                    <a:gd name="T72" fmla="*/ 297 w 540"/>
                    <a:gd name="T73" fmla="*/ 73 h 540"/>
                    <a:gd name="T74" fmla="*/ 255 w 540"/>
                    <a:gd name="T75" fmla="*/ 50 h 540"/>
                    <a:gd name="T76" fmla="*/ 210 w 540"/>
                    <a:gd name="T77" fmla="*/ 31 h 540"/>
                    <a:gd name="T78" fmla="*/ 162 w 540"/>
                    <a:gd name="T79" fmla="*/ 16 h 540"/>
                    <a:gd name="T80" fmla="*/ 114 w 540"/>
                    <a:gd name="T81" fmla="*/ 6 h 540"/>
                    <a:gd name="T82" fmla="*/ 63 w 540"/>
                    <a:gd name="T83" fmla="*/ 1 h 540"/>
                    <a:gd name="T84" fmla="*/ 37 w 540"/>
                    <a:gd name="T85" fmla="*/ 0 h 540"/>
                    <a:gd name="T86" fmla="*/ 28 w 540"/>
                    <a:gd name="T87" fmla="*/ 1 h 540"/>
                    <a:gd name="T88" fmla="*/ 15 w 540"/>
                    <a:gd name="T89" fmla="*/ 6 h 540"/>
                    <a:gd name="T90" fmla="*/ 6 w 540"/>
                    <a:gd name="T91" fmla="*/ 16 h 540"/>
                    <a:gd name="T92" fmla="*/ 0 w 540"/>
                    <a:gd name="T93" fmla="*/ 29 h 540"/>
                    <a:gd name="T94" fmla="*/ 0 w 540"/>
                    <a:gd name="T95" fmla="*/ 43 h 540"/>
                    <a:gd name="T96" fmla="*/ 6 w 540"/>
                    <a:gd name="T97" fmla="*/ 56 h 540"/>
                    <a:gd name="T98" fmla="*/ 15 w 540"/>
                    <a:gd name="T99" fmla="*/ 66 h 540"/>
                    <a:gd name="T100" fmla="*/ 28 w 540"/>
                    <a:gd name="T101" fmla="*/ 71 h 54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540" h="540">
                      <a:moveTo>
                        <a:pt x="36" y="72"/>
                      </a:moveTo>
                      <a:lnTo>
                        <a:pt x="36" y="72"/>
                      </a:lnTo>
                      <a:lnTo>
                        <a:pt x="59" y="72"/>
                      </a:lnTo>
                      <a:lnTo>
                        <a:pt x="80" y="75"/>
                      </a:lnTo>
                      <a:lnTo>
                        <a:pt x="102" y="77"/>
                      </a:lnTo>
                      <a:lnTo>
                        <a:pt x="123" y="81"/>
                      </a:lnTo>
                      <a:lnTo>
                        <a:pt x="144" y="85"/>
                      </a:lnTo>
                      <a:lnTo>
                        <a:pt x="164" y="92"/>
                      </a:lnTo>
                      <a:lnTo>
                        <a:pt x="184" y="98"/>
                      </a:lnTo>
                      <a:lnTo>
                        <a:pt x="204" y="106"/>
                      </a:lnTo>
                      <a:lnTo>
                        <a:pt x="223" y="114"/>
                      </a:lnTo>
                      <a:lnTo>
                        <a:pt x="242" y="124"/>
                      </a:lnTo>
                      <a:lnTo>
                        <a:pt x="259" y="135"/>
                      </a:lnTo>
                      <a:lnTo>
                        <a:pt x="278" y="146"/>
                      </a:lnTo>
                      <a:lnTo>
                        <a:pt x="294" y="158"/>
                      </a:lnTo>
                      <a:lnTo>
                        <a:pt x="310" y="171"/>
                      </a:lnTo>
                      <a:lnTo>
                        <a:pt x="326" y="185"/>
                      </a:lnTo>
                      <a:lnTo>
                        <a:pt x="342" y="199"/>
                      </a:lnTo>
                      <a:lnTo>
                        <a:pt x="356" y="214"/>
                      </a:lnTo>
                      <a:lnTo>
                        <a:pt x="370" y="230"/>
                      </a:lnTo>
                      <a:lnTo>
                        <a:pt x="382" y="246"/>
                      </a:lnTo>
                      <a:lnTo>
                        <a:pt x="394" y="262"/>
                      </a:lnTo>
                      <a:lnTo>
                        <a:pt x="405" y="281"/>
                      </a:lnTo>
                      <a:lnTo>
                        <a:pt x="416" y="298"/>
                      </a:lnTo>
                      <a:lnTo>
                        <a:pt x="426" y="318"/>
                      </a:lnTo>
                      <a:lnTo>
                        <a:pt x="434" y="336"/>
                      </a:lnTo>
                      <a:lnTo>
                        <a:pt x="442" y="355"/>
                      </a:lnTo>
                      <a:lnTo>
                        <a:pt x="448" y="376"/>
                      </a:lnTo>
                      <a:lnTo>
                        <a:pt x="454" y="396"/>
                      </a:lnTo>
                      <a:lnTo>
                        <a:pt x="459" y="417"/>
                      </a:lnTo>
                      <a:lnTo>
                        <a:pt x="463" y="438"/>
                      </a:lnTo>
                      <a:lnTo>
                        <a:pt x="466" y="460"/>
                      </a:lnTo>
                      <a:lnTo>
                        <a:pt x="467" y="482"/>
                      </a:lnTo>
                      <a:lnTo>
                        <a:pt x="468" y="504"/>
                      </a:lnTo>
                      <a:lnTo>
                        <a:pt x="468" y="504"/>
                      </a:lnTo>
                      <a:lnTo>
                        <a:pt x="469" y="511"/>
                      </a:lnTo>
                      <a:lnTo>
                        <a:pt x="471" y="518"/>
                      </a:lnTo>
                      <a:lnTo>
                        <a:pt x="474" y="524"/>
                      </a:lnTo>
                      <a:lnTo>
                        <a:pt x="479" y="529"/>
                      </a:lnTo>
                      <a:lnTo>
                        <a:pt x="484" y="534"/>
                      </a:lnTo>
                      <a:lnTo>
                        <a:pt x="490" y="537"/>
                      </a:lnTo>
                      <a:lnTo>
                        <a:pt x="497" y="539"/>
                      </a:lnTo>
                      <a:lnTo>
                        <a:pt x="504" y="540"/>
                      </a:lnTo>
                      <a:lnTo>
                        <a:pt x="511" y="539"/>
                      </a:lnTo>
                      <a:lnTo>
                        <a:pt x="518" y="537"/>
                      </a:lnTo>
                      <a:lnTo>
                        <a:pt x="524" y="534"/>
                      </a:lnTo>
                      <a:lnTo>
                        <a:pt x="529" y="529"/>
                      </a:lnTo>
                      <a:lnTo>
                        <a:pt x="534" y="524"/>
                      </a:lnTo>
                      <a:lnTo>
                        <a:pt x="537" y="518"/>
                      </a:lnTo>
                      <a:lnTo>
                        <a:pt x="539" y="511"/>
                      </a:lnTo>
                      <a:lnTo>
                        <a:pt x="540" y="504"/>
                      </a:lnTo>
                      <a:lnTo>
                        <a:pt x="540" y="504"/>
                      </a:lnTo>
                      <a:lnTo>
                        <a:pt x="540" y="503"/>
                      </a:lnTo>
                      <a:lnTo>
                        <a:pt x="539" y="477"/>
                      </a:lnTo>
                      <a:lnTo>
                        <a:pt x="537" y="453"/>
                      </a:lnTo>
                      <a:lnTo>
                        <a:pt x="534" y="427"/>
                      </a:lnTo>
                      <a:lnTo>
                        <a:pt x="529" y="403"/>
                      </a:lnTo>
                      <a:lnTo>
                        <a:pt x="524" y="378"/>
                      </a:lnTo>
                      <a:lnTo>
                        <a:pt x="518" y="354"/>
                      </a:lnTo>
                      <a:lnTo>
                        <a:pt x="509" y="330"/>
                      </a:lnTo>
                      <a:lnTo>
                        <a:pt x="500" y="308"/>
                      </a:lnTo>
                      <a:lnTo>
                        <a:pt x="491" y="285"/>
                      </a:lnTo>
                      <a:lnTo>
                        <a:pt x="479" y="264"/>
                      </a:lnTo>
                      <a:lnTo>
                        <a:pt x="467" y="243"/>
                      </a:lnTo>
                      <a:lnTo>
                        <a:pt x="454" y="222"/>
                      </a:lnTo>
                      <a:lnTo>
                        <a:pt x="440" y="203"/>
                      </a:lnTo>
                      <a:lnTo>
                        <a:pt x="425" y="184"/>
                      </a:lnTo>
                      <a:lnTo>
                        <a:pt x="410" y="165"/>
                      </a:lnTo>
                      <a:lnTo>
                        <a:pt x="392" y="148"/>
                      </a:lnTo>
                      <a:lnTo>
                        <a:pt x="375" y="132"/>
                      </a:lnTo>
                      <a:lnTo>
                        <a:pt x="357" y="116"/>
                      </a:lnTo>
                      <a:lnTo>
                        <a:pt x="338" y="100"/>
                      </a:lnTo>
                      <a:lnTo>
                        <a:pt x="318" y="86"/>
                      </a:lnTo>
                      <a:lnTo>
                        <a:pt x="297" y="73"/>
                      </a:lnTo>
                      <a:lnTo>
                        <a:pt x="277" y="62"/>
                      </a:lnTo>
                      <a:lnTo>
                        <a:pt x="255" y="50"/>
                      </a:lnTo>
                      <a:lnTo>
                        <a:pt x="232" y="40"/>
                      </a:lnTo>
                      <a:lnTo>
                        <a:pt x="210" y="31"/>
                      </a:lnTo>
                      <a:lnTo>
                        <a:pt x="186" y="23"/>
                      </a:lnTo>
                      <a:lnTo>
                        <a:pt x="162" y="16"/>
                      </a:lnTo>
                      <a:lnTo>
                        <a:pt x="139" y="11"/>
                      </a:lnTo>
                      <a:lnTo>
                        <a:pt x="114" y="6"/>
                      </a:lnTo>
                      <a:lnTo>
                        <a:pt x="89" y="3"/>
                      </a:lnTo>
                      <a:lnTo>
                        <a:pt x="63" y="1"/>
                      </a:lnTo>
                      <a:lnTo>
                        <a:pt x="37" y="0"/>
                      </a:lnTo>
                      <a:lnTo>
                        <a:pt x="37" y="0"/>
                      </a:lnTo>
                      <a:lnTo>
                        <a:pt x="36" y="0"/>
                      </a:lnTo>
                      <a:lnTo>
                        <a:pt x="28" y="1"/>
                      </a:lnTo>
                      <a:lnTo>
                        <a:pt x="22" y="3"/>
                      </a:lnTo>
                      <a:lnTo>
                        <a:pt x="15" y="6"/>
                      </a:lnTo>
                      <a:lnTo>
                        <a:pt x="11" y="11"/>
                      </a:lnTo>
                      <a:lnTo>
                        <a:pt x="6" y="16"/>
                      </a:lnTo>
                      <a:lnTo>
                        <a:pt x="2" y="22"/>
                      </a:lnTo>
                      <a:lnTo>
                        <a:pt x="0" y="29"/>
                      </a:lnTo>
                      <a:lnTo>
                        <a:pt x="0" y="36"/>
                      </a:lnTo>
                      <a:lnTo>
                        <a:pt x="0" y="43"/>
                      </a:lnTo>
                      <a:lnTo>
                        <a:pt x="2" y="50"/>
                      </a:lnTo>
                      <a:lnTo>
                        <a:pt x="6" y="56"/>
                      </a:lnTo>
                      <a:lnTo>
                        <a:pt x="11" y="62"/>
                      </a:lnTo>
                      <a:lnTo>
                        <a:pt x="15" y="66"/>
                      </a:lnTo>
                      <a:lnTo>
                        <a:pt x="22" y="69"/>
                      </a:lnTo>
                      <a:lnTo>
                        <a:pt x="28" y="71"/>
                      </a:lnTo>
                      <a:lnTo>
                        <a:pt x="36" y="72"/>
                      </a:lnTo>
                      <a:close/>
                    </a:path>
                  </a:pathLst>
                </a:custGeom>
                <a:grpFill/>
                <a:ln>
                  <a:noFill/>
                </a:ln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</a14:hiddenLine>
                  </a:ext>
                </a:extLst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srgbClr val="7030A0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</p:grpSp>
        </p:grpSp>
        <p:sp>
          <p:nvSpPr>
            <p:cNvPr id="53" name="矩形 52"/>
            <p:cNvSpPr/>
            <p:nvPr/>
          </p:nvSpPr>
          <p:spPr>
            <a:xfrm>
              <a:off x="9307583" y="3784698"/>
              <a:ext cx="2103668" cy="185240"/>
            </a:xfrm>
            <a:prstGeom prst="rect">
              <a:avLst/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40" name="TextBox 42"/>
          <p:cNvSpPr txBox="1"/>
          <p:nvPr/>
        </p:nvSpPr>
        <p:spPr>
          <a:xfrm>
            <a:off x="1070518" y="3193534"/>
            <a:ext cx="164012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添加标题</a:t>
            </a:r>
          </a:p>
        </p:txBody>
      </p:sp>
      <p:sp>
        <p:nvSpPr>
          <p:cNvPr id="41" name="TextBox 42"/>
          <p:cNvSpPr txBox="1"/>
          <p:nvPr/>
        </p:nvSpPr>
        <p:spPr>
          <a:xfrm>
            <a:off x="3910038" y="3193534"/>
            <a:ext cx="164012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添加标题</a:t>
            </a:r>
          </a:p>
        </p:txBody>
      </p:sp>
      <p:sp>
        <p:nvSpPr>
          <p:cNvPr id="42" name="TextBox 42"/>
          <p:cNvSpPr txBox="1"/>
          <p:nvPr/>
        </p:nvSpPr>
        <p:spPr>
          <a:xfrm>
            <a:off x="6749557" y="3193534"/>
            <a:ext cx="164012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添加标题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9535216" y="3193534"/>
            <a:ext cx="1640128" cy="369332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添加标题</a:t>
            </a:r>
          </a:p>
        </p:txBody>
      </p:sp>
      <p:sp>
        <p:nvSpPr>
          <p:cNvPr id="44" name="TextBox 53"/>
          <p:cNvSpPr txBox="1"/>
          <p:nvPr/>
        </p:nvSpPr>
        <p:spPr>
          <a:xfrm>
            <a:off x="871935" y="4365242"/>
            <a:ext cx="2022738" cy="932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45" name="TextBox 53"/>
          <p:cNvSpPr txBox="1"/>
          <p:nvPr/>
        </p:nvSpPr>
        <p:spPr>
          <a:xfrm>
            <a:off x="3695927" y="4365242"/>
            <a:ext cx="2022738" cy="932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46" name="TextBox 53"/>
          <p:cNvSpPr txBox="1"/>
          <p:nvPr/>
        </p:nvSpPr>
        <p:spPr>
          <a:xfrm>
            <a:off x="6519919" y="4365242"/>
            <a:ext cx="2022738" cy="932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47" name="TextBox 53"/>
          <p:cNvSpPr txBox="1"/>
          <p:nvPr/>
        </p:nvSpPr>
        <p:spPr>
          <a:xfrm>
            <a:off x="9343911" y="4365242"/>
            <a:ext cx="2022738" cy="9325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58" name="文本框 57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成果展示</a:t>
            </a:r>
          </a:p>
        </p:txBody>
      </p:sp>
      <p:sp>
        <p:nvSpPr>
          <p:cNvPr id="60" name="文本框 59"/>
          <p:cNvSpPr txBox="1"/>
          <p:nvPr/>
        </p:nvSpPr>
        <p:spPr>
          <a:xfrm>
            <a:off x="2619249" y="445145"/>
            <a:ext cx="19822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ACHIEVEMENT DISPLA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8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 p14:presetBounceEnd="40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 p14:presetBounceEnd="4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5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16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 p14:presetBounceEnd="40000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19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0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2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24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2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0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35" presetID="4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75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3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0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75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75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75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75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75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53" dur="75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75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" grpId="0" animBg="1"/>
          <p:bldP spid="41" grpId="0" animBg="1"/>
          <p:bldP spid="42" grpId="0" animBg="1"/>
          <p:bldP spid="43" grpId="0" animBg="1"/>
          <p:bldP spid="44" grpId="0"/>
          <p:bldP spid="45" grpId="0"/>
          <p:bldP spid="46" grpId="0"/>
          <p:bldP spid="47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4" fill="hold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5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9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1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5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3" presetID="2" presetClass="entr" presetSubtype="4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1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5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5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7" presetID="2" presetClass="entr" presetSubtype="4" fill="hold" nodeType="withEffect">
                                      <p:stCondLst>
                                        <p:cond delay="750"/>
                                      </p:stCondLst>
                                      <p:childTnLst>
                                        <p:set>
                                          <p:cBhvr>
                                            <p:cTn id="18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9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0" dur="500" fill="hold"/>
                                            <p:tgtEl>
                                              <p:spTgt spid="5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1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22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24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5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27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8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0" dur="500"/>
                                            <p:tgtEl>
                                              <p:spTgt spid="42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1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3" dur="500"/>
                                            <p:tgtEl>
                                              <p:spTgt spid="4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4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35" presetID="4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7" dur="75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38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9" dur="750" fill="hold"/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0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2" dur="750"/>
                                            <p:tgtEl>
                                              <p:spTgt spid="45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3" dur="75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4" dur="75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45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47" dur="750"/>
                                            <p:tgtEl>
                                              <p:spTgt spid="46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48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9" dur="750" fill="hold"/>
                                            <p:tgtEl>
                                              <p:spTgt spid="46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50" presetID="47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52" dur="750"/>
                                            <p:tgtEl>
                                              <p:spTgt spid="47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53" dur="75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4" dur="750" fill="hold"/>
                                            <p:tgtEl>
                                              <p:spTgt spid="4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40" grpId="0" animBg="1"/>
          <p:bldP spid="41" grpId="0" animBg="1"/>
          <p:bldP spid="42" grpId="0" animBg="1"/>
          <p:bldP spid="43" grpId="0" animBg="1"/>
          <p:bldP spid="44" grpId="0"/>
          <p:bldP spid="45" grpId="0"/>
          <p:bldP spid="46" grpId="0"/>
          <p:bldP spid="47" grpId="0"/>
        </p:bldLst>
      </p:timing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7"/>
          <p:cNvGrpSpPr/>
          <p:nvPr/>
        </p:nvGrpSpPr>
        <p:grpSpPr>
          <a:xfrm>
            <a:off x="4263266" y="2992703"/>
            <a:ext cx="501002" cy="68934"/>
            <a:chOff x="4647977" y="2595263"/>
            <a:chExt cx="504373" cy="69398"/>
          </a:xfrm>
          <a:solidFill>
            <a:schemeClr val="bg1">
              <a:lumMod val="65000"/>
            </a:schemeClr>
          </a:solidFill>
        </p:grpSpPr>
        <p:sp>
          <p:nvSpPr>
            <p:cNvPr id="13" name="Oval 8"/>
            <p:cNvSpPr/>
            <p:nvPr/>
          </p:nvSpPr>
          <p:spPr>
            <a:xfrm>
              <a:off x="4647977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4" name="Oval 9"/>
            <p:cNvSpPr/>
            <p:nvPr/>
          </p:nvSpPr>
          <p:spPr>
            <a:xfrm>
              <a:off x="4865465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5" name="Oval 10"/>
            <p:cNvSpPr/>
            <p:nvPr/>
          </p:nvSpPr>
          <p:spPr>
            <a:xfrm>
              <a:off x="5082952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16" name="Group 11"/>
          <p:cNvGrpSpPr/>
          <p:nvPr/>
        </p:nvGrpSpPr>
        <p:grpSpPr>
          <a:xfrm>
            <a:off x="7627217" y="2992703"/>
            <a:ext cx="501002" cy="68934"/>
            <a:chOff x="4647977" y="2595263"/>
            <a:chExt cx="504373" cy="69398"/>
          </a:xfrm>
          <a:solidFill>
            <a:schemeClr val="bg1">
              <a:lumMod val="65000"/>
            </a:schemeClr>
          </a:solidFill>
        </p:grpSpPr>
        <p:sp>
          <p:nvSpPr>
            <p:cNvPr id="17" name="Oval 12"/>
            <p:cNvSpPr/>
            <p:nvPr/>
          </p:nvSpPr>
          <p:spPr>
            <a:xfrm>
              <a:off x="4647977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8" name="Oval 13"/>
            <p:cNvSpPr/>
            <p:nvPr/>
          </p:nvSpPr>
          <p:spPr>
            <a:xfrm>
              <a:off x="4865465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9" name="Oval 14"/>
            <p:cNvSpPr/>
            <p:nvPr/>
          </p:nvSpPr>
          <p:spPr>
            <a:xfrm>
              <a:off x="5082952" y="2595263"/>
              <a:ext cx="69398" cy="69398"/>
            </a:xfrm>
            <a:prstGeom prst="ellipse">
              <a:avLst/>
            </a:prstGeom>
            <a:grpFill/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1479292" y="1967512"/>
            <a:ext cx="2119316" cy="2119316"/>
            <a:chOff x="1830459" y="2096852"/>
            <a:chExt cx="1860636" cy="1860636"/>
          </a:xfrm>
        </p:grpSpPr>
        <p:sp>
          <p:nvSpPr>
            <p:cNvPr id="21" name="Oval 1"/>
            <p:cNvSpPr/>
            <p:nvPr/>
          </p:nvSpPr>
          <p:spPr>
            <a:xfrm>
              <a:off x="1830459" y="2096852"/>
              <a:ext cx="1860636" cy="1860636"/>
            </a:xfrm>
            <a:prstGeom prst="ellipse">
              <a:avLst/>
            </a:prstGeom>
            <a:noFill/>
            <a:ln w="127000">
              <a:solidFill>
                <a:schemeClr val="lt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b" anchorCtr="1">
              <a:normAutofit/>
            </a:bodyPr>
            <a:lstStyle/>
            <a:p>
              <a:pPr algn="ctr">
                <a:lnSpc>
                  <a:spcPct val="120000"/>
                </a:lnSpc>
                <a:defRPr/>
              </a:pPr>
              <a:endPara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2" name="Arc 2"/>
            <p:cNvSpPr/>
            <p:nvPr/>
          </p:nvSpPr>
          <p:spPr>
            <a:xfrm>
              <a:off x="1830459" y="2096852"/>
              <a:ext cx="1860636" cy="1860636"/>
            </a:xfrm>
            <a:prstGeom prst="arc">
              <a:avLst>
                <a:gd name="adj1" fmla="val 10529000"/>
                <a:gd name="adj2" fmla="val 15122297"/>
              </a:avLst>
            </a:prstGeom>
            <a:ln w="127000" cap="rnd">
              <a:solidFill>
                <a:schemeClr val="lt1">
                  <a:lumMod val="10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3" name="椭圆 22"/>
            <p:cNvSpPr/>
            <p:nvPr/>
          </p:nvSpPr>
          <p:spPr>
            <a:xfrm>
              <a:off x="2099019" y="2365183"/>
              <a:ext cx="1323974" cy="1323974"/>
            </a:xfrm>
            <a:prstGeom prst="ellipse">
              <a:avLst/>
            </a:prstGeom>
            <a:blipFill dpi="0" rotWithShape="1">
              <a:blip r:embed="rId3"/>
              <a:srcRect/>
              <a:tile tx="0" ty="0" sx="100000" sy="100000" flip="none" algn="ctr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24" name="组合 23"/>
          <p:cNvGrpSpPr/>
          <p:nvPr/>
        </p:nvGrpSpPr>
        <p:grpSpPr>
          <a:xfrm>
            <a:off x="5115654" y="1967512"/>
            <a:ext cx="2119316" cy="2119316"/>
            <a:chOff x="5244994" y="2096852"/>
            <a:chExt cx="1860636" cy="1860636"/>
          </a:xfrm>
        </p:grpSpPr>
        <p:sp>
          <p:nvSpPr>
            <p:cNvPr id="25" name="Oval 3"/>
            <p:cNvSpPr/>
            <p:nvPr/>
          </p:nvSpPr>
          <p:spPr>
            <a:xfrm>
              <a:off x="5244994" y="2096852"/>
              <a:ext cx="1860636" cy="1860636"/>
            </a:xfrm>
            <a:prstGeom prst="ellipse">
              <a:avLst/>
            </a:prstGeom>
            <a:noFill/>
            <a:ln w="127000">
              <a:solidFill>
                <a:schemeClr val="lt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b" anchorCtr="1">
              <a:normAutofit/>
            </a:bodyPr>
            <a:lstStyle/>
            <a:p>
              <a:pPr algn="ctr">
                <a:lnSpc>
                  <a:spcPct val="120000"/>
                </a:lnSpc>
                <a:defRPr/>
              </a:pPr>
              <a:endPara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6" name="Arc 4"/>
            <p:cNvSpPr/>
            <p:nvPr/>
          </p:nvSpPr>
          <p:spPr>
            <a:xfrm>
              <a:off x="5244994" y="2096852"/>
              <a:ext cx="1860636" cy="1860636"/>
            </a:xfrm>
            <a:prstGeom prst="arc">
              <a:avLst>
                <a:gd name="adj1" fmla="val 19348155"/>
                <a:gd name="adj2" fmla="val 8179524"/>
              </a:avLst>
            </a:prstGeom>
            <a:ln w="127000" cap="rnd">
              <a:solidFill>
                <a:schemeClr val="lt1">
                  <a:lumMod val="10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7" name="椭圆 26"/>
            <p:cNvSpPr/>
            <p:nvPr/>
          </p:nvSpPr>
          <p:spPr>
            <a:xfrm>
              <a:off x="5513325" y="2365183"/>
              <a:ext cx="1323974" cy="1323974"/>
            </a:xfrm>
            <a:prstGeom prst="ellipse">
              <a:avLst/>
            </a:prstGeom>
            <a:blipFill dpi="0" rotWithShape="1">
              <a:blip r:embed="rId4"/>
              <a:srcRect/>
              <a:tile tx="0" ty="0" sx="100000" sy="100000" flip="none" algn="r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8752016" y="1967512"/>
            <a:ext cx="2119316" cy="2119316"/>
            <a:chOff x="8705032" y="2096852"/>
            <a:chExt cx="1860636" cy="1860636"/>
          </a:xfrm>
        </p:grpSpPr>
        <p:sp>
          <p:nvSpPr>
            <p:cNvPr id="29" name="Oval 5"/>
            <p:cNvSpPr/>
            <p:nvPr/>
          </p:nvSpPr>
          <p:spPr>
            <a:xfrm>
              <a:off x="8705032" y="2096852"/>
              <a:ext cx="1860636" cy="1860636"/>
            </a:xfrm>
            <a:prstGeom prst="ellipse">
              <a:avLst/>
            </a:prstGeom>
            <a:noFill/>
            <a:ln w="127000">
              <a:solidFill>
                <a:schemeClr val="lt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anchor="b" anchorCtr="1">
              <a:normAutofit/>
            </a:bodyPr>
            <a:lstStyle/>
            <a:p>
              <a:pPr algn="ctr">
                <a:lnSpc>
                  <a:spcPct val="120000"/>
                </a:lnSpc>
                <a:defRPr/>
              </a:pPr>
              <a:endParaRPr lang="zh-CN" altLang="en-US" sz="1000" dirty="0">
                <a:solidFill>
                  <a:schemeClr val="tx1">
                    <a:lumMod val="65000"/>
                    <a:lumOff val="3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0" name="Arc 6"/>
            <p:cNvSpPr/>
            <p:nvPr/>
          </p:nvSpPr>
          <p:spPr>
            <a:xfrm>
              <a:off x="8705032" y="2096852"/>
              <a:ext cx="1860636" cy="1860636"/>
            </a:xfrm>
            <a:prstGeom prst="arc">
              <a:avLst>
                <a:gd name="adj1" fmla="val 16200000"/>
                <a:gd name="adj2" fmla="val 898106"/>
              </a:avLst>
            </a:prstGeom>
            <a:ln w="127000" cap="rnd">
              <a:solidFill>
                <a:schemeClr val="lt1">
                  <a:lumMod val="100000"/>
                </a:schemeClr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/>
              <a:endParaRPr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1" name="椭圆 30"/>
            <p:cNvSpPr/>
            <p:nvPr/>
          </p:nvSpPr>
          <p:spPr>
            <a:xfrm>
              <a:off x="8973362" y="2365183"/>
              <a:ext cx="1323974" cy="1323974"/>
            </a:xfrm>
            <a:prstGeom prst="ellipse">
              <a:avLst/>
            </a:prstGeom>
            <a:blipFill dpi="0" rotWithShape="1">
              <a:blip r:embed="rId5"/>
              <a:srcRect/>
              <a:tile tx="0" ty="0" sx="100000" sy="100000" flip="none" algn="ctr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1182060" y="4663976"/>
            <a:ext cx="2713780" cy="1054930"/>
            <a:chOff x="2676067" y="1799802"/>
            <a:chExt cx="2713780" cy="1054930"/>
          </a:xfrm>
        </p:grpSpPr>
        <p:sp>
          <p:nvSpPr>
            <p:cNvPr id="33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4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35" name="组合 34"/>
          <p:cNvGrpSpPr/>
          <p:nvPr/>
        </p:nvGrpSpPr>
        <p:grpSpPr>
          <a:xfrm>
            <a:off x="4739110" y="4663976"/>
            <a:ext cx="2713780" cy="1054930"/>
            <a:chOff x="2676067" y="1799802"/>
            <a:chExt cx="2713780" cy="1054930"/>
          </a:xfrm>
        </p:grpSpPr>
        <p:sp>
          <p:nvSpPr>
            <p:cNvPr id="36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7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8454782" y="4663976"/>
            <a:ext cx="2713780" cy="1054930"/>
            <a:chOff x="2676067" y="1799802"/>
            <a:chExt cx="2713780" cy="1054930"/>
          </a:xfrm>
        </p:grpSpPr>
        <p:sp>
          <p:nvSpPr>
            <p:cNvPr id="39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0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41" name="文本框 4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成果展示</a:t>
            </a:r>
          </a:p>
        </p:txBody>
      </p:sp>
      <p:sp>
        <p:nvSpPr>
          <p:cNvPr id="43" name="文本框 42"/>
          <p:cNvSpPr txBox="1"/>
          <p:nvPr/>
        </p:nvSpPr>
        <p:spPr>
          <a:xfrm>
            <a:off x="2619249" y="445145"/>
            <a:ext cx="19822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ACHIEVEMENT DISPLA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" name="组合 62"/>
          <p:cNvGrpSpPr/>
          <p:nvPr/>
        </p:nvGrpSpPr>
        <p:grpSpPr>
          <a:xfrm>
            <a:off x="1292843" y="2052005"/>
            <a:ext cx="1277449" cy="1047561"/>
            <a:chOff x="1292843" y="2052005"/>
            <a:chExt cx="1277449" cy="1047561"/>
          </a:xfrm>
        </p:grpSpPr>
        <p:cxnSp>
          <p:nvCxnSpPr>
            <p:cNvPr id="13" name="Straight Connector 314"/>
            <p:cNvCxnSpPr/>
            <p:nvPr/>
          </p:nvCxnSpPr>
          <p:spPr>
            <a:xfrm>
              <a:off x="1292843" y="2575785"/>
              <a:ext cx="1277449" cy="0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342"/>
            <p:cNvCxnSpPr/>
            <p:nvPr/>
          </p:nvCxnSpPr>
          <p:spPr>
            <a:xfrm>
              <a:off x="2570292" y="2052005"/>
              <a:ext cx="0" cy="1047561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1" name="组合 60"/>
          <p:cNvGrpSpPr/>
          <p:nvPr/>
        </p:nvGrpSpPr>
        <p:grpSpPr>
          <a:xfrm>
            <a:off x="1292843" y="4014784"/>
            <a:ext cx="1277449" cy="1047561"/>
            <a:chOff x="1292843" y="4014784"/>
            <a:chExt cx="1277449" cy="1047561"/>
          </a:xfrm>
        </p:grpSpPr>
        <p:cxnSp>
          <p:nvCxnSpPr>
            <p:cNvPr id="19" name="Straight Connector 367"/>
            <p:cNvCxnSpPr/>
            <p:nvPr/>
          </p:nvCxnSpPr>
          <p:spPr>
            <a:xfrm>
              <a:off x="1292843" y="4538564"/>
              <a:ext cx="1277449" cy="0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368"/>
            <p:cNvCxnSpPr/>
            <p:nvPr/>
          </p:nvCxnSpPr>
          <p:spPr>
            <a:xfrm>
              <a:off x="2570292" y="4014784"/>
              <a:ext cx="0" cy="1047561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7" name="组合 56"/>
          <p:cNvGrpSpPr/>
          <p:nvPr/>
        </p:nvGrpSpPr>
        <p:grpSpPr>
          <a:xfrm>
            <a:off x="6888265" y="2052005"/>
            <a:ext cx="1277449" cy="1047561"/>
            <a:chOff x="6888265" y="2052005"/>
            <a:chExt cx="1277449" cy="1047561"/>
          </a:xfrm>
        </p:grpSpPr>
        <p:cxnSp>
          <p:nvCxnSpPr>
            <p:cNvPr id="25" name="Straight Connector 374"/>
            <p:cNvCxnSpPr/>
            <p:nvPr/>
          </p:nvCxnSpPr>
          <p:spPr>
            <a:xfrm>
              <a:off x="6888265" y="2575785"/>
              <a:ext cx="1277449" cy="0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375"/>
            <p:cNvCxnSpPr/>
            <p:nvPr/>
          </p:nvCxnSpPr>
          <p:spPr>
            <a:xfrm>
              <a:off x="8165714" y="2052005"/>
              <a:ext cx="0" cy="1047561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8" name="组合 57"/>
          <p:cNvGrpSpPr/>
          <p:nvPr/>
        </p:nvGrpSpPr>
        <p:grpSpPr>
          <a:xfrm>
            <a:off x="6888265" y="4014784"/>
            <a:ext cx="1277449" cy="1047561"/>
            <a:chOff x="6888265" y="4014784"/>
            <a:chExt cx="1277449" cy="1047561"/>
          </a:xfrm>
        </p:grpSpPr>
        <p:cxnSp>
          <p:nvCxnSpPr>
            <p:cNvPr id="31" name="Straight Connector 381"/>
            <p:cNvCxnSpPr/>
            <p:nvPr/>
          </p:nvCxnSpPr>
          <p:spPr>
            <a:xfrm>
              <a:off x="6888265" y="4538564"/>
              <a:ext cx="1277449" cy="0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Connector 382"/>
            <p:cNvCxnSpPr/>
            <p:nvPr/>
          </p:nvCxnSpPr>
          <p:spPr>
            <a:xfrm>
              <a:off x="8165714" y="4014784"/>
              <a:ext cx="0" cy="1047561"/>
            </a:xfrm>
            <a:prstGeom prst="line">
              <a:avLst/>
            </a:prstGeom>
            <a:ln>
              <a:solidFill>
                <a:schemeClr val="lt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9" name="组合 58"/>
          <p:cNvGrpSpPr/>
          <p:nvPr/>
        </p:nvGrpSpPr>
        <p:grpSpPr>
          <a:xfrm>
            <a:off x="6511328" y="3960760"/>
            <a:ext cx="1197600" cy="1153910"/>
            <a:chOff x="6511328" y="3960760"/>
            <a:chExt cx="1197600" cy="1153910"/>
          </a:xfrm>
        </p:grpSpPr>
        <p:grpSp>
          <p:nvGrpSpPr>
            <p:cNvPr id="33" name="Group 383"/>
            <p:cNvGrpSpPr/>
            <p:nvPr/>
          </p:nvGrpSpPr>
          <p:grpSpPr>
            <a:xfrm>
              <a:off x="6511328" y="3960760"/>
              <a:ext cx="1197600" cy="1153910"/>
              <a:chOff x="785422" y="1990454"/>
              <a:chExt cx="1250743" cy="1205114"/>
            </a:xfrm>
          </p:grpSpPr>
          <p:sp>
            <p:nvSpPr>
              <p:cNvPr id="34" name="Oval 385"/>
              <p:cNvSpPr/>
              <p:nvPr/>
            </p:nvSpPr>
            <p:spPr>
              <a:xfrm rot="5400000">
                <a:off x="785422" y="1990454"/>
                <a:ext cx="1205114" cy="1205114"/>
              </a:xfrm>
              <a:prstGeom prst="ellipse">
                <a:avLst/>
              </a:prstGeom>
              <a:solidFill>
                <a:schemeClr val="lt1">
                  <a:lumMod val="65000"/>
                  <a:alpha val="4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2400" kern="1200" dirty="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35" name="Freeform 386"/>
              <p:cNvSpPr/>
              <p:nvPr/>
            </p:nvSpPr>
            <p:spPr>
              <a:xfrm rot="5400000">
                <a:off x="955207" y="2018873"/>
                <a:ext cx="1013641" cy="1148274"/>
              </a:xfrm>
              <a:custGeom>
                <a:avLst/>
                <a:gdLst>
                  <a:gd name="connsiteX0" fmla="*/ 0 w 1115005"/>
                  <a:gd name="connsiteY0" fmla="*/ 705599 h 1263101"/>
                  <a:gd name="connsiteX1" fmla="*/ 445146 w 1115005"/>
                  <a:gd name="connsiteY1" fmla="*/ 159423 h 1263101"/>
                  <a:gd name="connsiteX2" fmla="*/ 466271 w 1115005"/>
                  <a:gd name="connsiteY2" fmla="*/ 157293 h 1263101"/>
                  <a:gd name="connsiteX3" fmla="*/ 557501 w 1115005"/>
                  <a:gd name="connsiteY3" fmla="*/ 0 h 1263101"/>
                  <a:gd name="connsiteX4" fmla="*/ 648732 w 1115005"/>
                  <a:gd name="connsiteY4" fmla="*/ 157293 h 1263101"/>
                  <a:gd name="connsiteX5" fmla="*/ 669859 w 1115005"/>
                  <a:gd name="connsiteY5" fmla="*/ 159423 h 1263101"/>
                  <a:gd name="connsiteX6" fmla="*/ 1115005 w 1115005"/>
                  <a:gd name="connsiteY6" fmla="*/ 705599 h 1263101"/>
                  <a:gd name="connsiteX7" fmla="*/ 557503 w 1115005"/>
                  <a:gd name="connsiteY7" fmla="*/ 1263101 h 1263101"/>
                  <a:gd name="connsiteX8" fmla="*/ 0 w 1115005"/>
                  <a:gd name="connsiteY8" fmla="*/ 705599 h 126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5005" h="1263101">
                    <a:moveTo>
                      <a:pt x="0" y="705599"/>
                    </a:moveTo>
                    <a:cubicBezTo>
                      <a:pt x="0" y="436186"/>
                      <a:pt x="191102" y="211408"/>
                      <a:pt x="445146" y="159423"/>
                    </a:cubicBezTo>
                    <a:lnTo>
                      <a:pt x="466271" y="157293"/>
                    </a:lnTo>
                    <a:lnTo>
                      <a:pt x="557501" y="0"/>
                    </a:lnTo>
                    <a:lnTo>
                      <a:pt x="648732" y="157293"/>
                    </a:lnTo>
                    <a:lnTo>
                      <a:pt x="669859" y="159423"/>
                    </a:lnTo>
                    <a:cubicBezTo>
                      <a:pt x="923903" y="211408"/>
                      <a:pt x="1115005" y="436186"/>
                      <a:pt x="1115005" y="705599"/>
                    </a:cubicBezTo>
                    <a:cubicBezTo>
                      <a:pt x="1115005" y="1013499"/>
                      <a:pt x="865403" y="1263101"/>
                      <a:pt x="557503" y="1263101"/>
                    </a:cubicBezTo>
                    <a:cubicBezTo>
                      <a:pt x="249603" y="1263101"/>
                      <a:pt x="0" y="1013499"/>
                      <a:pt x="0" y="70559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defTabSz="1828800" rtl="0"/>
                <a:endParaRPr lang="en-US" sz="3200" kern="1200">
                  <a:solidFill>
                    <a:prstClr val="white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  <p:sp>
          <p:nvSpPr>
            <p:cNvPr id="36" name="Freeform 29"/>
            <p:cNvSpPr>
              <a:spLocks noEditPoints="1"/>
            </p:cNvSpPr>
            <p:nvPr/>
          </p:nvSpPr>
          <p:spPr bwMode="auto">
            <a:xfrm>
              <a:off x="6861513" y="4317704"/>
              <a:ext cx="481551" cy="481551"/>
            </a:xfrm>
            <a:custGeom>
              <a:avLst/>
              <a:gdLst>
                <a:gd name="T0" fmla="*/ 1074 w 1152"/>
                <a:gd name="T1" fmla="*/ 523 h 1152"/>
                <a:gd name="T2" fmla="*/ 1051 w 1152"/>
                <a:gd name="T3" fmla="*/ 539 h 1152"/>
                <a:gd name="T4" fmla="*/ 936 w 1152"/>
                <a:gd name="T5" fmla="*/ 288 h 1152"/>
                <a:gd name="T6" fmla="*/ 964 w 1152"/>
                <a:gd name="T7" fmla="*/ 302 h 1152"/>
                <a:gd name="T8" fmla="*/ 1080 w 1152"/>
                <a:gd name="T9" fmla="*/ 462 h 1152"/>
                <a:gd name="T10" fmla="*/ 756 w 1152"/>
                <a:gd name="T11" fmla="*/ 1080 h 1152"/>
                <a:gd name="T12" fmla="*/ 750 w 1152"/>
                <a:gd name="T13" fmla="*/ 699 h 1152"/>
                <a:gd name="T14" fmla="*/ 727 w 1152"/>
                <a:gd name="T15" fmla="*/ 684 h 1152"/>
                <a:gd name="T16" fmla="*/ 436 w 1152"/>
                <a:gd name="T17" fmla="*/ 687 h 1152"/>
                <a:gd name="T18" fmla="*/ 417 w 1152"/>
                <a:gd name="T19" fmla="*/ 706 h 1152"/>
                <a:gd name="T20" fmla="*/ 180 w 1152"/>
                <a:gd name="T21" fmla="*/ 1080 h 1152"/>
                <a:gd name="T22" fmla="*/ 720 w 1152"/>
                <a:gd name="T23" fmla="*/ 1080 h 1152"/>
                <a:gd name="T24" fmla="*/ 720 w 1152"/>
                <a:gd name="T25" fmla="*/ 1080 h 1152"/>
                <a:gd name="T26" fmla="*/ 73 w 1152"/>
                <a:gd name="T27" fmla="*/ 456 h 1152"/>
                <a:gd name="T28" fmla="*/ 193 w 1152"/>
                <a:gd name="T29" fmla="*/ 296 h 1152"/>
                <a:gd name="T30" fmla="*/ 319 w 1152"/>
                <a:gd name="T31" fmla="*/ 288 h 1152"/>
                <a:gd name="T32" fmla="*/ 94 w 1152"/>
                <a:gd name="T33" fmla="*/ 536 h 1152"/>
                <a:gd name="T34" fmla="*/ 75 w 1152"/>
                <a:gd name="T35" fmla="*/ 518 h 1152"/>
                <a:gd name="T36" fmla="*/ 792 w 1152"/>
                <a:gd name="T37" fmla="*/ 288 h 1152"/>
                <a:gd name="T38" fmla="*/ 594 w 1152"/>
                <a:gd name="T39" fmla="*/ 288 h 1152"/>
                <a:gd name="T40" fmla="*/ 594 w 1152"/>
                <a:gd name="T41" fmla="*/ 288 h 1152"/>
                <a:gd name="T42" fmla="*/ 404 w 1152"/>
                <a:gd name="T43" fmla="*/ 540 h 1152"/>
                <a:gd name="T44" fmla="*/ 360 w 1152"/>
                <a:gd name="T45" fmla="*/ 288 h 1152"/>
                <a:gd name="T46" fmla="*/ 936 w 1152"/>
                <a:gd name="T47" fmla="*/ 216 h 1152"/>
                <a:gd name="T48" fmla="*/ 1131 w 1152"/>
                <a:gd name="T49" fmla="*/ 402 h 1152"/>
                <a:gd name="T50" fmla="*/ 1008 w 1152"/>
                <a:gd name="T51" fmla="*/ 72 h 1152"/>
                <a:gd name="T52" fmla="*/ 1002 w 1152"/>
                <a:gd name="T53" fmla="*/ 44 h 1152"/>
                <a:gd name="T54" fmla="*/ 987 w 1152"/>
                <a:gd name="T55" fmla="*/ 21 h 1152"/>
                <a:gd name="T56" fmla="*/ 964 w 1152"/>
                <a:gd name="T57" fmla="*/ 5 h 1152"/>
                <a:gd name="T58" fmla="*/ 936 w 1152"/>
                <a:gd name="T59" fmla="*/ 0 h 1152"/>
                <a:gd name="T60" fmla="*/ 194 w 1152"/>
                <a:gd name="T61" fmla="*/ 3 h 1152"/>
                <a:gd name="T62" fmla="*/ 171 w 1152"/>
                <a:gd name="T63" fmla="*/ 16 h 1152"/>
                <a:gd name="T64" fmla="*/ 152 w 1152"/>
                <a:gd name="T65" fmla="*/ 37 h 1152"/>
                <a:gd name="T66" fmla="*/ 145 w 1152"/>
                <a:gd name="T67" fmla="*/ 64 h 1152"/>
                <a:gd name="T68" fmla="*/ 130 w 1152"/>
                <a:gd name="T69" fmla="*/ 259 h 1152"/>
                <a:gd name="T70" fmla="*/ 9 w 1152"/>
                <a:gd name="T71" fmla="*/ 425 h 1152"/>
                <a:gd name="T72" fmla="*/ 0 w 1152"/>
                <a:gd name="T73" fmla="*/ 459 h 1152"/>
                <a:gd name="T74" fmla="*/ 2 w 1152"/>
                <a:gd name="T75" fmla="*/ 526 h 1152"/>
                <a:gd name="T76" fmla="*/ 18 w 1152"/>
                <a:gd name="T77" fmla="*/ 564 h 1152"/>
                <a:gd name="T78" fmla="*/ 48 w 1152"/>
                <a:gd name="T79" fmla="*/ 594 h 1152"/>
                <a:gd name="T80" fmla="*/ 86 w 1152"/>
                <a:gd name="T81" fmla="*/ 610 h 1152"/>
                <a:gd name="T82" fmla="*/ 108 w 1152"/>
                <a:gd name="T83" fmla="*/ 1087 h 1152"/>
                <a:gd name="T84" fmla="*/ 117 w 1152"/>
                <a:gd name="T85" fmla="*/ 1114 h 1152"/>
                <a:gd name="T86" fmla="*/ 134 w 1152"/>
                <a:gd name="T87" fmla="*/ 1135 h 1152"/>
                <a:gd name="T88" fmla="*/ 159 w 1152"/>
                <a:gd name="T89" fmla="*/ 1149 h 1152"/>
                <a:gd name="T90" fmla="*/ 972 w 1152"/>
                <a:gd name="T91" fmla="*/ 1152 h 1152"/>
                <a:gd name="T92" fmla="*/ 1000 w 1152"/>
                <a:gd name="T93" fmla="*/ 1146 h 1152"/>
                <a:gd name="T94" fmla="*/ 1023 w 1152"/>
                <a:gd name="T95" fmla="*/ 1130 h 1152"/>
                <a:gd name="T96" fmla="*/ 1038 w 1152"/>
                <a:gd name="T97" fmla="*/ 1108 h 1152"/>
                <a:gd name="T98" fmla="*/ 1044 w 1152"/>
                <a:gd name="T99" fmla="*/ 1080 h 1152"/>
                <a:gd name="T100" fmla="*/ 1076 w 1152"/>
                <a:gd name="T101" fmla="*/ 607 h 1152"/>
                <a:gd name="T102" fmla="*/ 1112 w 1152"/>
                <a:gd name="T103" fmla="*/ 587 h 1152"/>
                <a:gd name="T104" fmla="*/ 1139 w 1152"/>
                <a:gd name="T105" fmla="*/ 555 h 1152"/>
                <a:gd name="T106" fmla="*/ 1151 w 1152"/>
                <a:gd name="T107" fmla="*/ 515 h 1152"/>
                <a:gd name="T108" fmla="*/ 1150 w 1152"/>
                <a:gd name="T109" fmla="*/ 450 h 1152"/>
                <a:gd name="T110" fmla="*/ 1139 w 1152"/>
                <a:gd name="T111" fmla="*/ 418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52" h="1152">
                  <a:moveTo>
                    <a:pt x="1080" y="504"/>
                  </a:moveTo>
                  <a:lnTo>
                    <a:pt x="1079" y="510"/>
                  </a:lnTo>
                  <a:lnTo>
                    <a:pt x="1077" y="518"/>
                  </a:lnTo>
                  <a:lnTo>
                    <a:pt x="1074" y="523"/>
                  </a:lnTo>
                  <a:lnTo>
                    <a:pt x="1069" y="529"/>
                  </a:lnTo>
                  <a:lnTo>
                    <a:pt x="1064" y="533"/>
                  </a:lnTo>
                  <a:lnTo>
                    <a:pt x="1058" y="536"/>
                  </a:lnTo>
                  <a:lnTo>
                    <a:pt x="1051" y="539"/>
                  </a:lnTo>
                  <a:lnTo>
                    <a:pt x="1044" y="540"/>
                  </a:lnTo>
                  <a:lnTo>
                    <a:pt x="977" y="540"/>
                  </a:lnTo>
                  <a:lnTo>
                    <a:pt x="834" y="288"/>
                  </a:lnTo>
                  <a:lnTo>
                    <a:pt x="936" y="288"/>
                  </a:lnTo>
                  <a:lnTo>
                    <a:pt x="944" y="289"/>
                  </a:lnTo>
                  <a:lnTo>
                    <a:pt x="953" y="291"/>
                  </a:lnTo>
                  <a:lnTo>
                    <a:pt x="959" y="296"/>
                  </a:lnTo>
                  <a:lnTo>
                    <a:pt x="964" y="302"/>
                  </a:lnTo>
                  <a:lnTo>
                    <a:pt x="1072" y="446"/>
                  </a:lnTo>
                  <a:lnTo>
                    <a:pt x="1076" y="451"/>
                  </a:lnTo>
                  <a:lnTo>
                    <a:pt x="1078" y="456"/>
                  </a:lnTo>
                  <a:lnTo>
                    <a:pt x="1080" y="462"/>
                  </a:lnTo>
                  <a:lnTo>
                    <a:pt x="1080" y="467"/>
                  </a:lnTo>
                  <a:lnTo>
                    <a:pt x="1080" y="504"/>
                  </a:lnTo>
                  <a:close/>
                  <a:moveTo>
                    <a:pt x="972" y="1080"/>
                  </a:moveTo>
                  <a:lnTo>
                    <a:pt x="756" y="1080"/>
                  </a:lnTo>
                  <a:lnTo>
                    <a:pt x="756" y="720"/>
                  </a:lnTo>
                  <a:lnTo>
                    <a:pt x="755" y="712"/>
                  </a:lnTo>
                  <a:lnTo>
                    <a:pt x="753" y="706"/>
                  </a:lnTo>
                  <a:lnTo>
                    <a:pt x="750" y="699"/>
                  </a:lnTo>
                  <a:lnTo>
                    <a:pt x="745" y="694"/>
                  </a:lnTo>
                  <a:lnTo>
                    <a:pt x="740" y="690"/>
                  </a:lnTo>
                  <a:lnTo>
                    <a:pt x="734" y="687"/>
                  </a:lnTo>
                  <a:lnTo>
                    <a:pt x="727" y="684"/>
                  </a:lnTo>
                  <a:lnTo>
                    <a:pt x="720" y="683"/>
                  </a:lnTo>
                  <a:lnTo>
                    <a:pt x="450" y="683"/>
                  </a:lnTo>
                  <a:lnTo>
                    <a:pt x="443" y="684"/>
                  </a:lnTo>
                  <a:lnTo>
                    <a:pt x="436" y="687"/>
                  </a:lnTo>
                  <a:lnTo>
                    <a:pt x="430" y="690"/>
                  </a:lnTo>
                  <a:lnTo>
                    <a:pt x="424" y="694"/>
                  </a:lnTo>
                  <a:lnTo>
                    <a:pt x="420" y="699"/>
                  </a:lnTo>
                  <a:lnTo>
                    <a:pt x="417" y="706"/>
                  </a:lnTo>
                  <a:lnTo>
                    <a:pt x="415" y="712"/>
                  </a:lnTo>
                  <a:lnTo>
                    <a:pt x="414" y="720"/>
                  </a:lnTo>
                  <a:lnTo>
                    <a:pt x="414" y="1080"/>
                  </a:lnTo>
                  <a:lnTo>
                    <a:pt x="180" y="1080"/>
                  </a:lnTo>
                  <a:lnTo>
                    <a:pt x="180" y="612"/>
                  </a:lnTo>
                  <a:lnTo>
                    <a:pt x="972" y="612"/>
                  </a:lnTo>
                  <a:lnTo>
                    <a:pt x="972" y="1080"/>
                  </a:lnTo>
                  <a:close/>
                  <a:moveTo>
                    <a:pt x="720" y="1080"/>
                  </a:moveTo>
                  <a:lnTo>
                    <a:pt x="450" y="1080"/>
                  </a:lnTo>
                  <a:lnTo>
                    <a:pt x="450" y="720"/>
                  </a:lnTo>
                  <a:lnTo>
                    <a:pt x="720" y="720"/>
                  </a:lnTo>
                  <a:lnTo>
                    <a:pt x="720" y="1080"/>
                  </a:lnTo>
                  <a:close/>
                  <a:moveTo>
                    <a:pt x="72" y="504"/>
                  </a:moveTo>
                  <a:lnTo>
                    <a:pt x="72" y="467"/>
                  </a:lnTo>
                  <a:lnTo>
                    <a:pt x="72" y="462"/>
                  </a:lnTo>
                  <a:lnTo>
                    <a:pt x="73" y="456"/>
                  </a:lnTo>
                  <a:lnTo>
                    <a:pt x="76" y="451"/>
                  </a:lnTo>
                  <a:lnTo>
                    <a:pt x="79" y="446"/>
                  </a:lnTo>
                  <a:lnTo>
                    <a:pt x="187" y="302"/>
                  </a:lnTo>
                  <a:lnTo>
                    <a:pt x="193" y="296"/>
                  </a:lnTo>
                  <a:lnTo>
                    <a:pt x="200" y="291"/>
                  </a:lnTo>
                  <a:lnTo>
                    <a:pt x="207" y="289"/>
                  </a:lnTo>
                  <a:lnTo>
                    <a:pt x="216" y="288"/>
                  </a:lnTo>
                  <a:lnTo>
                    <a:pt x="319" y="288"/>
                  </a:lnTo>
                  <a:lnTo>
                    <a:pt x="175" y="540"/>
                  </a:lnTo>
                  <a:lnTo>
                    <a:pt x="108" y="540"/>
                  </a:lnTo>
                  <a:lnTo>
                    <a:pt x="100" y="539"/>
                  </a:lnTo>
                  <a:lnTo>
                    <a:pt x="94" y="536"/>
                  </a:lnTo>
                  <a:lnTo>
                    <a:pt x="87" y="533"/>
                  </a:lnTo>
                  <a:lnTo>
                    <a:pt x="82" y="529"/>
                  </a:lnTo>
                  <a:lnTo>
                    <a:pt x="78" y="523"/>
                  </a:lnTo>
                  <a:lnTo>
                    <a:pt x="75" y="518"/>
                  </a:lnTo>
                  <a:lnTo>
                    <a:pt x="72" y="510"/>
                  </a:lnTo>
                  <a:lnTo>
                    <a:pt x="72" y="504"/>
                  </a:lnTo>
                  <a:close/>
                  <a:moveTo>
                    <a:pt x="713" y="288"/>
                  </a:moveTo>
                  <a:lnTo>
                    <a:pt x="792" y="288"/>
                  </a:lnTo>
                  <a:lnTo>
                    <a:pt x="935" y="540"/>
                  </a:lnTo>
                  <a:lnTo>
                    <a:pt x="785" y="540"/>
                  </a:lnTo>
                  <a:lnTo>
                    <a:pt x="713" y="288"/>
                  </a:lnTo>
                  <a:close/>
                  <a:moveTo>
                    <a:pt x="594" y="288"/>
                  </a:moveTo>
                  <a:lnTo>
                    <a:pt x="675" y="288"/>
                  </a:lnTo>
                  <a:lnTo>
                    <a:pt x="747" y="540"/>
                  </a:lnTo>
                  <a:lnTo>
                    <a:pt x="594" y="540"/>
                  </a:lnTo>
                  <a:lnTo>
                    <a:pt x="594" y="288"/>
                  </a:lnTo>
                  <a:close/>
                  <a:moveTo>
                    <a:pt x="476" y="288"/>
                  </a:moveTo>
                  <a:lnTo>
                    <a:pt x="558" y="288"/>
                  </a:lnTo>
                  <a:lnTo>
                    <a:pt x="558" y="540"/>
                  </a:lnTo>
                  <a:lnTo>
                    <a:pt x="404" y="540"/>
                  </a:lnTo>
                  <a:lnTo>
                    <a:pt x="476" y="288"/>
                  </a:lnTo>
                  <a:close/>
                  <a:moveTo>
                    <a:pt x="367" y="540"/>
                  </a:moveTo>
                  <a:lnTo>
                    <a:pt x="216" y="540"/>
                  </a:lnTo>
                  <a:lnTo>
                    <a:pt x="360" y="288"/>
                  </a:lnTo>
                  <a:lnTo>
                    <a:pt x="438" y="288"/>
                  </a:lnTo>
                  <a:lnTo>
                    <a:pt x="367" y="540"/>
                  </a:lnTo>
                  <a:close/>
                  <a:moveTo>
                    <a:pt x="936" y="72"/>
                  </a:moveTo>
                  <a:lnTo>
                    <a:pt x="936" y="216"/>
                  </a:lnTo>
                  <a:lnTo>
                    <a:pt x="216" y="216"/>
                  </a:lnTo>
                  <a:lnTo>
                    <a:pt x="216" y="72"/>
                  </a:lnTo>
                  <a:lnTo>
                    <a:pt x="936" y="72"/>
                  </a:lnTo>
                  <a:close/>
                  <a:moveTo>
                    <a:pt x="1131" y="402"/>
                  </a:moveTo>
                  <a:lnTo>
                    <a:pt x="1023" y="259"/>
                  </a:lnTo>
                  <a:lnTo>
                    <a:pt x="1015" y="251"/>
                  </a:lnTo>
                  <a:lnTo>
                    <a:pt x="1008" y="244"/>
                  </a:lnTo>
                  <a:lnTo>
                    <a:pt x="1008" y="72"/>
                  </a:lnTo>
                  <a:lnTo>
                    <a:pt x="1008" y="64"/>
                  </a:lnTo>
                  <a:lnTo>
                    <a:pt x="1007" y="57"/>
                  </a:lnTo>
                  <a:lnTo>
                    <a:pt x="1004" y="50"/>
                  </a:lnTo>
                  <a:lnTo>
                    <a:pt x="1002" y="44"/>
                  </a:lnTo>
                  <a:lnTo>
                    <a:pt x="999" y="37"/>
                  </a:lnTo>
                  <a:lnTo>
                    <a:pt x="996" y="31"/>
                  </a:lnTo>
                  <a:lnTo>
                    <a:pt x="991" y="26"/>
                  </a:lnTo>
                  <a:lnTo>
                    <a:pt x="987" y="21"/>
                  </a:lnTo>
                  <a:lnTo>
                    <a:pt x="982" y="16"/>
                  </a:lnTo>
                  <a:lnTo>
                    <a:pt x="976" y="12"/>
                  </a:lnTo>
                  <a:lnTo>
                    <a:pt x="970" y="8"/>
                  </a:lnTo>
                  <a:lnTo>
                    <a:pt x="964" y="5"/>
                  </a:lnTo>
                  <a:lnTo>
                    <a:pt x="957" y="3"/>
                  </a:lnTo>
                  <a:lnTo>
                    <a:pt x="950" y="1"/>
                  </a:lnTo>
                  <a:lnTo>
                    <a:pt x="943" y="0"/>
                  </a:lnTo>
                  <a:lnTo>
                    <a:pt x="936" y="0"/>
                  </a:lnTo>
                  <a:lnTo>
                    <a:pt x="216" y="0"/>
                  </a:lnTo>
                  <a:lnTo>
                    <a:pt x="208" y="0"/>
                  </a:lnTo>
                  <a:lnTo>
                    <a:pt x="202" y="1"/>
                  </a:lnTo>
                  <a:lnTo>
                    <a:pt x="194" y="3"/>
                  </a:lnTo>
                  <a:lnTo>
                    <a:pt x="188" y="5"/>
                  </a:lnTo>
                  <a:lnTo>
                    <a:pt x="181" y="8"/>
                  </a:lnTo>
                  <a:lnTo>
                    <a:pt x="176" y="12"/>
                  </a:lnTo>
                  <a:lnTo>
                    <a:pt x="171" y="16"/>
                  </a:lnTo>
                  <a:lnTo>
                    <a:pt x="165" y="21"/>
                  </a:lnTo>
                  <a:lnTo>
                    <a:pt x="161" y="26"/>
                  </a:lnTo>
                  <a:lnTo>
                    <a:pt x="157" y="31"/>
                  </a:lnTo>
                  <a:lnTo>
                    <a:pt x="152" y="37"/>
                  </a:lnTo>
                  <a:lnTo>
                    <a:pt x="150" y="44"/>
                  </a:lnTo>
                  <a:lnTo>
                    <a:pt x="147" y="50"/>
                  </a:lnTo>
                  <a:lnTo>
                    <a:pt x="146" y="57"/>
                  </a:lnTo>
                  <a:lnTo>
                    <a:pt x="145" y="64"/>
                  </a:lnTo>
                  <a:lnTo>
                    <a:pt x="144" y="72"/>
                  </a:lnTo>
                  <a:lnTo>
                    <a:pt x="144" y="244"/>
                  </a:lnTo>
                  <a:lnTo>
                    <a:pt x="136" y="251"/>
                  </a:lnTo>
                  <a:lnTo>
                    <a:pt x="130" y="259"/>
                  </a:lnTo>
                  <a:lnTo>
                    <a:pt x="22" y="402"/>
                  </a:lnTo>
                  <a:lnTo>
                    <a:pt x="16" y="410"/>
                  </a:lnTo>
                  <a:lnTo>
                    <a:pt x="12" y="418"/>
                  </a:lnTo>
                  <a:lnTo>
                    <a:pt x="9" y="425"/>
                  </a:lnTo>
                  <a:lnTo>
                    <a:pt x="5" y="434"/>
                  </a:lnTo>
                  <a:lnTo>
                    <a:pt x="3" y="441"/>
                  </a:lnTo>
                  <a:lnTo>
                    <a:pt x="1" y="450"/>
                  </a:lnTo>
                  <a:lnTo>
                    <a:pt x="0" y="459"/>
                  </a:lnTo>
                  <a:lnTo>
                    <a:pt x="0" y="467"/>
                  </a:lnTo>
                  <a:lnTo>
                    <a:pt x="0" y="504"/>
                  </a:lnTo>
                  <a:lnTo>
                    <a:pt x="1" y="515"/>
                  </a:lnTo>
                  <a:lnTo>
                    <a:pt x="2" y="526"/>
                  </a:lnTo>
                  <a:lnTo>
                    <a:pt x="5" y="535"/>
                  </a:lnTo>
                  <a:lnTo>
                    <a:pt x="9" y="546"/>
                  </a:lnTo>
                  <a:lnTo>
                    <a:pt x="13" y="555"/>
                  </a:lnTo>
                  <a:lnTo>
                    <a:pt x="18" y="564"/>
                  </a:lnTo>
                  <a:lnTo>
                    <a:pt x="25" y="572"/>
                  </a:lnTo>
                  <a:lnTo>
                    <a:pt x="31" y="580"/>
                  </a:lnTo>
                  <a:lnTo>
                    <a:pt x="39" y="587"/>
                  </a:lnTo>
                  <a:lnTo>
                    <a:pt x="48" y="594"/>
                  </a:lnTo>
                  <a:lnTo>
                    <a:pt x="56" y="599"/>
                  </a:lnTo>
                  <a:lnTo>
                    <a:pt x="66" y="603"/>
                  </a:lnTo>
                  <a:lnTo>
                    <a:pt x="76" y="607"/>
                  </a:lnTo>
                  <a:lnTo>
                    <a:pt x="86" y="610"/>
                  </a:lnTo>
                  <a:lnTo>
                    <a:pt x="97" y="611"/>
                  </a:lnTo>
                  <a:lnTo>
                    <a:pt x="108" y="612"/>
                  </a:lnTo>
                  <a:lnTo>
                    <a:pt x="108" y="1080"/>
                  </a:lnTo>
                  <a:lnTo>
                    <a:pt x="108" y="1087"/>
                  </a:lnTo>
                  <a:lnTo>
                    <a:pt x="109" y="1094"/>
                  </a:lnTo>
                  <a:lnTo>
                    <a:pt x="111" y="1101"/>
                  </a:lnTo>
                  <a:lnTo>
                    <a:pt x="113" y="1108"/>
                  </a:lnTo>
                  <a:lnTo>
                    <a:pt x="117" y="1114"/>
                  </a:lnTo>
                  <a:lnTo>
                    <a:pt x="120" y="1120"/>
                  </a:lnTo>
                  <a:lnTo>
                    <a:pt x="124" y="1125"/>
                  </a:lnTo>
                  <a:lnTo>
                    <a:pt x="130" y="1130"/>
                  </a:lnTo>
                  <a:lnTo>
                    <a:pt x="134" y="1135"/>
                  </a:lnTo>
                  <a:lnTo>
                    <a:pt x="139" y="1139"/>
                  </a:lnTo>
                  <a:lnTo>
                    <a:pt x="146" y="1143"/>
                  </a:lnTo>
                  <a:lnTo>
                    <a:pt x="152" y="1146"/>
                  </a:lnTo>
                  <a:lnTo>
                    <a:pt x="159" y="1149"/>
                  </a:lnTo>
                  <a:lnTo>
                    <a:pt x="165" y="1150"/>
                  </a:lnTo>
                  <a:lnTo>
                    <a:pt x="173" y="1151"/>
                  </a:lnTo>
                  <a:lnTo>
                    <a:pt x="180" y="1152"/>
                  </a:lnTo>
                  <a:lnTo>
                    <a:pt x="972" y="1152"/>
                  </a:lnTo>
                  <a:lnTo>
                    <a:pt x="980" y="1151"/>
                  </a:lnTo>
                  <a:lnTo>
                    <a:pt x="986" y="1150"/>
                  </a:lnTo>
                  <a:lnTo>
                    <a:pt x="994" y="1149"/>
                  </a:lnTo>
                  <a:lnTo>
                    <a:pt x="1000" y="1146"/>
                  </a:lnTo>
                  <a:lnTo>
                    <a:pt x="1007" y="1143"/>
                  </a:lnTo>
                  <a:lnTo>
                    <a:pt x="1012" y="1139"/>
                  </a:lnTo>
                  <a:lnTo>
                    <a:pt x="1017" y="1135"/>
                  </a:lnTo>
                  <a:lnTo>
                    <a:pt x="1023" y="1130"/>
                  </a:lnTo>
                  <a:lnTo>
                    <a:pt x="1027" y="1125"/>
                  </a:lnTo>
                  <a:lnTo>
                    <a:pt x="1031" y="1120"/>
                  </a:lnTo>
                  <a:lnTo>
                    <a:pt x="1036" y="1114"/>
                  </a:lnTo>
                  <a:lnTo>
                    <a:pt x="1038" y="1108"/>
                  </a:lnTo>
                  <a:lnTo>
                    <a:pt x="1041" y="1101"/>
                  </a:lnTo>
                  <a:lnTo>
                    <a:pt x="1042" y="1094"/>
                  </a:lnTo>
                  <a:lnTo>
                    <a:pt x="1043" y="1087"/>
                  </a:lnTo>
                  <a:lnTo>
                    <a:pt x="1044" y="1080"/>
                  </a:lnTo>
                  <a:lnTo>
                    <a:pt x="1044" y="612"/>
                  </a:lnTo>
                  <a:lnTo>
                    <a:pt x="1055" y="611"/>
                  </a:lnTo>
                  <a:lnTo>
                    <a:pt x="1066" y="610"/>
                  </a:lnTo>
                  <a:lnTo>
                    <a:pt x="1076" y="607"/>
                  </a:lnTo>
                  <a:lnTo>
                    <a:pt x="1087" y="603"/>
                  </a:lnTo>
                  <a:lnTo>
                    <a:pt x="1095" y="599"/>
                  </a:lnTo>
                  <a:lnTo>
                    <a:pt x="1105" y="594"/>
                  </a:lnTo>
                  <a:lnTo>
                    <a:pt x="1112" y="587"/>
                  </a:lnTo>
                  <a:lnTo>
                    <a:pt x="1120" y="580"/>
                  </a:lnTo>
                  <a:lnTo>
                    <a:pt x="1128" y="572"/>
                  </a:lnTo>
                  <a:lnTo>
                    <a:pt x="1134" y="564"/>
                  </a:lnTo>
                  <a:lnTo>
                    <a:pt x="1139" y="555"/>
                  </a:lnTo>
                  <a:lnTo>
                    <a:pt x="1144" y="546"/>
                  </a:lnTo>
                  <a:lnTo>
                    <a:pt x="1147" y="535"/>
                  </a:lnTo>
                  <a:lnTo>
                    <a:pt x="1150" y="526"/>
                  </a:lnTo>
                  <a:lnTo>
                    <a:pt x="1151" y="515"/>
                  </a:lnTo>
                  <a:lnTo>
                    <a:pt x="1152" y="504"/>
                  </a:lnTo>
                  <a:lnTo>
                    <a:pt x="1152" y="467"/>
                  </a:lnTo>
                  <a:lnTo>
                    <a:pt x="1151" y="459"/>
                  </a:lnTo>
                  <a:lnTo>
                    <a:pt x="1150" y="450"/>
                  </a:lnTo>
                  <a:lnTo>
                    <a:pt x="1149" y="441"/>
                  </a:lnTo>
                  <a:lnTo>
                    <a:pt x="1146" y="434"/>
                  </a:lnTo>
                  <a:lnTo>
                    <a:pt x="1144" y="425"/>
                  </a:lnTo>
                  <a:lnTo>
                    <a:pt x="1139" y="418"/>
                  </a:lnTo>
                  <a:lnTo>
                    <a:pt x="1135" y="410"/>
                  </a:lnTo>
                  <a:lnTo>
                    <a:pt x="1131" y="402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6511328" y="1997981"/>
            <a:ext cx="1197600" cy="1153910"/>
            <a:chOff x="6511328" y="1997981"/>
            <a:chExt cx="1197600" cy="1153910"/>
          </a:xfrm>
        </p:grpSpPr>
        <p:grpSp>
          <p:nvGrpSpPr>
            <p:cNvPr id="27" name="Group 376"/>
            <p:cNvGrpSpPr/>
            <p:nvPr/>
          </p:nvGrpSpPr>
          <p:grpSpPr>
            <a:xfrm>
              <a:off x="6511328" y="1997981"/>
              <a:ext cx="1197600" cy="1153910"/>
              <a:chOff x="785422" y="1990454"/>
              <a:chExt cx="1250743" cy="1205114"/>
            </a:xfrm>
          </p:grpSpPr>
          <p:sp>
            <p:nvSpPr>
              <p:cNvPr id="28" name="Oval 378"/>
              <p:cNvSpPr/>
              <p:nvPr/>
            </p:nvSpPr>
            <p:spPr>
              <a:xfrm rot="5400000">
                <a:off x="785422" y="1990454"/>
                <a:ext cx="1205114" cy="1205114"/>
              </a:xfrm>
              <a:prstGeom prst="ellipse">
                <a:avLst/>
              </a:prstGeom>
              <a:solidFill>
                <a:schemeClr val="lt1">
                  <a:lumMod val="65000"/>
                  <a:alpha val="4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24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9" name="Freeform 379"/>
              <p:cNvSpPr/>
              <p:nvPr/>
            </p:nvSpPr>
            <p:spPr>
              <a:xfrm rot="5400000">
                <a:off x="955207" y="2018873"/>
                <a:ext cx="1013641" cy="1148274"/>
              </a:xfrm>
              <a:custGeom>
                <a:avLst/>
                <a:gdLst>
                  <a:gd name="connsiteX0" fmla="*/ 0 w 1115005"/>
                  <a:gd name="connsiteY0" fmla="*/ 705599 h 1263101"/>
                  <a:gd name="connsiteX1" fmla="*/ 445146 w 1115005"/>
                  <a:gd name="connsiteY1" fmla="*/ 159423 h 1263101"/>
                  <a:gd name="connsiteX2" fmla="*/ 466271 w 1115005"/>
                  <a:gd name="connsiteY2" fmla="*/ 157293 h 1263101"/>
                  <a:gd name="connsiteX3" fmla="*/ 557501 w 1115005"/>
                  <a:gd name="connsiteY3" fmla="*/ 0 h 1263101"/>
                  <a:gd name="connsiteX4" fmla="*/ 648732 w 1115005"/>
                  <a:gd name="connsiteY4" fmla="*/ 157293 h 1263101"/>
                  <a:gd name="connsiteX5" fmla="*/ 669859 w 1115005"/>
                  <a:gd name="connsiteY5" fmla="*/ 159423 h 1263101"/>
                  <a:gd name="connsiteX6" fmla="*/ 1115005 w 1115005"/>
                  <a:gd name="connsiteY6" fmla="*/ 705599 h 1263101"/>
                  <a:gd name="connsiteX7" fmla="*/ 557503 w 1115005"/>
                  <a:gd name="connsiteY7" fmla="*/ 1263101 h 1263101"/>
                  <a:gd name="connsiteX8" fmla="*/ 0 w 1115005"/>
                  <a:gd name="connsiteY8" fmla="*/ 705599 h 126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5005" h="1263101">
                    <a:moveTo>
                      <a:pt x="0" y="705599"/>
                    </a:moveTo>
                    <a:cubicBezTo>
                      <a:pt x="0" y="436186"/>
                      <a:pt x="191102" y="211408"/>
                      <a:pt x="445146" y="159423"/>
                    </a:cubicBezTo>
                    <a:lnTo>
                      <a:pt x="466271" y="157293"/>
                    </a:lnTo>
                    <a:lnTo>
                      <a:pt x="557501" y="0"/>
                    </a:lnTo>
                    <a:lnTo>
                      <a:pt x="648732" y="157293"/>
                    </a:lnTo>
                    <a:lnTo>
                      <a:pt x="669859" y="159423"/>
                    </a:lnTo>
                    <a:cubicBezTo>
                      <a:pt x="923903" y="211408"/>
                      <a:pt x="1115005" y="436186"/>
                      <a:pt x="1115005" y="705599"/>
                    </a:cubicBezTo>
                    <a:cubicBezTo>
                      <a:pt x="1115005" y="1013499"/>
                      <a:pt x="865403" y="1263101"/>
                      <a:pt x="557503" y="1263101"/>
                    </a:cubicBezTo>
                    <a:cubicBezTo>
                      <a:pt x="249603" y="1263101"/>
                      <a:pt x="0" y="1013499"/>
                      <a:pt x="0" y="70559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defTabSz="1828800" rtl="0"/>
                <a:endParaRPr lang="en-US" sz="3200" kern="1200">
                  <a:solidFill>
                    <a:prstClr val="white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  <p:grpSp>
          <p:nvGrpSpPr>
            <p:cNvPr id="37" name="Group 33"/>
            <p:cNvGrpSpPr/>
            <p:nvPr/>
          </p:nvGrpSpPr>
          <p:grpSpPr>
            <a:xfrm>
              <a:off x="6921707" y="2334158"/>
              <a:ext cx="331067" cy="481551"/>
              <a:chOff x="5549106" y="4582715"/>
              <a:chExt cx="314325" cy="457200"/>
            </a:xfrm>
            <a:solidFill>
              <a:schemeClr val="bg1"/>
            </a:solidFill>
          </p:grpSpPr>
          <p:sp>
            <p:nvSpPr>
              <p:cNvPr id="38" name="Freeform 98"/>
              <p:cNvSpPr>
                <a:spLocks noEditPoints="1"/>
              </p:cNvSpPr>
              <p:nvPr/>
            </p:nvSpPr>
            <p:spPr bwMode="auto">
              <a:xfrm>
                <a:off x="5549106" y="4582715"/>
                <a:ext cx="314325" cy="457200"/>
              </a:xfrm>
              <a:custGeom>
                <a:avLst/>
                <a:gdLst>
                  <a:gd name="T0" fmla="*/ 72 w 792"/>
                  <a:gd name="T1" fmla="*/ 180 h 1152"/>
                  <a:gd name="T2" fmla="*/ 72 w 792"/>
                  <a:gd name="T3" fmla="*/ 100 h 1152"/>
                  <a:gd name="T4" fmla="*/ 78 w 792"/>
                  <a:gd name="T5" fmla="*/ 87 h 1152"/>
                  <a:gd name="T6" fmla="*/ 87 w 792"/>
                  <a:gd name="T7" fmla="*/ 78 h 1152"/>
                  <a:gd name="T8" fmla="*/ 100 w 792"/>
                  <a:gd name="T9" fmla="*/ 72 h 1152"/>
                  <a:gd name="T10" fmla="*/ 684 w 792"/>
                  <a:gd name="T11" fmla="*/ 72 h 1152"/>
                  <a:gd name="T12" fmla="*/ 698 w 792"/>
                  <a:gd name="T13" fmla="*/ 75 h 1152"/>
                  <a:gd name="T14" fmla="*/ 710 w 792"/>
                  <a:gd name="T15" fmla="*/ 82 h 1152"/>
                  <a:gd name="T16" fmla="*/ 717 w 792"/>
                  <a:gd name="T17" fmla="*/ 94 h 1152"/>
                  <a:gd name="T18" fmla="*/ 720 w 792"/>
                  <a:gd name="T19" fmla="*/ 108 h 1152"/>
                  <a:gd name="T20" fmla="*/ 720 w 792"/>
                  <a:gd name="T21" fmla="*/ 935 h 1152"/>
                  <a:gd name="T22" fmla="*/ 72 w 792"/>
                  <a:gd name="T23" fmla="*/ 216 h 1152"/>
                  <a:gd name="T24" fmla="*/ 720 w 792"/>
                  <a:gd name="T25" fmla="*/ 935 h 1152"/>
                  <a:gd name="T26" fmla="*/ 719 w 792"/>
                  <a:gd name="T27" fmla="*/ 1051 h 1152"/>
                  <a:gd name="T28" fmla="*/ 714 w 792"/>
                  <a:gd name="T29" fmla="*/ 1064 h 1152"/>
                  <a:gd name="T30" fmla="*/ 704 w 792"/>
                  <a:gd name="T31" fmla="*/ 1074 h 1152"/>
                  <a:gd name="T32" fmla="*/ 691 w 792"/>
                  <a:gd name="T33" fmla="*/ 1079 h 1152"/>
                  <a:gd name="T34" fmla="*/ 108 w 792"/>
                  <a:gd name="T35" fmla="*/ 1080 h 1152"/>
                  <a:gd name="T36" fmla="*/ 94 w 792"/>
                  <a:gd name="T37" fmla="*/ 1077 h 1152"/>
                  <a:gd name="T38" fmla="*/ 82 w 792"/>
                  <a:gd name="T39" fmla="*/ 1069 h 1152"/>
                  <a:gd name="T40" fmla="*/ 74 w 792"/>
                  <a:gd name="T41" fmla="*/ 1058 h 1152"/>
                  <a:gd name="T42" fmla="*/ 72 w 792"/>
                  <a:gd name="T43" fmla="*/ 1044 h 1152"/>
                  <a:gd name="T44" fmla="*/ 720 w 792"/>
                  <a:gd name="T45" fmla="*/ 972 h 1152"/>
                  <a:gd name="T46" fmla="*/ 684 w 792"/>
                  <a:gd name="T47" fmla="*/ 0 h 1152"/>
                  <a:gd name="T48" fmla="*/ 97 w 792"/>
                  <a:gd name="T49" fmla="*/ 0 h 1152"/>
                  <a:gd name="T50" fmla="*/ 76 w 792"/>
                  <a:gd name="T51" fmla="*/ 4 h 1152"/>
                  <a:gd name="T52" fmla="*/ 56 w 792"/>
                  <a:gd name="T53" fmla="*/ 13 h 1152"/>
                  <a:gd name="T54" fmla="*/ 39 w 792"/>
                  <a:gd name="T55" fmla="*/ 25 h 1152"/>
                  <a:gd name="T56" fmla="*/ 25 w 792"/>
                  <a:gd name="T57" fmla="*/ 39 h 1152"/>
                  <a:gd name="T58" fmla="*/ 13 w 792"/>
                  <a:gd name="T59" fmla="*/ 56 h 1152"/>
                  <a:gd name="T60" fmla="*/ 5 w 792"/>
                  <a:gd name="T61" fmla="*/ 76 h 1152"/>
                  <a:gd name="T62" fmla="*/ 1 w 792"/>
                  <a:gd name="T63" fmla="*/ 97 h 1152"/>
                  <a:gd name="T64" fmla="*/ 0 w 792"/>
                  <a:gd name="T65" fmla="*/ 1044 h 1152"/>
                  <a:gd name="T66" fmla="*/ 2 w 792"/>
                  <a:gd name="T67" fmla="*/ 1066 h 1152"/>
                  <a:gd name="T68" fmla="*/ 9 w 792"/>
                  <a:gd name="T69" fmla="*/ 1085 h 1152"/>
                  <a:gd name="T70" fmla="*/ 18 w 792"/>
                  <a:gd name="T71" fmla="*/ 1104 h 1152"/>
                  <a:gd name="T72" fmla="*/ 31 w 792"/>
                  <a:gd name="T73" fmla="*/ 1120 h 1152"/>
                  <a:gd name="T74" fmla="*/ 47 w 792"/>
                  <a:gd name="T75" fmla="*/ 1133 h 1152"/>
                  <a:gd name="T76" fmla="*/ 66 w 792"/>
                  <a:gd name="T77" fmla="*/ 1144 h 1152"/>
                  <a:gd name="T78" fmla="*/ 86 w 792"/>
                  <a:gd name="T79" fmla="*/ 1150 h 1152"/>
                  <a:gd name="T80" fmla="*/ 108 w 792"/>
                  <a:gd name="T81" fmla="*/ 1152 h 1152"/>
                  <a:gd name="T82" fmla="*/ 696 w 792"/>
                  <a:gd name="T83" fmla="*/ 1151 h 1152"/>
                  <a:gd name="T84" fmla="*/ 716 w 792"/>
                  <a:gd name="T85" fmla="*/ 1147 h 1152"/>
                  <a:gd name="T86" fmla="*/ 735 w 792"/>
                  <a:gd name="T87" fmla="*/ 1138 h 1152"/>
                  <a:gd name="T88" fmla="*/ 753 w 792"/>
                  <a:gd name="T89" fmla="*/ 1128 h 1152"/>
                  <a:gd name="T90" fmla="*/ 767 w 792"/>
                  <a:gd name="T91" fmla="*/ 1112 h 1152"/>
                  <a:gd name="T92" fmla="*/ 779 w 792"/>
                  <a:gd name="T93" fmla="*/ 1095 h 1152"/>
                  <a:gd name="T94" fmla="*/ 787 w 792"/>
                  <a:gd name="T95" fmla="*/ 1076 h 1152"/>
                  <a:gd name="T96" fmla="*/ 792 w 792"/>
                  <a:gd name="T97" fmla="*/ 1055 h 1152"/>
                  <a:gd name="T98" fmla="*/ 792 w 792"/>
                  <a:gd name="T99" fmla="*/ 108 h 1152"/>
                  <a:gd name="T100" fmla="*/ 789 w 792"/>
                  <a:gd name="T101" fmla="*/ 86 h 1152"/>
                  <a:gd name="T102" fmla="*/ 783 w 792"/>
                  <a:gd name="T103" fmla="*/ 66 h 1152"/>
                  <a:gd name="T104" fmla="*/ 773 w 792"/>
                  <a:gd name="T105" fmla="*/ 48 h 1152"/>
                  <a:gd name="T106" fmla="*/ 760 w 792"/>
                  <a:gd name="T107" fmla="*/ 31 h 1152"/>
                  <a:gd name="T108" fmla="*/ 744 w 792"/>
                  <a:gd name="T109" fmla="*/ 18 h 1152"/>
                  <a:gd name="T110" fmla="*/ 726 w 792"/>
                  <a:gd name="T111" fmla="*/ 9 h 1152"/>
                  <a:gd name="T112" fmla="*/ 705 w 792"/>
                  <a:gd name="T113" fmla="*/ 2 h 1152"/>
                  <a:gd name="T114" fmla="*/ 684 w 792"/>
                  <a:gd name="T115" fmla="*/ 0 h 11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792" h="1152">
                    <a:moveTo>
                      <a:pt x="720" y="180"/>
                    </a:moveTo>
                    <a:lnTo>
                      <a:pt x="72" y="180"/>
                    </a:lnTo>
                    <a:lnTo>
                      <a:pt x="72" y="108"/>
                    </a:lnTo>
                    <a:lnTo>
                      <a:pt x="72" y="100"/>
                    </a:lnTo>
                    <a:lnTo>
                      <a:pt x="74" y="94"/>
                    </a:lnTo>
                    <a:lnTo>
                      <a:pt x="78" y="87"/>
                    </a:lnTo>
                    <a:lnTo>
                      <a:pt x="82" y="82"/>
                    </a:lnTo>
                    <a:lnTo>
                      <a:pt x="87" y="78"/>
                    </a:lnTo>
                    <a:lnTo>
                      <a:pt x="94" y="75"/>
                    </a:lnTo>
                    <a:lnTo>
                      <a:pt x="100" y="72"/>
                    </a:lnTo>
                    <a:lnTo>
                      <a:pt x="108" y="72"/>
                    </a:lnTo>
                    <a:lnTo>
                      <a:pt x="684" y="72"/>
                    </a:lnTo>
                    <a:lnTo>
                      <a:pt x="691" y="72"/>
                    </a:lnTo>
                    <a:lnTo>
                      <a:pt x="698" y="75"/>
                    </a:lnTo>
                    <a:lnTo>
                      <a:pt x="704" y="78"/>
                    </a:lnTo>
                    <a:lnTo>
                      <a:pt x="710" y="82"/>
                    </a:lnTo>
                    <a:lnTo>
                      <a:pt x="714" y="87"/>
                    </a:lnTo>
                    <a:lnTo>
                      <a:pt x="717" y="94"/>
                    </a:lnTo>
                    <a:lnTo>
                      <a:pt x="719" y="100"/>
                    </a:lnTo>
                    <a:lnTo>
                      <a:pt x="720" y="108"/>
                    </a:lnTo>
                    <a:lnTo>
                      <a:pt x="720" y="180"/>
                    </a:lnTo>
                    <a:close/>
                    <a:moveTo>
                      <a:pt x="720" y="935"/>
                    </a:moveTo>
                    <a:lnTo>
                      <a:pt x="72" y="935"/>
                    </a:lnTo>
                    <a:lnTo>
                      <a:pt x="72" y="216"/>
                    </a:lnTo>
                    <a:lnTo>
                      <a:pt x="720" y="216"/>
                    </a:lnTo>
                    <a:lnTo>
                      <a:pt x="720" y="935"/>
                    </a:lnTo>
                    <a:close/>
                    <a:moveTo>
                      <a:pt x="720" y="1044"/>
                    </a:moveTo>
                    <a:lnTo>
                      <a:pt x="719" y="1051"/>
                    </a:lnTo>
                    <a:lnTo>
                      <a:pt x="717" y="1058"/>
                    </a:lnTo>
                    <a:lnTo>
                      <a:pt x="714" y="1064"/>
                    </a:lnTo>
                    <a:lnTo>
                      <a:pt x="710" y="1069"/>
                    </a:lnTo>
                    <a:lnTo>
                      <a:pt x="704" y="1074"/>
                    </a:lnTo>
                    <a:lnTo>
                      <a:pt x="698" y="1077"/>
                    </a:lnTo>
                    <a:lnTo>
                      <a:pt x="691" y="1079"/>
                    </a:lnTo>
                    <a:lnTo>
                      <a:pt x="684" y="1080"/>
                    </a:lnTo>
                    <a:lnTo>
                      <a:pt x="108" y="1080"/>
                    </a:lnTo>
                    <a:lnTo>
                      <a:pt x="100" y="1079"/>
                    </a:lnTo>
                    <a:lnTo>
                      <a:pt x="94" y="1077"/>
                    </a:lnTo>
                    <a:lnTo>
                      <a:pt x="87" y="1074"/>
                    </a:lnTo>
                    <a:lnTo>
                      <a:pt x="82" y="1069"/>
                    </a:lnTo>
                    <a:lnTo>
                      <a:pt x="78" y="1064"/>
                    </a:lnTo>
                    <a:lnTo>
                      <a:pt x="74" y="1058"/>
                    </a:lnTo>
                    <a:lnTo>
                      <a:pt x="72" y="1051"/>
                    </a:lnTo>
                    <a:lnTo>
                      <a:pt x="72" y="1044"/>
                    </a:lnTo>
                    <a:lnTo>
                      <a:pt x="72" y="972"/>
                    </a:lnTo>
                    <a:lnTo>
                      <a:pt x="720" y="972"/>
                    </a:lnTo>
                    <a:lnTo>
                      <a:pt x="720" y="1044"/>
                    </a:lnTo>
                    <a:close/>
                    <a:moveTo>
                      <a:pt x="684" y="0"/>
                    </a:moveTo>
                    <a:lnTo>
                      <a:pt x="108" y="0"/>
                    </a:lnTo>
                    <a:lnTo>
                      <a:pt x="97" y="0"/>
                    </a:lnTo>
                    <a:lnTo>
                      <a:pt x="86" y="2"/>
                    </a:lnTo>
                    <a:lnTo>
                      <a:pt x="76" y="4"/>
                    </a:lnTo>
                    <a:lnTo>
                      <a:pt x="66" y="9"/>
                    </a:lnTo>
                    <a:lnTo>
                      <a:pt x="56" y="13"/>
                    </a:lnTo>
                    <a:lnTo>
                      <a:pt x="47" y="18"/>
                    </a:lnTo>
                    <a:lnTo>
                      <a:pt x="39" y="25"/>
                    </a:lnTo>
                    <a:lnTo>
                      <a:pt x="31" y="31"/>
                    </a:lnTo>
                    <a:lnTo>
                      <a:pt x="25" y="39"/>
                    </a:lnTo>
                    <a:lnTo>
                      <a:pt x="18" y="48"/>
                    </a:lnTo>
                    <a:lnTo>
                      <a:pt x="13" y="56"/>
                    </a:lnTo>
                    <a:lnTo>
                      <a:pt x="9" y="66"/>
                    </a:lnTo>
                    <a:lnTo>
                      <a:pt x="5" y="76"/>
                    </a:lnTo>
                    <a:lnTo>
                      <a:pt x="2" y="86"/>
                    </a:lnTo>
                    <a:lnTo>
                      <a:pt x="1" y="97"/>
                    </a:lnTo>
                    <a:lnTo>
                      <a:pt x="0" y="108"/>
                    </a:lnTo>
                    <a:lnTo>
                      <a:pt x="0" y="1044"/>
                    </a:lnTo>
                    <a:lnTo>
                      <a:pt x="1" y="1055"/>
                    </a:lnTo>
                    <a:lnTo>
                      <a:pt x="2" y="1066"/>
                    </a:lnTo>
                    <a:lnTo>
                      <a:pt x="5" y="1076"/>
                    </a:lnTo>
                    <a:lnTo>
                      <a:pt x="9" y="1085"/>
                    </a:lnTo>
                    <a:lnTo>
                      <a:pt x="13" y="1095"/>
                    </a:lnTo>
                    <a:lnTo>
                      <a:pt x="18" y="1104"/>
                    </a:lnTo>
                    <a:lnTo>
                      <a:pt x="25" y="1112"/>
                    </a:lnTo>
                    <a:lnTo>
                      <a:pt x="31" y="1120"/>
                    </a:lnTo>
                    <a:lnTo>
                      <a:pt x="39" y="1128"/>
                    </a:lnTo>
                    <a:lnTo>
                      <a:pt x="47" y="1133"/>
                    </a:lnTo>
                    <a:lnTo>
                      <a:pt x="56" y="1139"/>
                    </a:lnTo>
                    <a:lnTo>
                      <a:pt x="66" y="1144"/>
                    </a:lnTo>
                    <a:lnTo>
                      <a:pt x="76" y="1147"/>
                    </a:lnTo>
                    <a:lnTo>
                      <a:pt x="86" y="1150"/>
                    </a:lnTo>
                    <a:lnTo>
                      <a:pt x="97" y="1151"/>
                    </a:lnTo>
                    <a:lnTo>
                      <a:pt x="108" y="1152"/>
                    </a:lnTo>
                    <a:lnTo>
                      <a:pt x="684" y="1152"/>
                    </a:lnTo>
                    <a:lnTo>
                      <a:pt x="696" y="1151"/>
                    </a:lnTo>
                    <a:lnTo>
                      <a:pt x="705" y="1150"/>
                    </a:lnTo>
                    <a:lnTo>
                      <a:pt x="716" y="1147"/>
                    </a:lnTo>
                    <a:lnTo>
                      <a:pt x="726" y="1144"/>
                    </a:lnTo>
                    <a:lnTo>
                      <a:pt x="735" y="1138"/>
                    </a:lnTo>
                    <a:lnTo>
                      <a:pt x="744" y="1133"/>
                    </a:lnTo>
                    <a:lnTo>
                      <a:pt x="753" y="1128"/>
                    </a:lnTo>
                    <a:lnTo>
                      <a:pt x="760" y="1120"/>
                    </a:lnTo>
                    <a:lnTo>
                      <a:pt x="767" y="1112"/>
                    </a:lnTo>
                    <a:lnTo>
                      <a:pt x="773" y="1104"/>
                    </a:lnTo>
                    <a:lnTo>
                      <a:pt x="779" y="1095"/>
                    </a:lnTo>
                    <a:lnTo>
                      <a:pt x="783" y="1085"/>
                    </a:lnTo>
                    <a:lnTo>
                      <a:pt x="787" y="1076"/>
                    </a:lnTo>
                    <a:lnTo>
                      <a:pt x="789" y="1066"/>
                    </a:lnTo>
                    <a:lnTo>
                      <a:pt x="792" y="1055"/>
                    </a:lnTo>
                    <a:lnTo>
                      <a:pt x="792" y="1044"/>
                    </a:lnTo>
                    <a:lnTo>
                      <a:pt x="792" y="108"/>
                    </a:lnTo>
                    <a:lnTo>
                      <a:pt x="792" y="97"/>
                    </a:lnTo>
                    <a:lnTo>
                      <a:pt x="789" y="86"/>
                    </a:lnTo>
                    <a:lnTo>
                      <a:pt x="787" y="76"/>
                    </a:lnTo>
                    <a:lnTo>
                      <a:pt x="783" y="66"/>
                    </a:lnTo>
                    <a:lnTo>
                      <a:pt x="779" y="56"/>
                    </a:lnTo>
                    <a:lnTo>
                      <a:pt x="773" y="48"/>
                    </a:lnTo>
                    <a:lnTo>
                      <a:pt x="767" y="39"/>
                    </a:lnTo>
                    <a:lnTo>
                      <a:pt x="760" y="31"/>
                    </a:lnTo>
                    <a:lnTo>
                      <a:pt x="753" y="25"/>
                    </a:lnTo>
                    <a:lnTo>
                      <a:pt x="744" y="18"/>
                    </a:lnTo>
                    <a:lnTo>
                      <a:pt x="735" y="13"/>
                    </a:lnTo>
                    <a:lnTo>
                      <a:pt x="726" y="9"/>
                    </a:lnTo>
                    <a:lnTo>
                      <a:pt x="716" y="4"/>
                    </a:lnTo>
                    <a:lnTo>
                      <a:pt x="705" y="2"/>
                    </a:lnTo>
                    <a:lnTo>
                      <a:pt x="696" y="0"/>
                    </a:lnTo>
                    <a:lnTo>
                      <a:pt x="684" y="0"/>
                    </a:ln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39" name="Freeform 99"/>
              <p:cNvSpPr/>
              <p:nvPr/>
            </p:nvSpPr>
            <p:spPr bwMode="auto">
              <a:xfrm>
                <a:off x="5677693" y="4625578"/>
                <a:ext cx="57150" cy="14288"/>
              </a:xfrm>
              <a:custGeom>
                <a:avLst/>
                <a:gdLst>
                  <a:gd name="T0" fmla="*/ 144 w 144"/>
                  <a:gd name="T1" fmla="*/ 18 h 36"/>
                  <a:gd name="T2" fmla="*/ 144 w 144"/>
                  <a:gd name="T3" fmla="*/ 22 h 36"/>
                  <a:gd name="T4" fmla="*/ 143 w 144"/>
                  <a:gd name="T5" fmla="*/ 25 h 36"/>
                  <a:gd name="T6" fmla="*/ 140 w 144"/>
                  <a:gd name="T7" fmla="*/ 28 h 36"/>
                  <a:gd name="T8" fmla="*/ 138 w 144"/>
                  <a:gd name="T9" fmla="*/ 30 h 36"/>
                  <a:gd name="T10" fmla="*/ 136 w 144"/>
                  <a:gd name="T11" fmla="*/ 32 h 36"/>
                  <a:gd name="T12" fmla="*/ 133 w 144"/>
                  <a:gd name="T13" fmla="*/ 35 h 36"/>
                  <a:gd name="T14" fmla="*/ 130 w 144"/>
                  <a:gd name="T15" fmla="*/ 36 h 36"/>
                  <a:gd name="T16" fmla="*/ 126 w 144"/>
                  <a:gd name="T17" fmla="*/ 36 h 36"/>
                  <a:gd name="T18" fmla="*/ 18 w 144"/>
                  <a:gd name="T19" fmla="*/ 36 h 36"/>
                  <a:gd name="T20" fmla="*/ 14 w 144"/>
                  <a:gd name="T21" fmla="*/ 36 h 36"/>
                  <a:gd name="T22" fmla="*/ 11 w 144"/>
                  <a:gd name="T23" fmla="*/ 35 h 36"/>
                  <a:gd name="T24" fmla="*/ 8 w 144"/>
                  <a:gd name="T25" fmla="*/ 32 h 36"/>
                  <a:gd name="T26" fmla="*/ 5 w 144"/>
                  <a:gd name="T27" fmla="*/ 30 h 36"/>
                  <a:gd name="T28" fmla="*/ 3 w 144"/>
                  <a:gd name="T29" fmla="*/ 28 h 36"/>
                  <a:gd name="T30" fmla="*/ 1 w 144"/>
                  <a:gd name="T31" fmla="*/ 25 h 36"/>
                  <a:gd name="T32" fmla="*/ 0 w 144"/>
                  <a:gd name="T33" fmla="*/ 22 h 36"/>
                  <a:gd name="T34" fmla="*/ 0 w 144"/>
                  <a:gd name="T35" fmla="*/ 18 h 36"/>
                  <a:gd name="T36" fmla="*/ 0 w 144"/>
                  <a:gd name="T37" fmla="*/ 14 h 36"/>
                  <a:gd name="T38" fmla="*/ 1 w 144"/>
                  <a:gd name="T39" fmla="*/ 11 h 36"/>
                  <a:gd name="T40" fmla="*/ 3 w 144"/>
                  <a:gd name="T41" fmla="*/ 8 h 36"/>
                  <a:gd name="T42" fmla="*/ 5 w 144"/>
                  <a:gd name="T43" fmla="*/ 5 h 36"/>
                  <a:gd name="T44" fmla="*/ 8 w 144"/>
                  <a:gd name="T45" fmla="*/ 3 h 36"/>
                  <a:gd name="T46" fmla="*/ 11 w 144"/>
                  <a:gd name="T47" fmla="*/ 1 h 36"/>
                  <a:gd name="T48" fmla="*/ 14 w 144"/>
                  <a:gd name="T49" fmla="*/ 0 h 36"/>
                  <a:gd name="T50" fmla="*/ 18 w 144"/>
                  <a:gd name="T51" fmla="*/ 0 h 36"/>
                  <a:gd name="T52" fmla="*/ 126 w 144"/>
                  <a:gd name="T53" fmla="*/ 0 h 36"/>
                  <a:gd name="T54" fmla="*/ 130 w 144"/>
                  <a:gd name="T55" fmla="*/ 0 h 36"/>
                  <a:gd name="T56" fmla="*/ 133 w 144"/>
                  <a:gd name="T57" fmla="*/ 1 h 36"/>
                  <a:gd name="T58" fmla="*/ 136 w 144"/>
                  <a:gd name="T59" fmla="*/ 3 h 36"/>
                  <a:gd name="T60" fmla="*/ 138 w 144"/>
                  <a:gd name="T61" fmla="*/ 5 h 36"/>
                  <a:gd name="T62" fmla="*/ 140 w 144"/>
                  <a:gd name="T63" fmla="*/ 8 h 36"/>
                  <a:gd name="T64" fmla="*/ 143 w 144"/>
                  <a:gd name="T65" fmla="*/ 11 h 36"/>
                  <a:gd name="T66" fmla="*/ 144 w 144"/>
                  <a:gd name="T67" fmla="*/ 14 h 36"/>
                  <a:gd name="T68" fmla="*/ 144 w 144"/>
                  <a:gd name="T69" fmla="*/ 18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44" h="36">
                    <a:moveTo>
                      <a:pt x="144" y="18"/>
                    </a:moveTo>
                    <a:lnTo>
                      <a:pt x="144" y="22"/>
                    </a:lnTo>
                    <a:lnTo>
                      <a:pt x="143" y="25"/>
                    </a:lnTo>
                    <a:lnTo>
                      <a:pt x="140" y="28"/>
                    </a:lnTo>
                    <a:lnTo>
                      <a:pt x="138" y="30"/>
                    </a:lnTo>
                    <a:lnTo>
                      <a:pt x="136" y="32"/>
                    </a:lnTo>
                    <a:lnTo>
                      <a:pt x="133" y="35"/>
                    </a:lnTo>
                    <a:lnTo>
                      <a:pt x="130" y="36"/>
                    </a:lnTo>
                    <a:lnTo>
                      <a:pt x="126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1" y="35"/>
                    </a:lnTo>
                    <a:lnTo>
                      <a:pt x="8" y="32"/>
                    </a:lnTo>
                    <a:lnTo>
                      <a:pt x="5" y="30"/>
                    </a:lnTo>
                    <a:lnTo>
                      <a:pt x="3" y="28"/>
                    </a:lnTo>
                    <a:lnTo>
                      <a:pt x="1" y="25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1" y="11"/>
                    </a:lnTo>
                    <a:lnTo>
                      <a:pt x="3" y="8"/>
                    </a:lnTo>
                    <a:lnTo>
                      <a:pt x="5" y="5"/>
                    </a:lnTo>
                    <a:lnTo>
                      <a:pt x="8" y="3"/>
                    </a:lnTo>
                    <a:lnTo>
                      <a:pt x="11" y="1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26" y="0"/>
                    </a:lnTo>
                    <a:lnTo>
                      <a:pt x="130" y="0"/>
                    </a:lnTo>
                    <a:lnTo>
                      <a:pt x="133" y="1"/>
                    </a:lnTo>
                    <a:lnTo>
                      <a:pt x="136" y="3"/>
                    </a:lnTo>
                    <a:lnTo>
                      <a:pt x="138" y="5"/>
                    </a:lnTo>
                    <a:lnTo>
                      <a:pt x="140" y="8"/>
                    </a:lnTo>
                    <a:lnTo>
                      <a:pt x="143" y="11"/>
                    </a:lnTo>
                    <a:lnTo>
                      <a:pt x="144" y="14"/>
                    </a:lnTo>
                    <a:lnTo>
                      <a:pt x="144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40" name="Freeform 100"/>
              <p:cNvSpPr/>
              <p:nvPr/>
            </p:nvSpPr>
            <p:spPr bwMode="auto">
              <a:xfrm>
                <a:off x="5691981" y="4982765"/>
                <a:ext cx="28575" cy="14288"/>
              </a:xfrm>
              <a:custGeom>
                <a:avLst/>
                <a:gdLst>
                  <a:gd name="T0" fmla="*/ 72 w 72"/>
                  <a:gd name="T1" fmla="*/ 18 h 35"/>
                  <a:gd name="T2" fmla="*/ 72 w 72"/>
                  <a:gd name="T3" fmla="*/ 21 h 35"/>
                  <a:gd name="T4" fmla="*/ 71 w 72"/>
                  <a:gd name="T5" fmla="*/ 24 h 35"/>
                  <a:gd name="T6" fmla="*/ 69 w 72"/>
                  <a:gd name="T7" fmla="*/ 28 h 35"/>
                  <a:gd name="T8" fmla="*/ 67 w 72"/>
                  <a:gd name="T9" fmla="*/ 31 h 35"/>
                  <a:gd name="T10" fmla="*/ 64 w 72"/>
                  <a:gd name="T11" fmla="*/ 33 h 35"/>
                  <a:gd name="T12" fmla="*/ 61 w 72"/>
                  <a:gd name="T13" fmla="*/ 34 h 35"/>
                  <a:gd name="T14" fmla="*/ 58 w 72"/>
                  <a:gd name="T15" fmla="*/ 35 h 35"/>
                  <a:gd name="T16" fmla="*/ 54 w 72"/>
                  <a:gd name="T17" fmla="*/ 35 h 35"/>
                  <a:gd name="T18" fmla="*/ 18 w 72"/>
                  <a:gd name="T19" fmla="*/ 35 h 35"/>
                  <a:gd name="T20" fmla="*/ 15 w 72"/>
                  <a:gd name="T21" fmla="*/ 35 h 35"/>
                  <a:gd name="T22" fmla="*/ 12 w 72"/>
                  <a:gd name="T23" fmla="*/ 34 h 35"/>
                  <a:gd name="T24" fmla="*/ 8 w 72"/>
                  <a:gd name="T25" fmla="*/ 33 h 35"/>
                  <a:gd name="T26" fmla="*/ 5 w 72"/>
                  <a:gd name="T27" fmla="*/ 31 h 35"/>
                  <a:gd name="T28" fmla="*/ 3 w 72"/>
                  <a:gd name="T29" fmla="*/ 28 h 35"/>
                  <a:gd name="T30" fmla="*/ 2 w 72"/>
                  <a:gd name="T31" fmla="*/ 24 h 35"/>
                  <a:gd name="T32" fmla="*/ 1 w 72"/>
                  <a:gd name="T33" fmla="*/ 21 h 35"/>
                  <a:gd name="T34" fmla="*/ 0 w 72"/>
                  <a:gd name="T35" fmla="*/ 18 h 35"/>
                  <a:gd name="T36" fmla="*/ 1 w 72"/>
                  <a:gd name="T37" fmla="*/ 14 h 35"/>
                  <a:gd name="T38" fmla="*/ 2 w 72"/>
                  <a:gd name="T39" fmla="*/ 10 h 35"/>
                  <a:gd name="T40" fmla="*/ 3 w 72"/>
                  <a:gd name="T41" fmla="*/ 7 h 35"/>
                  <a:gd name="T42" fmla="*/ 5 w 72"/>
                  <a:gd name="T43" fmla="*/ 5 h 35"/>
                  <a:gd name="T44" fmla="*/ 8 w 72"/>
                  <a:gd name="T45" fmla="*/ 3 h 35"/>
                  <a:gd name="T46" fmla="*/ 10 w 72"/>
                  <a:gd name="T47" fmla="*/ 1 h 35"/>
                  <a:gd name="T48" fmla="*/ 15 w 72"/>
                  <a:gd name="T49" fmla="*/ 0 h 35"/>
                  <a:gd name="T50" fmla="*/ 18 w 72"/>
                  <a:gd name="T51" fmla="*/ 0 h 35"/>
                  <a:gd name="T52" fmla="*/ 54 w 72"/>
                  <a:gd name="T53" fmla="*/ 0 h 35"/>
                  <a:gd name="T54" fmla="*/ 58 w 72"/>
                  <a:gd name="T55" fmla="*/ 0 h 35"/>
                  <a:gd name="T56" fmla="*/ 61 w 72"/>
                  <a:gd name="T57" fmla="*/ 1 h 35"/>
                  <a:gd name="T58" fmla="*/ 64 w 72"/>
                  <a:gd name="T59" fmla="*/ 3 h 35"/>
                  <a:gd name="T60" fmla="*/ 67 w 72"/>
                  <a:gd name="T61" fmla="*/ 5 h 35"/>
                  <a:gd name="T62" fmla="*/ 69 w 72"/>
                  <a:gd name="T63" fmla="*/ 7 h 35"/>
                  <a:gd name="T64" fmla="*/ 71 w 72"/>
                  <a:gd name="T65" fmla="*/ 10 h 35"/>
                  <a:gd name="T66" fmla="*/ 72 w 72"/>
                  <a:gd name="T67" fmla="*/ 14 h 35"/>
                  <a:gd name="T68" fmla="*/ 72 w 72"/>
                  <a:gd name="T69" fmla="*/ 18 h 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72" h="35">
                    <a:moveTo>
                      <a:pt x="72" y="18"/>
                    </a:moveTo>
                    <a:lnTo>
                      <a:pt x="72" y="21"/>
                    </a:lnTo>
                    <a:lnTo>
                      <a:pt x="71" y="24"/>
                    </a:lnTo>
                    <a:lnTo>
                      <a:pt x="69" y="28"/>
                    </a:lnTo>
                    <a:lnTo>
                      <a:pt x="67" y="31"/>
                    </a:lnTo>
                    <a:lnTo>
                      <a:pt x="64" y="33"/>
                    </a:lnTo>
                    <a:lnTo>
                      <a:pt x="61" y="34"/>
                    </a:lnTo>
                    <a:lnTo>
                      <a:pt x="58" y="35"/>
                    </a:lnTo>
                    <a:lnTo>
                      <a:pt x="54" y="35"/>
                    </a:lnTo>
                    <a:lnTo>
                      <a:pt x="18" y="35"/>
                    </a:lnTo>
                    <a:lnTo>
                      <a:pt x="15" y="35"/>
                    </a:lnTo>
                    <a:lnTo>
                      <a:pt x="12" y="34"/>
                    </a:lnTo>
                    <a:lnTo>
                      <a:pt x="8" y="33"/>
                    </a:lnTo>
                    <a:lnTo>
                      <a:pt x="5" y="31"/>
                    </a:lnTo>
                    <a:lnTo>
                      <a:pt x="3" y="28"/>
                    </a:lnTo>
                    <a:lnTo>
                      <a:pt x="2" y="24"/>
                    </a:lnTo>
                    <a:lnTo>
                      <a:pt x="1" y="21"/>
                    </a:lnTo>
                    <a:lnTo>
                      <a:pt x="0" y="18"/>
                    </a:lnTo>
                    <a:lnTo>
                      <a:pt x="1" y="14"/>
                    </a:lnTo>
                    <a:lnTo>
                      <a:pt x="2" y="10"/>
                    </a:lnTo>
                    <a:lnTo>
                      <a:pt x="3" y="7"/>
                    </a:lnTo>
                    <a:lnTo>
                      <a:pt x="5" y="5"/>
                    </a:lnTo>
                    <a:lnTo>
                      <a:pt x="8" y="3"/>
                    </a:lnTo>
                    <a:lnTo>
                      <a:pt x="10" y="1"/>
                    </a:lnTo>
                    <a:lnTo>
                      <a:pt x="15" y="0"/>
                    </a:lnTo>
                    <a:lnTo>
                      <a:pt x="18" y="0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61" y="1"/>
                    </a:lnTo>
                    <a:lnTo>
                      <a:pt x="64" y="3"/>
                    </a:lnTo>
                    <a:lnTo>
                      <a:pt x="67" y="5"/>
                    </a:lnTo>
                    <a:lnTo>
                      <a:pt x="69" y="7"/>
                    </a:lnTo>
                    <a:lnTo>
                      <a:pt x="71" y="10"/>
                    </a:lnTo>
                    <a:lnTo>
                      <a:pt x="72" y="14"/>
                    </a:lnTo>
                    <a:lnTo>
                      <a:pt x="72" y="1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</p:grpSp>
      <p:grpSp>
        <p:nvGrpSpPr>
          <p:cNvPr id="60" name="组合 59"/>
          <p:cNvGrpSpPr/>
          <p:nvPr/>
        </p:nvGrpSpPr>
        <p:grpSpPr>
          <a:xfrm>
            <a:off x="915906" y="3960760"/>
            <a:ext cx="1197600" cy="1153910"/>
            <a:chOff x="915906" y="3960760"/>
            <a:chExt cx="1197600" cy="1153910"/>
          </a:xfrm>
        </p:grpSpPr>
        <p:grpSp>
          <p:nvGrpSpPr>
            <p:cNvPr id="21" name="Group 369"/>
            <p:cNvGrpSpPr/>
            <p:nvPr/>
          </p:nvGrpSpPr>
          <p:grpSpPr>
            <a:xfrm>
              <a:off x="915906" y="3960760"/>
              <a:ext cx="1197600" cy="1153910"/>
              <a:chOff x="785422" y="1990454"/>
              <a:chExt cx="1250743" cy="1205114"/>
            </a:xfrm>
          </p:grpSpPr>
          <p:sp>
            <p:nvSpPr>
              <p:cNvPr id="22" name="Oval 371"/>
              <p:cNvSpPr/>
              <p:nvPr/>
            </p:nvSpPr>
            <p:spPr>
              <a:xfrm rot="5400000">
                <a:off x="785422" y="1990454"/>
                <a:ext cx="1205114" cy="1205114"/>
              </a:xfrm>
              <a:prstGeom prst="ellipse">
                <a:avLst/>
              </a:prstGeom>
              <a:solidFill>
                <a:schemeClr val="lt1">
                  <a:lumMod val="65000"/>
                  <a:alpha val="4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24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23" name="Freeform 372"/>
              <p:cNvSpPr/>
              <p:nvPr/>
            </p:nvSpPr>
            <p:spPr>
              <a:xfrm rot="5400000">
                <a:off x="955207" y="2018873"/>
                <a:ext cx="1013641" cy="1148274"/>
              </a:xfrm>
              <a:custGeom>
                <a:avLst/>
                <a:gdLst>
                  <a:gd name="connsiteX0" fmla="*/ 0 w 1115005"/>
                  <a:gd name="connsiteY0" fmla="*/ 705599 h 1263101"/>
                  <a:gd name="connsiteX1" fmla="*/ 445146 w 1115005"/>
                  <a:gd name="connsiteY1" fmla="*/ 159423 h 1263101"/>
                  <a:gd name="connsiteX2" fmla="*/ 466271 w 1115005"/>
                  <a:gd name="connsiteY2" fmla="*/ 157293 h 1263101"/>
                  <a:gd name="connsiteX3" fmla="*/ 557501 w 1115005"/>
                  <a:gd name="connsiteY3" fmla="*/ 0 h 1263101"/>
                  <a:gd name="connsiteX4" fmla="*/ 648732 w 1115005"/>
                  <a:gd name="connsiteY4" fmla="*/ 157293 h 1263101"/>
                  <a:gd name="connsiteX5" fmla="*/ 669859 w 1115005"/>
                  <a:gd name="connsiteY5" fmla="*/ 159423 h 1263101"/>
                  <a:gd name="connsiteX6" fmla="*/ 1115005 w 1115005"/>
                  <a:gd name="connsiteY6" fmla="*/ 705599 h 1263101"/>
                  <a:gd name="connsiteX7" fmla="*/ 557503 w 1115005"/>
                  <a:gd name="connsiteY7" fmla="*/ 1263101 h 1263101"/>
                  <a:gd name="connsiteX8" fmla="*/ 0 w 1115005"/>
                  <a:gd name="connsiteY8" fmla="*/ 705599 h 126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5005" h="1263101">
                    <a:moveTo>
                      <a:pt x="0" y="705599"/>
                    </a:moveTo>
                    <a:cubicBezTo>
                      <a:pt x="0" y="436186"/>
                      <a:pt x="191102" y="211408"/>
                      <a:pt x="445146" y="159423"/>
                    </a:cubicBezTo>
                    <a:lnTo>
                      <a:pt x="466271" y="157293"/>
                    </a:lnTo>
                    <a:lnTo>
                      <a:pt x="557501" y="0"/>
                    </a:lnTo>
                    <a:lnTo>
                      <a:pt x="648732" y="157293"/>
                    </a:lnTo>
                    <a:lnTo>
                      <a:pt x="669859" y="159423"/>
                    </a:lnTo>
                    <a:cubicBezTo>
                      <a:pt x="923903" y="211408"/>
                      <a:pt x="1115005" y="436186"/>
                      <a:pt x="1115005" y="705599"/>
                    </a:cubicBezTo>
                    <a:cubicBezTo>
                      <a:pt x="1115005" y="1013499"/>
                      <a:pt x="865403" y="1263101"/>
                      <a:pt x="557503" y="1263101"/>
                    </a:cubicBezTo>
                    <a:cubicBezTo>
                      <a:pt x="249603" y="1263101"/>
                      <a:pt x="0" y="1013499"/>
                      <a:pt x="0" y="70559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defTabSz="1828800" rtl="0"/>
                <a:endParaRPr lang="en-US" sz="3200" kern="1200" dirty="0">
                  <a:solidFill>
                    <a:prstClr val="white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  <p:sp>
          <p:nvSpPr>
            <p:cNvPr id="41" name="Freeform 101"/>
            <p:cNvSpPr>
              <a:spLocks noEditPoints="1"/>
            </p:cNvSpPr>
            <p:nvPr/>
          </p:nvSpPr>
          <p:spPr bwMode="auto">
            <a:xfrm>
              <a:off x="1281166" y="4318001"/>
              <a:ext cx="421357" cy="481551"/>
            </a:xfrm>
            <a:custGeom>
              <a:avLst/>
              <a:gdLst>
                <a:gd name="T0" fmla="*/ 72 w 1008"/>
                <a:gd name="T1" fmla="*/ 252 h 1152"/>
                <a:gd name="T2" fmla="*/ 816 w 1008"/>
                <a:gd name="T3" fmla="*/ 540 h 1152"/>
                <a:gd name="T4" fmla="*/ 828 w 1008"/>
                <a:gd name="T5" fmla="*/ 432 h 1152"/>
                <a:gd name="T6" fmla="*/ 236 w 1008"/>
                <a:gd name="T7" fmla="*/ 936 h 1152"/>
                <a:gd name="T8" fmla="*/ 771 w 1008"/>
                <a:gd name="T9" fmla="*/ 936 h 1152"/>
                <a:gd name="T10" fmla="*/ 768 w 1008"/>
                <a:gd name="T11" fmla="*/ 972 h 1152"/>
                <a:gd name="T12" fmla="*/ 180 w 1008"/>
                <a:gd name="T13" fmla="*/ 72 h 1152"/>
                <a:gd name="T14" fmla="*/ 144 w 1008"/>
                <a:gd name="T15" fmla="*/ 180 h 1152"/>
                <a:gd name="T16" fmla="*/ 897 w 1008"/>
                <a:gd name="T17" fmla="*/ 49 h 1152"/>
                <a:gd name="T18" fmla="*/ 878 w 1008"/>
                <a:gd name="T19" fmla="*/ 21 h 1152"/>
                <a:gd name="T20" fmla="*/ 850 w 1008"/>
                <a:gd name="T21" fmla="*/ 3 h 1152"/>
                <a:gd name="T22" fmla="*/ 180 w 1008"/>
                <a:gd name="T23" fmla="*/ 0 h 1152"/>
                <a:gd name="T24" fmla="*/ 147 w 1008"/>
                <a:gd name="T25" fmla="*/ 8 h 1152"/>
                <a:gd name="T26" fmla="*/ 122 w 1008"/>
                <a:gd name="T27" fmla="*/ 29 h 1152"/>
                <a:gd name="T28" fmla="*/ 67 w 1008"/>
                <a:gd name="T29" fmla="*/ 180 h 1152"/>
                <a:gd name="T30" fmla="*/ 48 w 1008"/>
                <a:gd name="T31" fmla="*/ 185 h 1152"/>
                <a:gd name="T32" fmla="*/ 29 w 1008"/>
                <a:gd name="T33" fmla="*/ 194 h 1152"/>
                <a:gd name="T34" fmla="*/ 15 w 1008"/>
                <a:gd name="T35" fmla="*/ 207 h 1152"/>
                <a:gd name="T36" fmla="*/ 6 w 1008"/>
                <a:gd name="T37" fmla="*/ 225 h 1152"/>
                <a:gd name="T38" fmla="*/ 0 w 1008"/>
                <a:gd name="T39" fmla="*/ 245 h 1152"/>
                <a:gd name="T40" fmla="*/ 0 w 1008"/>
                <a:gd name="T41" fmla="*/ 367 h 1152"/>
                <a:gd name="T42" fmla="*/ 6 w 1008"/>
                <a:gd name="T43" fmla="*/ 388 h 1152"/>
                <a:gd name="T44" fmla="*/ 16 w 1008"/>
                <a:gd name="T45" fmla="*/ 406 h 1152"/>
                <a:gd name="T46" fmla="*/ 32 w 1008"/>
                <a:gd name="T47" fmla="*/ 419 h 1152"/>
                <a:gd name="T48" fmla="*/ 51 w 1008"/>
                <a:gd name="T49" fmla="*/ 429 h 1152"/>
                <a:gd name="T50" fmla="*/ 72 w 1008"/>
                <a:gd name="T51" fmla="*/ 432 h 1152"/>
                <a:gd name="T52" fmla="*/ 108 w 1008"/>
                <a:gd name="T53" fmla="*/ 440 h 1152"/>
                <a:gd name="T54" fmla="*/ 183 w 1008"/>
                <a:gd name="T55" fmla="*/ 1101 h 1152"/>
                <a:gd name="T56" fmla="*/ 191 w 1008"/>
                <a:gd name="T57" fmla="*/ 1119 h 1152"/>
                <a:gd name="T58" fmla="*/ 204 w 1008"/>
                <a:gd name="T59" fmla="*/ 1134 h 1152"/>
                <a:gd name="T60" fmla="*/ 220 w 1008"/>
                <a:gd name="T61" fmla="*/ 1145 h 1152"/>
                <a:gd name="T62" fmla="*/ 239 w 1008"/>
                <a:gd name="T63" fmla="*/ 1150 h 1152"/>
                <a:gd name="T64" fmla="*/ 756 w 1008"/>
                <a:gd name="T65" fmla="*/ 1152 h 1152"/>
                <a:gd name="T66" fmla="*/ 776 w 1008"/>
                <a:gd name="T67" fmla="*/ 1149 h 1152"/>
                <a:gd name="T68" fmla="*/ 794 w 1008"/>
                <a:gd name="T69" fmla="*/ 1142 h 1152"/>
                <a:gd name="T70" fmla="*/ 808 w 1008"/>
                <a:gd name="T71" fmla="*/ 1129 h 1152"/>
                <a:gd name="T72" fmla="*/ 820 w 1008"/>
                <a:gd name="T73" fmla="*/ 1113 h 1152"/>
                <a:gd name="T74" fmla="*/ 826 w 1008"/>
                <a:gd name="T75" fmla="*/ 1094 h 1152"/>
                <a:gd name="T76" fmla="*/ 899 w 1008"/>
                <a:gd name="T77" fmla="*/ 436 h 1152"/>
                <a:gd name="T78" fmla="*/ 943 w 1008"/>
                <a:gd name="T79" fmla="*/ 432 h 1152"/>
                <a:gd name="T80" fmla="*/ 964 w 1008"/>
                <a:gd name="T81" fmla="*/ 427 h 1152"/>
                <a:gd name="T82" fmla="*/ 982 w 1008"/>
                <a:gd name="T83" fmla="*/ 416 h 1152"/>
                <a:gd name="T84" fmla="*/ 996 w 1008"/>
                <a:gd name="T85" fmla="*/ 400 h 1152"/>
                <a:gd name="T86" fmla="*/ 1005 w 1008"/>
                <a:gd name="T87" fmla="*/ 381 h 1152"/>
                <a:gd name="T88" fmla="*/ 1008 w 1008"/>
                <a:gd name="T89" fmla="*/ 360 h 1152"/>
                <a:gd name="T90" fmla="*/ 1007 w 1008"/>
                <a:gd name="T91" fmla="*/ 238 h 1152"/>
                <a:gd name="T92" fmla="*/ 999 w 1008"/>
                <a:gd name="T93" fmla="*/ 219 h 1152"/>
                <a:gd name="T94" fmla="*/ 988 w 1008"/>
                <a:gd name="T95" fmla="*/ 203 h 1152"/>
                <a:gd name="T96" fmla="*/ 972 w 1008"/>
                <a:gd name="T97" fmla="*/ 190 h 1152"/>
                <a:gd name="T98" fmla="*/ 954 w 1008"/>
                <a:gd name="T99" fmla="*/ 183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08" h="1152">
                  <a:moveTo>
                    <a:pt x="936" y="360"/>
                  </a:moveTo>
                  <a:lnTo>
                    <a:pt x="72" y="360"/>
                  </a:lnTo>
                  <a:lnTo>
                    <a:pt x="72" y="252"/>
                  </a:lnTo>
                  <a:lnTo>
                    <a:pt x="936" y="252"/>
                  </a:lnTo>
                  <a:lnTo>
                    <a:pt x="936" y="360"/>
                  </a:lnTo>
                  <a:close/>
                  <a:moveTo>
                    <a:pt x="816" y="540"/>
                  </a:moveTo>
                  <a:lnTo>
                    <a:pt x="191" y="540"/>
                  </a:lnTo>
                  <a:lnTo>
                    <a:pt x="180" y="432"/>
                  </a:lnTo>
                  <a:lnTo>
                    <a:pt x="828" y="432"/>
                  </a:lnTo>
                  <a:lnTo>
                    <a:pt x="816" y="540"/>
                  </a:lnTo>
                  <a:close/>
                  <a:moveTo>
                    <a:pt x="771" y="936"/>
                  </a:moveTo>
                  <a:lnTo>
                    <a:pt x="236" y="936"/>
                  </a:lnTo>
                  <a:lnTo>
                    <a:pt x="196" y="576"/>
                  </a:lnTo>
                  <a:lnTo>
                    <a:pt x="812" y="576"/>
                  </a:lnTo>
                  <a:lnTo>
                    <a:pt x="771" y="936"/>
                  </a:lnTo>
                  <a:close/>
                  <a:moveTo>
                    <a:pt x="252" y="1080"/>
                  </a:moveTo>
                  <a:lnTo>
                    <a:pt x="240" y="972"/>
                  </a:lnTo>
                  <a:lnTo>
                    <a:pt x="768" y="972"/>
                  </a:lnTo>
                  <a:lnTo>
                    <a:pt x="756" y="1080"/>
                  </a:lnTo>
                  <a:lnTo>
                    <a:pt x="252" y="1080"/>
                  </a:lnTo>
                  <a:close/>
                  <a:moveTo>
                    <a:pt x="180" y="72"/>
                  </a:moveTo>
                  <a:lnTo>
                    <a:pt x="828" y="72"/>
                  </a:lnTo>
                  <a:lnTo>
                    <a:pt x="864" y="180"/>
                  </a:lnTo>
                  <a:lnTo>
                    <a:pt x="144" y="180"/>
                  </a:lnTo>
                  <a:lnTo>
                    <a:pt x="180" y="72"/>
                  </a:lnTo>
                  <a:close/>
                  <a:moveTo>
                    <a:pt x="940" y="180"/>
                  </a:moveTo>
                  <a:lnTo>
                    <a:pt x="897" y="49"/>
                  </a:lnTo>
                  <a:lnTo>
                    <a:pt x="891" y="39"/>
                  </a:lnTo>
                  <a:lnTo>
                    <a:pt x="886" y="29"/>
                  </a:lnTo>
                  <a:lnTo>
                    <a:pt x="878" y="21"/>
                  </a:lnTo>
                  <a:lnTo>
                    <a:pt x="870" y="13"/>
                  </a:lnTo>
                  <a:lnTo>
                    <a:pt x="861" y="8"/>
                  </a:lnTo>
                  <a:lnTo>
                    <a:pt x="850" y="3"/>
                  </a:lnTo>
                  <a:lnTo>
                    <a:pt x="839" y="1"/>
                  </a:lnTo>
                  <a:lnTo>
                    <a:pt x="828" y="0"/>
                  </a:lnTo>
                  <a:lnTo>
                    <a:pt x="180" y="0"/>
                  </a:lnTo>
                  <a:lnTo>
                    <a:pt x="169" y="1"/>
                  </a:lnTo>
                  <a:lnTo>
                    <a:pt x="158" y="3"/>
                  </a:lnTo>
                  <a:lnTo>
                    <a:pt x="147" y="8"/>
                  </a:lnTo>
                  <a:lnTo>
                    <a:pt x="137" y="13"/>
                  </a:lnTo>
                  <a:lnTo>
                    <a:pt x="130" y="21"/>
                  </a:lnTo>
                  <a:lnTo>
                    <a:pt x="122" y="29"/>
                  </a:lnTo>
                  <a:lnTo>
                    <a:pt x="116" y="39"/>
                  </a:lnTo>
                  <a:lnTo>
                    <a:pt x="112" y="49"/>
                  </a:lnTo>
                  <a:lnTo>
                    <a:pt x="67" y="180"/>
                  </a:lnTo>
                  <a:lnTo>
                    <a:pt x="61" y="181"/>
                  </a:lnTo>
                  <a:lnTo>
                    <a:pt x="54" y="183"/>
                  </a:lnTo>
                  <a:lnTo>
                    <a:pt x="48" y="185"/>
                  </a:lnTo>
                  <a:lnTo>
                    <a:pt x="41" y="188"/>
                  </a:lnTo>
                  <a:lnTo>
                    <a:pt x="35" y="191"/>
                  </a:lnTo>
                  <a:lnTo>
                    <a:pt x="29" y="194"/>
                  </a:lnTo>
                  <a:lnTo>
                    <a:pt x="24" y="199"/>
                  </a:lnTo>
                  <a:lnTo>
                    <a:pt x="20" y="203"/>
                  </a:lnTo>
                  <a:lnTo>
                    <a:pt x="15" y="207"/>
                  </a:lnTo>
                  <a:lnTo>
                    <a:pt x="11" y="213"/>
                  </a:lnTo>
                  <a:lnTo>
                    <a:pt x="8" y="219"/>
                  </a:lnTo>
                  <a:lnTo>
                    <a:pt x="6" y="225"/>
                  </a:lnTo>
                  <a:lnTo>
                    <a:pt x="4" y="231"/>
                  </a:lnTo>
                  <a:lnTo>
                    <a:pt x="1" y="238"/>
                  </a:lnTo>
                  <a:lnTo>
                    <a:pt x="0" y="245"/>
                  </a:lnTo>
                  <a:lnTo>
                    <a:pt x="0" y="252"/>
                  </a:lnTo>
                  <a:lnTo>
                    <a:pt x="0" y="360"/>
                  </a:lnTo>
                  <a:lnTo>
                    <a:pt x="0" y="367"/>
                  </a:lnTo>
                  <a:lnTo>
                    <a:pt x="1" y="375"/>
                  </a:lnTo>
                  <a:lnTo>
                    <a:pt x="4" y="381"/>
                  </a:lnTo>
                  <a:lnTo>
                    <a:pt x="6" y="388"/>
                  </a:lnTo>
                  <a:lnTo>
                    <a:pt x="9" y="394"/>
                  </a:lnTo>
                  <a:lnTo>
                    <a:pt x="12" y="400"/>
                  </a:lnTo>
                  <a:lnTo>
                    <a:pt x="16" y="406"/>
                  </a:lnTo>
                  <a:lnTo>
                    <a:pt x="21" y="410"/>
                  </a:lnTo>
                  <a:lnTo>
                    <a:pt x="26" y="416"/>
                  </a:lnTo>
                  <a:lnTo>
                    <a:pt x="32" y="419"/>
                  </a:lnTo>
                  <a:lnTo>
                    <a:pt x="38" y="423"/>
                  </a:lnTo>
                  <a:lnTo>
                    <a:pt x="43" y="427"/>
                  </a:lnTo>
                  <a:lnTo>
                    <a:pt x="51" y="429"/>
                  </a:lnTo>
                  <a:lnTo>
                    <a:pt x="58" y="431"/>
                  </a:lnTo>
                  <a:lnTo>
                    <a:pt x="65" y="432"/>
                  </a:lnTo>
                  <a:lnTo>
                    <a:pt x="72" y="432"/>
                  </a:lnTo>
                  <a:lnTo>
                    <a:pt x="109" y="432"/>
                  </a:lnTo>
                  <a:lnTo>
                    <a:pt x="108" y="436"/>
                  </a:lnTo>
                  <a:lnTo>
                    <a:pt x="108" y="440"/>
                  </a:lnTo>
                  <a:lnTo>
                    <a:pt x="181" y="1088"/>
                  </a:lnTo>
                  <a:lnTo>
                    <a:pt x="182" y="1094"/>
                  </a:lnTo>
                  <a:lnTo>
                    <a:pt x="183" y="1101"/>
                  </a:lnTo>
                  <a:lnTo>
                    <a:pt x="185" y="1107"/>
                  </a:lnTo>
                  <a:lnTo>
                    <a:pt x="188" y="1113"/>
                  </a:lnTo>
                  <a:lnTo>
                    <a:pt x="191" y="1119"/>
                  </a:lnTo>
                  <a:lnTo>
                    <a:pt x="195" y="1124"/>
                  </a:lnTo>
                  <a:lnTo>
                    <a:pt x="199" y="1129"/>
                  </a:lnTo>
                  <a:lnTo>
                    <a:pt x="204" y="1134"/>
                  </a:lnTo>
                  <a:lnTo>
                    <a:pt x="209" y="1137"/>
                  </a:lnTo>
                  <a:lnTo>
                    <a:pt x="214" y="1142"/>
                  </a:lnTo>
                  <a:lnTo>
                    <a:pt x="220" y="1145"/>
                  </a:lnTo>
                  <a:lnTo>
                    <a:pt x="226" y="1147"/>
                  </a:lnTo>
                  <a:lnTo>
                    <a:pt x="232" y="1149"/>
                  </a:lnTo>
                  <a:lnTo>
                    <a:pt x="239" y="1150"/>
                  </a:lnTo>
                  <a:lnTo>
                    <a:pt x="245" y="1151"/>
                  </a:lnTo>
                  <a:lnTo>
                    <a:pt x="252" y="1152"/>
                  </a:lnTo>
                  <a:lnTo>
                    <a:pt x="756" y="1152"/>
                  </a:lnTo>
                  <a:lnTo>
                    <a:pt x="763" y="1151"/>
                  </a:lnTo>
                  <a:lnTo>
                    <a:pt x="769" y="1150"/>
                  </a:lnTo>
                  <a:lnTo>
                    <a:pt x="776" y="1149"/>
                  </a:lnTo>
                  <a:lnTo>
                    <a:pt x="782" y="1147"/>
                  </a:lnTo>
                  <a:lnTo>
                    <a:pt x="788" y="1145"/>
                  </a:lnTo>
                  <a:lnTo>
                    <a:pt x="794" y="1142"/>
                  </a:lnTo>
                  <a:lnTo>
                    <a:pt x="799" y="1137"/>
                  </a:lnTo>
                  <a:lnTo>
                    <a:pt x="804" y="1134"/>
                  </a:lnTo>
                  <a:lnTo>
                    <a:pt x="808" y="1129"/>
                  </a:lnTo>
                  <a:lnTo>
                    <a:pt x="812" y="1124"/>
                  </a:lnTo>
                  <a:lnTo>
                    <a:pt x="817" y="1119"/>
                  </a:lnTo>
                  <a:lnTo>
                    <a:pt x="820" y="1113"/>
                  </a:lnTo>
                  <a:lnTo>
                    <a:pt x="822" y="1107"/>
                  </a:lnTo>
                  <a:lnTo>
                    <a:pt x="824" y="1101"/>
                  </a:lnTo>
                  <a:lnTo>
                    <a:pt x="826" y="1094"/>
                  </a:lnTo>
                  <a:lnTo>
                    <a:pt x="828" y="1088"/>
                  </a:lnTo>
                  <a:lnTo>
                    <a:pt x="900" y="440"/>
                  </a:lnTo>
                  <a:lnTo>
                    <a:pt x="899" y="436"/>
                  </a:lnTo>
                  <a:lnTo>
                    <a:pt x="899" y="432"/>
                  </a:lnTo>
                  <a:lnTo>
                    <a:pt x="936" y="432"/>
                  </a:lnTo>
                  <a:lnTo>
                    <a:pt x="943" y="432"/>
                  </a:lnTo>
                  <a:lnTo>
                    <a:pt x="951" y="431"/>
                  </a:lnTo>
                  <a:lnTo>
                    <a:pt x="957" y="429"/>
                  </a:lnTo>
                  <a:lnTo>
                    <a:pt x="964" y="427"/>
                  </a:lnTo>
                  <a:lnTo>
                    <a:pt x="970" y="423"/>
                  </a:lnTo>
                  <a:lnTo>
                    <a:pt x="977" y="419"/>
                  </a:lnTo>
                  <a:lnTo>
                    <a:pt x="982" y="416"/>
                  </a:lnTo>
                  <a:lnTo>
                    <a:pt x="987" y="410"/>
                  </a:lnTo>
                  <a:lnTo>
                    <a:pt x="992" y="406"/>
                  </a:lnTo>
                  <a:lnTo>
                    <a:pt x="996" y="400"/>
                  </a:lnTo>
                  <a:lnTo>
                    <a:pt x="999" y="394"/>
                  </a:lnTo>
                  <a:lnTo>
                    <a:pt x="1003" y="388"/>
                  </a:lnTo>
                  <a:lnTo>
                    <a:pt x="1005" y="381"/>
                  </a:lnTo>
                  <a:lnTo>
                    <a:pt x="1007" y="375"/>
                  </a:lnTo>
                  <a:lnTo>
                    <a:pt x="1008" y="367"/>
                  </a:lnTo>
                  <a:lnTo>
                    <a:pt x="1008" y="360"/>
                  </a:lnTo>
                  <a:lnTo>
                    <a:pt x="1008" y="252"/>
                  </a:lnTo>
                  <a:lnTo>
                    <a:pt x="1008" y="245"/>
                  </a:lnTo>
                  <a:lnTo>
                    <a:pt x="1007" y="238"/>
                  </a:lnTo>
                  <a:lnTo>
                    <a:pt x="1005" y="231"/>
                  </a:lnTo>
                  <a:lnTo>
                    <a:pt x="1003" y="225"/>
                  </a:lnTo>
                  <a:lnTo>
                    <a:pt x="999" y="219"/>
                  </a:lnTo>
                  <a:lnTo>
                    <a:pt x="996" y="213"/>
                  </a:lnTo>
                  <a:lnTo>
                    <a:pt x="993" y="207"/>
                  </a:lnTo>
                  <a:lnTo>
                    <a:pt x="988" y="203"/>
                  </a:lnTo>
                  <a:lnTo>
                    <a:pt x="983" y="199"/>
                  </a:lnTo>
                  <a:lnTo>
                    <a:pt x="978" y="194"/>
                  </a:lnTo>
                  <a:lnTo>
                    <a:pt x="972" y="190"/>
                  </a:lnTo>
                  <a:lnTo>
                    <a:pt x="967" y="187"/>
                  </a:lnTo>
                  <a:lnTo>
                    <a:pt x="960" y="185"/>
                  </a:lnTo>
                  <a:lnTo>
                    <a:pt x="954" y="183"/>
                  </a:lnTo>
                  <a:lnTo>
                    <a:pt x="947" y="181"/>
                  </a:lnTo>
                  <a:lnTo>
                    <a:pt x="940" y="180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62" name="组合 61"/>
          <p:cNvGrpSpPr/>
          <p:nvPr/>
        </p:nvGrpSpPr>
        <p:grpSpPr>
          <a:xfrm>
            <a:off x="915906" y="1997981"/>
            <a:ext cx="1197600" cy="1153910"/>
            <a:chOff x="915906" y="1997981"/>
            <a:chExt cx="1197600" cy="1153910"/>
          </a:xfrm>
        </p:grpSpPr>
        <p:grpSp>
          <p:nvGrpSpPr>
            <p:cNvPr id="15" name="Group 364"/>
            <p:cNvGrpSpPr/>
            <p:nvPr/>
          </p:nvGrpSpPr>
          <p:grpSpPr>
            <a:xfrm>
              <a:off x="915906" y="1997981"/>
              <a:ext cx="1197600" cy="1153910"/>
              <a:chOff x="785422" y="1990454"/>
              <a:chExt cx="1250743" cy="1205114"/>
            </a:xfrm>
          </p:grpSpPr>
          <p:sp>
            <p:nvSpPr>
              <p:cNvPr id="16" name="Oval 210"/>
              <p:cNvSpPr/>
              <p:nvPr/>
            </p:nvSpPr>
            <p:spPr>
              <a:xfrm rot="5400000">
                <a:off x="785422" y="1990454"/>
                <a:ext cx="1205114" cy="1205114"/>
              </a:xfrm>
              <a:prstGeom prst="ellipse">
                <a:avLst/>
              </a:prstGeom>
              <a:solidFill>
                <a:schemeClr val="lt1">
                  <a:lumMod val="65000"/>
                  <a:alpha val="40000"/>
                </a:schemeClr>
              </a:solidFill>
              <a:ln>
                <a:noFill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24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17" name="Freeform 363"/>
              <p:cNvSpPr/>
              <p:nvPr/>
            </p:nvSpPr>
            <p:spPr>
              <a:xfrm rot="5400000">
                <a:off x="955207" y="2018873"/>
                <a:ext cx="1013641" cy="1148274"/>
              </a:xfrm>
              <a:custGeom>
                <a:avLst/>
                <a:gdLst>
                  <a:gd name="connsiteX0" fmla="*/ 0 w 1115005"/>
                  <a:gd name="connsiteY0" fmla="*/ 705599 h 1263101"/>
                  <a:gd name="connsiteX1" fmla="*/ 445146 w 1115005"/>
                  <a:gd name="connsiteY1" fmla="*/ 159423 h 1263101"/>
                  <a:gd name="connsiteX2" fmla="*/ 466271 w 1115005"/>
                  <a:gd name="connsiteY2" fmla="*/ 157293 h 1263101"/>
                  <a:gd name="connsiteX3" fmla="*/ 557501 w 1115005"/>
                  <a:gd name="connsiteY3" fmla="*/ 0 h 1263101"/>
                  <a:gd name="connsiteX4" fmla="*/ 648732 w 1115005"/>
                  <a:gd name="connsiteY4" fmla="*/ 157293 h 1263101"/>
                  <a:gd name="connsiteX5" fmla="*/ 669859 w 1115005"/>
                  <a:gd name="connsiteY5" fmla="*/ 159423 h 1263101"/>
                  <a:gd name="connsiteX6" fmla="*/ 1115005 w 1115005"/>
                  <a:gd name="connsiteY6" fmla="*/ 705599 h 1263101"/>
                  <a:gd name="connsiteX7" fmla="*/ 557503 w 1115005"/>
                  <a:gd name="connsiteY7" fmla="*/ 1263101 h 1263101"/>
                  <a:gd name="connsiteX8" fmla="*/ 0 w 1115005"/>
                  <a:gd name="connsiteY8" fmla="*/ 705599 h 126310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115005" h="1263101">
                    <a:moveTo>
                      <a:pt x="0" y="705599"/>
                    </a:moveTo>
                    <a:cubicBezTo>
                      <a:pt x="0" y="436186"/>
                      <a:pt x="191102" y="211408"/>
                      <a:pt x="445146" y="159423"/>
                    </a:cubicBezTo>
                    <a:lnTo>
                      <a:pt x="466271" y="157293"/>
                    </a:lnTo>
                    <a:lnTo>
                      <a:pt x="557501" y="0"/>
                    </a:lnTo>
                    <a:lnTo>
                      <a:pt x="648732" y="157293"/>
                    </a:lnTo>
                    <a:lnTo>
                      <a:pt x="669859" y="159423"/>
                    </a:lnTo>
                    <a:cubicBezTo>
                      <a:pt x="923903" y="211408"/>
                      <a:pt x="1115005" y="436186"/>
                      <a:pt x="1115005" y="705599"/>
                    </a:cubicBezTo>
                    <a:cubicBezTo>
                      <a:pt x="1115005" y="1013499"/>
                      <a:pt x="865403" y="1263101"/>
                      <a:pt x="557503" y="1263101"/>
                    </a:cubicBezTo>
                    <a:cubicBezTo>
                      <a:pt x="249603" y="1263101"/>
                      <a:pt x="0" y="1013499"/>
                      <a:pt x="0" y="70559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defTabSz="1828800" rtl="0"/>
                <a:endParaRPr lang="en-US" sz="3200" kern="1200" dirty="0">
                  <a:solidFill>
                    <a:prstClr val="white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  <p:grpSp>
          <p:nvGrpSpPr>
            <p:cNvPr id="42" name="Group 38"/>
            <p:cNvGrpSpPr/>
            <p:nvPr/>
          </p:nvGrpSpPr>
          <p:grpSpPr>
            <a:xfrm>
              <a:off x="1265879" y="2365106"/>
              <a:ext cx="481551" cy="421357"/>
              <a:chOff x="3648868" y="4611290"/>
              <a:chExt cx="457200" cy="400050"/>
            </a:xfrm>
            <a:solidFill>
              <a:schemeClr val="bg1"/>
            </a:solidFill>
          </p:grpSpPr>
          <p:sp>
            <p:nvSpPr>
              <p:cNvPr id="43" name="Freeform 102"/>
              <p:cNvSpPr>
                <a:spLocks noEditPoints="1"/>
              </p:cNvSpPr>
              <p:nvPr/>
            </p:nvSpPr>
            <p:spPr bwMode="auto">
              <a:xfrm>
                <a:off x="3648868" y="4611290"/>
                <a:ext cx="457200" cy="400050"/>
              </a:xfrm>
              <a:custGeom>
                <a:avLst/>
                <a:gdLst>
                  <a:gd name="T0" fmla="*/ 1079 w 1152"/>
                  <a:gd name="T1" fmla="*/ 871 h 1008"/>
                  <a:gd name="T2" fmla="*/ 1077 w 1152"/>
                  <a:gd name="T3" fmla="*/ 885 h 1008"/>
                  <a:gd name="T4" fmla="*/ 1072 w 1152"/>
                  <a:gd name="T5" fmla="*/ 898 h 1008"/>
                  <a:gd name="T6" fmla="*/ 1064 w 1152"/>
                  <a:gd name="T7" fmla="*/ 910 h 1008"/>
                  <a:gd name="T8" fmla="*/ 1054 w 1152"/>
                  <a:gd name="T9" fmla="*/ 919 h 1008"/>
                  <a:gd name="T10" fmla="*/ 1042 w 1152"/>
                  <a:gd name="T11" fmla="*/ 927 h 1008"/>
                  <a:gd name="T12" fmla="*/ 1029 w 1152"/>
                  <a:gd name="T13" fmla="*/ 932 h 1008"/>
                  <a:gd name="T14" fmla="*/ 1015 w 1152"/>
                  <a:gd name="T15" fmla="*/ 936 h 1008"/>
                  <a:gd name="T16" fmla="*/ 144 w 1152"/>
                  <a:gd name="T17" fmla="*/ 936 h 1008"/>
                  <a:gd name="T18" fmla="*/ 130 w 1152"/>
                  <a:gd name="T19" fmla="*/ 935 h 1008"/>
                  <a:gd name="T20" fmla="*/ 116 w 1152"/>
                  <a:gd name="T21" fmla="*/ 930 h 1008"/>
                  <a:gd name="T22" fmla="*/ 104 w 1152"/>
                  <a:gd name="T23" fmla="*/ 924 h 1008"/>
                  <a:gd name="T24" fmla="*/ 93 w 1152"/>
                  <a:gd name="T25" fmla="*/ 915 h 1008"/>
                  <a:gd name="T26" fmla="*/ 84 w 1152"/>
                  <a:gd name="T27" fmla="*/ 904 h 1008"/>
                  <a:gd name="T28" fmla="*/ 78 w 1152"/>
                  <a:gd name="T29" fmla="*/ 891 h 1008"/>
                  <a:gd name="T30" fmla="*/ 74 w 1152"/>
                  <a:gd name="T31" fmla="*/ 878 h 1008"/>
                  <a:gd name="T32" fmla="*/ 71 w 1152"/>
                  <a:gd name="T33" fmla="*/ 864 h 1008"/>
                  <a:gd name="T34" fmla="*/ 216 w 1152"/>
                  <a:gd name="T35" fmla="*/ 72 h 1008"/>
                  <a:gd name="T36" fmla="*/ 1080 w 1152"/>
                  <a:gd name="T37" fmla="*/ 612 h 1008"/>
                  <a:gd name="T38" fmla="*/ 1149 w 1152"/>
                  <a:gd name="T39" fmla="*/ 592 h 1008"/>
                  <a:gd name="T40" fmla="*/ 1001 w 1152"/>
                  <a:gd name="T41" fmla="*/ 41 h 1008"/>
                  <a:gd name="T42" fmla="*/ 988 w 1152"/>
                  <a:gd name="T43" fmla="*/ 22 h 1008"/>
                  <a:gd name="T44" fmla="*/ 970 w 1152"/>
                  <a:gd name="T45" fmla="*/ 8 h 1008"/>
                  <a:gd name="T46" fmla="*/ 947 w 1152"/>
                  <a:gd name="T47" fmla="*/ 0 h 1008"/>
                  <a:gd name="T48" fmla="*/ 576 w 1152"/>
                  <a:gd name="T49" fmla="*/ 0 h 1008"/>
                  <a:gd name="T50" fmla="*/ 204 w 1152"/>
                  <a:gd name="T51" fmla="*/ 0 h 1008"/>
                  <a:gd name="T52" fmla="*/ 183 w 1152"/>
                  <a:gd name="T53" fmla="*/ 8 h 1008"/>
                  <a:gd name="T54" fmla="*/ 164 w 1152"/>
                  <a:gd name="T55" fmla="*/ 22 h 1008"/>
                  <a:gd name="T56" fmla="*/ 151 w 1152"/>
                  <a:gd name="T57" fmla="*/ 41 h 1008"/>
                  <a:gd name="T58" fmla="*/ 2 w 1152"/>
                  <a:gd name="T59" fmla="*/ 592 h 1008"/>
                  <a:gd name="T60" fmla="*/ 0 w 1152"/>
                  <a:gd name="T61" fmla="*/ 612 h 1008"/>
                  <a:gd name="T62" fmla="*/ 0 w 1152"/>
                  <a:gd name="T63" fmla="*/ 878 h 1008"/>
                  <a:gd name="T64" fmla="*/ 7 w 1152"/>
                  <a:gd name="T65" fmla="*/ 906 h 1008"/>
                  <a:gd name="T66" fmla="*/ 17 w 1152"/>
                  <a:gd name="T67" fmla="*/ 932 h 1008"/>
                  <a:gd name="T68" fmla="*/ 33 w 1152"/>
                  <a:gd name="T69" fmla="*/ 955 h 1008"/>
                  <a:gd name="T70" fmla="*/ 52 w 1152"/>
                  <a:gd name="T71" fmla="*/ 975 h 1008"/>
                  <a:gd name="T72" fmla="*/ 76 w 1152"/>
                  <a:gd name="T73" fmla="*/ 991 h 1008"/>
                  <a:gd name="T74" fmla="*/ 101 w 1152"/>
                  <a:gd name="T75" fmla="*/ 1002 h 1008"/>
                  <a:gd name="T76" fmla="*/ 130 w 1152"/>
                  <a:gd name="T77" fmla="*/ 1007 h 1008"/>
                  <a:gd name="T78" fmla="*/ 1008 w 1152"/>
                  <a:gd name="T79" fmla="*/ 1008 h 1008"/>
                  <a:gd name="T80" fmla="*/ 1037 w 1152"/>
                  <a:gd name="T81" fmla="*/ 1005 h 1008"/>
                  <a:gd name="T82" fmla="*/ 1064 w 1152"/>
                  <a:gd name="T83" fmla="*/ 996 h 1008"/>
                  <a:gd name="T84" fmla="*/ 1089 w 1152"/>
                  <a:gd name="T85" fmla="*/ 983 h 1008"/>
                  <a:gd name="T86" fmla="*/ 1109 w 1152"/>
                  <a:gd name="T87" fmla="*/ 966 h 1008"/>
                  <a:gd name="T88" fmla="*/ 1128 w 1152"/>
                  <a:gd name="T89" fmla="*/ 944 h 1008"/>
                  <a:gd name="T90" fmla="*/ 1141 w 1152"/>
                  <a:gd name="T91" fmla="*/ 919 h 1008"/>
                  <a:gd name="T92" fmla="*/ 1149 w 1152"/>
                  <a:gd name="T93" fmla="*/ 892 h 1008"/>
                  <a:gd name="T94" fmla="*/ 1152 w 1152"/>
                  <a:gd name="T95" fmla="*/ 864 h 1008"/>
                  <a:gd name="T96" fmla="*/ 1152 w 1152"/>
                  <a:gd name="T97" fmla="*/ 602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52" h="1008">
                    <a:moveTo>
                      <a:pt x="1080" y="864"/>
                    </a:moveTo>
                    <a:lnTo>
                      <a:pt x="1079" y="871"/>
                    </a:lnTo>
                    <a:lnTo>
                      <a:pt x="1078" y="878"/>
                    </a:lnTo>
                    <a:lnTo>
                      <a:pt x="1077" y="885"/>
                    </a:lnTo>
                    <a:lnTo>
                      <a:pt x="1075" y="891"/>
                    </a:lnTo>
                    <a:lnTo>
                      <a:pt x="1072" y="898"/>
                    </a:lnTo>
                    <a:lnTo>
                      <a:pt x="1067" y="904"/>
                    </a:lnTo>
                    <a:lnTo>
                      <a:pt x="1064" y="910"/>
                    </a:lnTo>
                    <a:lnTo>
                      <a:pt x="1059" y="915"/>
                    </a:lnTo>
                    <a:lnTo>
                      <a:pt x="1054" y="919"/>
                    </a:lnTo>
                    <a:lnTo>
                      <a:pt x="1048" y="924"/>
                    </a:lnTo>
                    <a:lnTo>
                      <a:pt x="1042" y="927"/>
                    </a:lnTo>
                    <a:lnTo>
                      <a:pt x="1036" y="930"/>
                    </a:lnTo>
                    <a:lnTo>
                      <a:pt x="1029" y="932"/>
                    </a:lnTo>
                    <a:lnTo>
                      <a:pt x="1023" y="935"/>
                    </a:lnTo>
                    <a:lnTo>
                      <a:pt x="1015" y="936"/>
                    </a:lnTo>
                    <a:lnTo>
                      <a:pt x="1008" y="936"/>
                    </a:lnTo>
                    <a:lnTo>
                      <a:pt x="144" y="936"/>
                    </a:lnTo>
                    <a:lnTo>
                      <a:pt x="136" y="936"/>
                    </a:lnTo>
                    <a:lnTo>
                      <a:pt x="130" y="935"/>
                    </a:lnTo>
                    <a:lnTo>
                      <a:pt x="122" y="932"/>
                    </a:lnTo>
                    <a:lnTo>
                      <a:pt x="116" y="930"/>
                    </a:lnTo>
                    <a:lnTo>
                      <a:pt x="109" y="927"/>
                    </a:lnTo>
                    <a:lnTo>
                      <a:pt x="104" y="924"/>
                    </a:lnTo>
                    <a:lnTo>
                      <a:pt x="98" y="919"/>
                    </a:lnTo>
                    <a:lnTo>
                      <a:pt x="93" y="915"/>
                    </a:lnTo>
                    <a:lnTo>
                      <a:pt x="89" y="910"/>
                    </a:lnTo>
                    <a:lnTo>
                      <a:pt x="84" y="904"/>
                    </a:lnTo>
                    <a:lnTo>
                      <a:pt x="81" y="898"/>
                    </a:lnTo>
                    <a:lnTo>
                      <a:pt x="78" y="891"/>
                    </a:lnTo>
                    <a:lnTo>
                      <a:pt x="75" y="885"/>
                    </a:lnTo>
                    <a:lnTo>
                      <a:pt x="74" y="878"/>
                    </a:lnTo>
                    <a:lnTo>
                      <a:pt x="73" y="871"/>
                    </a:lnTo>
                    <a:lnTo>
                      <a:pt x="71" y="864"/>
                    </a:lnTo>
                    <a:lnTo>
                      <a:pt x="71" y="612"/>
                    </a:lnTo>
                    <a:lnTo>
                      <a:pt x="216" y="72"/>
                    </a:lnTo>
                    <a:lnTo>
                      <a:pt x="936" y="72"/>
                    </a:lnTo>
                    <a:lnTo>
                      <a:pt x="1080" y="612"/>
                    </a:lnTo>
                    <a:lnTo>
                      <a:pt x="1080" y="864"/>
                    </a:lnTo>
                    <a:close/>
                    <a:moveTo>
                      <a:pt x="1149" y="592"/>
                    </a:moveTo>
                    <a:lnTo>
                      <a:pt x="1006" y="52"/>
                    </a:lnTo>
                    <a:lnTo>
                      <a:pt x="1001" y="41"/>
                    </a:lnTo>
                    <a:lnTo>
                      <a:pt x="995" y="31"/>
                    </a:lnTo>
                    <a:lnTo>
                      <a:pt x="988" y="22"/>
                    </a:lnTo>
                    <a:lnTo>
                      <a:pt x="980" y="14"/>
                    </a:lnTo>
                    <a:lnTo>
                      <a:pt x="970" y="8"/>
                    </a:lnTo>
                    <a:lnTo>
                      <a:pt x="959" y="4"/>
                    </a:lnTo>
                    <a:lnTo>
                      <a:pt x="947" y="0"/>
                    </a:lnTo>
                    <a:lnTo>
                      <a:pt x="936" y="0"/>
                    </a:lnTo>
                    <a:lnTo>
                      <a:pt x="576" y="0"/>
                    </a:lnTo>
                    <a:lnTo>
                      <a:pt x="216" y="0"/>
                    </a:lnTo>
                    <a:lnTo>
                      <a:pt x="204" y="0"/>
                    </a:lnTo>
                    <a:lnTo>
                      <a:pt x="192" y="4"/>
                    </a:lnTo>
                    <a:lnTo>
                      <a:pt x="183" y="8"/>
                    </a:lnTo>
                    <a:lnTo>
                      <a:pt x="173" y="14"/>
                    </a:lnTo>
                    <a:lnTo>
                      <a:pt x="164" y="22"/>
                    </a:lnTo>
                    <a:lnTo>
                      <a:pt x="157" y="31"/>
                    </a:lnTo>
                    <a:lnTo>
                      <a:pt x="151" y="41"/>
                    </a:lnTo>
                    <a:lnTo>
                      <a:pt x="147" y="52"/>
                    </a:lnTo>
                    <a:lnTo>
                      <a:pt x="2" y="592"/>
                    </a:lnTo>
                    <a:lnTo>
                      <a:pt x="0" y="602"/>
                    </a:lnTo>
                    <a:lnTo>
                      <a:pt x="0" y="612"/>
                    </a:lnTo>
                    <a:lnTo>
                      <a:pt x="0" y="864"/>
                    </a:lnTo>
                    <a:lnTo>
                      <a:pt x="0" y="878"/>
                    </a:lnTo>
                    <a:lnTo>
                      <a:pt x="3" y="892"/>
                    </a:lnTo>
                    <a:lnTo>
                      <a:pt x="7" y="906"/>
                    </a:lnTo>
                    <a:lnTo>
                      <a:pt x="11" y="919"/>
                    </a:lnTo>
                    <a:lnTo>
                      <a:pt x="17" y="932"/>
                    </a:lnTo>
                    <a:lnTo>
                      <a:pt x="25" y="944"/>
                    </a:lnTo>
                    <a:lnTo>
                      <a:pt x="33" y="955"/>
                    </a:lnTo>
                    <a:lnTo>
                      <a:pt x="42" y="966"/>
                    </a:lnTo>
                    <a:lnTo>
                      <a:pt x="52" y="975"/>
                    </a:lnTo>
                    <a:lnTo>
                      <a:pt x="64" y="983"/>
                    </a:lnTo>
                    <a:lnTo>
                      <a:pt x="76" y="991"/>
                    </a:lnTo>
                    <a:lnTo>
                      <a:pt x="88" y="996"/>
                    </a:lnTo>
                    <a:lnTo>
                      <a:pt x="101" y="1002"/>
                    </a:lnTo>
                    <a:lnTo>
                      <a:pt x="115" y="1005"/>
                    </a:lnTo>
                    <a:lnTo>
                      <a:pt x="130" y="1007"/>
                    </a:lnTo>
                    <a:lnTo>
                      <a:pt x="144" y="1008"/>
                    </a:lnTo>
                    <a:lnTo>
                      <a:pt x="1008" y="1008"/>
                    </a:lnTo>
                    <a:lnTo>
                      <a:pt x="1023" y="1007"/>
                    </a:lnTo>
                    <a:lnTo>
                      <a:pt x="1037" y="1005"/>
                    </a:lnTo>
                    <a:lnTo>
                      <a:pt x="1051" y="1002"/>
                    </a:lnTo>
                    <a:lnTo>
                      <a:pt x="1064" y="996"/>
                    </a:lnTo>
                    <a:lnTo>
                      <a:pt x="1077" y="991"/>
                    </a:lnTo>
                    <a:lnTo>
                      <a:pt x="1089" y="983"/>
                    </a:lnTo>
                    <a:lnTo>
                      <a:pt x="1100" y="975"/>
                    </a:lnTo>
                    <a:lnTo>
                      <a:pt x="1109" y="966"/>
                    </a:lnTo>
                    <a:lnTo>
                      <a:pt x="1119" y="955"/>
                    </a:lnTo>
                    <a:lnTo>
                      <a:pt x="1128" y="944"/>
                    </a:lnTo>
                    <a:lnTo>
                      <a:pt x="1134" y="932"/>
                    </a:lnTo>
                    <a:lnTo>
                      <a:pt x="1141" y="919"/>
                    </a:lnTo>
                    <a:lnTo>
                      <a:pt x="1145" y="906"/>
                    </a:lnTo>
                    <a:lnTo>
                      <a:pt x="1149" y="892"/>
                    </a:lnTo>
                    <a:lnTo>
                      <a:pt x="1152" y="878"/>
                    </a:lnTo>
                    <a:lnTo>
                      <a:pt x="1152" y="864"/>
                    </a:lnTo>
                    <a:lnTo>
                      <a:pt x="1152" y="612"/>
                    </a:lnTo>
                    <a:lnTo>
                      <a:pt x="1152" y="602"/>
                    </a:lnTo>
                    <a:lnTo>
                      <a:pt x="1149" y="59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44" name="Freeform 103"/>
              <p:cNvSpPr>
                <a:spLocks noEditPoints="1"/>
              </p:cNvSpPr>
              <p:nvPr/>
            </p:nvSpPr>
            <p:spPr bwMode="auto">
              <a:xfrm>
                <a:off x="3702843" y="4668440"/>
                <a:ext cx="349250" cy="257175"/>
              </a:xfrm>
              <a:custGeom>
                <a:avLst/>
                <a:gdLst>
                  <a:gd name="T0" fmla="*/ 678 w 877"/>
                  <a:gd name="T1" fmla="*/ 432 h 648"/>
                  <a:gd name="T2" fmla="*/ 657 w 877"/>
                  <a:gd name="T3" fmla="*/ 434 h 648"/>
                  <a:gd name="T4" fmla="*/ 640 w 877"/>
                  <a:gd name="T5" fmla="*/ 443 h 648"/>
                  <a:gd name="T6" fmla="*/ 625 w 877"/>
                  <a:gd name="T7" fmla="*/ 455 h 648"/>
                  <a:gd name="T8" fmla="*/ 613 w 877"/>
                  <a:gd name="T9" fmla="*/ 472 h 648"/>
                  <a:gd name="T10" fmla="*/ 317 w 877"/>
                  <a:gd name="T11" fmla="*/ 576 h 648"/>
                  <a:gd name="T12" fmla="*/ 260 w 877"/>
                  <a:gd name="T13" fmla="*/ 463 h 648"/>
                  <a:gd name="T14" fmla="*/ 247 w 877"/>
                  <a:gd name="T15" fmla="*/ 448 h 648"/>
                  <a:gd name="T16" fmla="*/ 230 w 877"/>
                  <a:gd name="T17" fmla="*/ 438 h 648"/>
                  <a:gd name="T18" fmla="*/ 211 w 877"/>
                  <a:gd name="T19" fmla="*/ 433 h 648"/>
                  <a:gd name="T20" fmla="*/ 141 w 877"/>
                  <a:gd name="T21" fmla="*/ 432 h 648"/>
                  <a:gd name="T22" fmla="*/ 160 w 877"/>
                  <a:gd name="T23" fmla="*/ 36 h 648"/>
                  <a:gd name="T24" fmla="*/ 823 w 877"/>
                  <a:gd name="T25" fmla="*/ 432 h 648"/>
                  <a:gd name="T26" fmla="*/ 718 w 877"/>
                  <a:gd name="T27" fmla="*/ 0 h 648"/>
                  <a:gd name="T28" fmla="*/ 155 w 877"/>
                  <a:gd name="T29" fmla="*/ 0 h 648"/>
                  <a:gd name="T30" fmla="*/ 143 w 877"/>
                  <a:gd name="T31" fmla="*/ 4 h 648"/>
                  <a:gd name="T32" fmla="*/ 134 w 877"/>
                  <a:gd name="T33" fmla="*/ 11 h 648"/>
                  <a:gd name="T34" fmla="*/ 128 w 877"/>
                  <a:gd name="T35" fmla="*/ 21 h 648"/>
                  <a:gd name="T36" fmla="*/ 1 w 877"/>
                  <a:gd name="T37" fmla="*/ 459 h 648"/>
                  <a:gd name="T38" fmla="*/ 1 w 877"/>
                  <a:gd name="T39" fmla="*/ 475 h 648"/>
                  <a:gd name="T40" fmla="*/ 8 w 877"/>
                  <a:gd name="T41" fmla="*/ 490 h 648"/>
                  <a:gd name="T42" fmla="*/ 20 w 877"/>
                  <a:gd name="T43" fmla="*/ 500 h 648"/>
                  <a:gd name="T44" fmla="*/ 36 w 877"/>
                  <a:gd name="T45" fmla="*/ 504 h 648"/>
                  <a:gd name="T46" fmla="*/ 182 w 877"/>
                  <a:gd name="T47" fmla="*/ 504 h 648"/>
                  <a:gd name="T48" fmla="*/ 253 w 877"/>
                  <a:gd name="T49" fmla="*/ 608 h 648"/>
                  <a:gd name="T50" fmla="*/ 264 w 877"/>
                  <a:gd name="T51" fmla="*/ 624 h 648"/>
                  <a:gd name="T52" fmla="*/ 279 w 877"/>
                  <a:gd name="T53" fmla="*/ 637 h 648"/>
                  <a:gd name="T54" fmla="*/ 297 w 877"/>
                  <a:gd name="T55" fmla="*/ 645 h 648"/>
                  <a:gd name="T56" fmla="*/ 317 w 877"/>
                  <a:gd name="T57" fmla="*/ 648 h 648"/>
                  <a:gd name="T58" fmla="*/ 571 w 877"/>
                  <a:gd name="T59" fmla="*/ 647 h 648"/>
                  <a:gd name="T60" fmla="*/ 590 w 877"/>
                  <a:gd name="T61" fmla="*/ 642 h 648"/>
                  <a:gd name="T62" fmla="*/ 606 w 877"/>
                  <a:gd name="T63" fmla="*/ 632 h 648"/>
                  <a:gd name="T64" fmla="*/ 620 w 877"/>
                  <a:gd name="T65" fmla="*/ 617 h 648"/>
                  <a:gd name="T66" fmla="*/ 678 w 877"/>
                  <a:gd name="T67" fmla="*/ 504 h 648"/>
                  <a:gd name="T68" fmla="*/ 737 w 877"/>
                  <a:gd name="T69" fmla="*/ 504 h 648"/>
                  <a:gd name="T70" fmla="*/ 850 w 877"/>
                  <a:gd name="T71" fmla="*/ 503 h 648"/>
                  <a:gd name="T72" fmla="*/ 864 w 877"/>
                  <a:gd name="T73" fmla="*/ 496 h 648"/>
                  <a:gd name="T74" fmla="*/ 874 w 877"/>
                  <a:gd name="T75" fmla="*/ 483 h 648"/>
                  <a:gd name="T76" fmla="*/ 877 w 877"/>
                  <a:gd name="T77" fmla="*/ 467 h 648"/>
                  <a:gd name="T78" fmla="*/ 752 w 877"/>
                  <a:gd name="T79" fmla="*/ 27 h 648"/>
                  <a:gd name="T80" fmla="*/ 748 w 877"/>
                  <a:gd name="T81" fmla="*/ 16 h 648"/>
                  <a:gd name="T82" fmla="*/ 740 w 877"/>
                  <a:gd name="T83" fmla="*/ 8 h 648"/>
                  <a:gd name="T84" fmla="*/ 729 w 877"/>
                  <a:gd name="T85" fmla="*/ 2 h 648"/>
                  <a:gd name="T86" fmla="*/ 718 w 877"/>
                  <a:gd name="T87" fmla="*/ 0 h 6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877" h="648">
                    <a:moveTo>
                      <a:pt x="737" y="432"/>
                    </a:moveTo>
                    <a:lnTo>
                      <a:pt x="678" y="432"/>
                    </a:lnTo>
                    <a:lnTo>
                      <a:pt x="667" y="433"/>
                    </a:lnTo>
                    <a:lnTo>
                      <a:pt x="657" y="434"/>
                    </a:lnTo>
                    <a:lnTo>
                      <a:pt x="648" y="438"/>
                    </a:lnTo>
                    <a:lnTo>
                      <a:pt x="640" y="443"/>
                    </a:lnTo>
                    <a:lnTo>
                      <a:pt x="631" y="448"/>
                    </a:lnTo>
                    <a:lnTo>
                      <a:pt x="625" y="455"/>
                    </a:lnTo>
                    <a:lnTo>
                      <a:pt x="618" y="463"/>
                    </a:lnTo>
                    <a:lnTo>
                      <a:pt x="613" y="472"/>
                    </a:lnTo>
                    <a:lnTo>
                      <a:pt x="561" y="576"/>
                    </a:lnTo>
                    <a:lnTo>
                      <a:pt x="317" y="576"/>
                    </a:lnTo>
                    <a:lnTo>
                      <a:pt x="265" y="472"/>
                    </a:lnTo>
                    <a:lnTo>
                      <a:pt x="260" y="463"/>
                    </a:lnTo>
                    <a:lnTo>
                      <a:pt x="254" y="455"/>
                    </a:lnTo>
                    <a:lnTo>
                      <a:pt x="247" y="448"/>
                    </a:lnTo>
                    <a:lnTo>
                      <a:pt x="239" y="443"/>
                    </a:lnTo>
                    <a:lnTo>
                      <a:pt x="230" y="438"/>
                    </a:lnTo>
                    <a:lnTo>
                      <a:pt x="221" y="434"/>
                    </a:lnTo>
                    <a:lnTo>
                      <a:pt x="211" y="433"/>
                    </a:lnTo>
                    <a:lnTo>
                      <a:pt x="200" y="432"/>
                    </a:lnTo>
                    <a:lnTo>
                      <a:pt x="141" y="432"/>
                    </a:lnTo>
                    <a:lnTo>
                      <a:pt x="55" y="432"/>
                    </a:lnTo>
                    <a:lnTo>
                      <a:pt x="160" y="36"/>
                    </a:lnTo>
                    <a:lnTo>
                      <a:pt x="718" y="36"/>
                    </a:lnTo>
                    <a:lnTo>
                      <a:pt x="823" y="432"/>
                    </a:lnTo>
                    <a:lnTo>
                      <a:pt x="737" y="432"/>
                    </a:lnTo>
                    <a:close/>
                    <a:moveTo>
                      <a:pt x="718" y="0"/>
                    </a:moveTo>
                    <a:lnTo>
                      <a:pt x="160" y="0"/>
                    </a:lnTo>
                    <a:lnTo>
                      <a:pt x="155" y="0"/>
                    </a:lnTo>
                    <a:lnTo>
                      <a:pt x="148" y="2"/>
                    </a:lnTo>
                    <a:lnTo>
                      <a:pt x="143" y="4"/>
                    </a:lnTo>
                    <a:lnTo>
                      <a:pt x="139" y="8"/>
                    </a:lnTo>
                    <a:lnTo>
                      <a:pt x="134" y="11"/>
                    </a:lnTo>
                    <a:lnTo>
                      <a:pt x="130" y="16"/>
                    </a:lnTo>
                    <a:lnTo>
                      <a:pt x="128" y="21"/>
                    </a:lnTo>
                    <a:lnTo>
                      <a:pt x="126" y="27"/>
                    </a:lnTo>
                    <a:lnTo>
                      <a:pt x="1" y="459"/>
                    </a:lnTo>
                    <a:lnTo>
                      <a:pt x="0" y="467"/>
                    </a:lnTo>
                    <a:lnTo>
                      <a:pt x="1" y="475"/>
                    </a:lnTo>
                    <a:lnTo>
                      <a:pt x="4" y="483"/>
                    </a:lnTo>
                    <a:lnTo>
                      <a:pt x="8" y="490"/>
                    </a:lnTo>
                    <a:lnTo>
                      <a:pt x="13" y="496"/>
                    </a:lnTo>
                    <a:lnTo>
                      <a:pt x="20" y="500"/>
                    </a:lnTo>
                    <a:lnTo>
                      <a:pt x="28" y="503"/>
                    </a:lnTo>
                    <a:lnTo>
                      <a:pt x="36" y="504"/>
                    </a:lnTo>
                    <a:lnTo>
                      <a:pt x="141" y="504"/>
                    </a:lnTo>
                    <a:lnTo>
                      <a:pt x="182" y="504"/>
                    </a:lnTo>
                    <a:lnTo>
                      <a:pt x="201" y="504"/>
                    </a:lnTo>
                    <a:lnTo>
                      <a:pt x="253" y="608"/>
                    </a:lnTo>
                    <a:lnTo>
                      <a:pt x="258" y="617"/>
                    </a:lnTo>
                    <a:lnTo>
                      <a:pt x="264" y="624"/>
                    </a:lnTo>
                    <a:lnTo>
                      <a:pt x="271" y="632"/>
                    </a:lnTo>
                    <a:lnTo>
                      <a:pt x="279" y="637"/>
                    </a:lnTo>
                    <a:lnTo>
                      <a:pt x="288" y="642"/>
                    </a:lnTo>
                    <a:lnTo>
                      <a:pt x="297" y="645"/>
                    </a:lnTo>
                    <a:lnTo>
                      <a:pt x="307" y="647"/>
                    </a:lnTo>
                    <a:lnTo>
                      <a:pt x="317" y="648"/>
                    </a:lnTo>
                    <a:lnTo>
                      <a:pt x="561" y="648"/>
                    </a:lnTo>
                    <a:lnTo>
                      <a:pt x="571" y="647"/>
                    </a:lnTo>
                    <a:lnTo>
                      <a:pt x="580" y="645"/>
                    </a:lnTo>
                    <a:lnTo>
                      <a:pt x="590" y="642"/>
                    </a:lnTo>
                    <a:lnTo>
                      <a:pt x="599" y="637"/>
                    </a:lnTo>
                    <a:lnTo>
                      <a:pt x="606" y="632"/>
                    </a:lnTo>
                    <a:lnTo>
                      <a:pt x="614" y="624"/>
                    </a:lnTo>
                    <a:lnTo>
                      <a:pt x="620" y="617"/>
                    </a:lnTo>
                    <a:lnTo>
                      <a:pt x="626" y="608"/>
                    </a:lnTo>
                    <a:lnTo>
                      <a:pt x="678" y="504"/>
                    </a:lnTo>
                    <a:lnTo>
                      <a:pt x="696" y="504"/>
                    </a:lnTo>
                    <a:lnTo>
                      <a:pt x="737" y="504"/>
                    </a:lnTo>
                    <a:lnTo>
                      <a:pt x="842" y="504"/>
                    </a:lnTo>
                    <a:lnTo>
                      <a:pt x="850" y="503"/>
                    </a:lnTo>
                    <a:lnTo>
                      <a:pt x="858" y="500"/>
                    </a:lnTo>
                    <a:lnTo>
                      <a:pt x="864" y="496"/>
                    </a:lnTo>
                    <a:lnTo>
                      <a:pt x="870" y="490"/>
                    </a:lnTo>
                    <a:lnTo>
                      <a:pt x="874" y="483"/>
                    </a:lnTo>
                    <a:lnTo>
                      <a:pt x="877" y="475"/>
                    </a:lnTo>
                    <a:lnTo>
                      <a:pt x="877" y="467"/>
                    </a:lnTo>
                    <a:lnTo>
                      <a:pt x="876" y="459"/>
                    </a:lnTo>
                    <a:lnTo>
                      <a:pt x="752" y="27"/>
                    </a:lnTo>
                    <a:lnTo>
                      <a:pt x="751" y="21"/>
                    </a:lnTo>
                    <a:lnTo>
                      <a:pt x="748" y="16"/>
                    </a:lnTo>
                    <a:lnTo>
                      <a:pt x="743" y="11"/>
                    </a:lnTo>
                    <a:lnTo>
                      <a:pt x="740" y="8"/>
                    </a:lnTo>
                    <a:lnTo>
                      <a:pt x="735" y="4"/>
                    </a:lnTo>
                    <a:lnTo>
                      <a:pt x="729" y="2"/>
                    </a:lnTo>
                    <a:lnTo>
                      <a:pt x="724" y="0"/>
                    </a:lnTo>
                    <a:lnTo>
                      <a:pt x="718" y="0"/>
                    </a:ln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</p:grpSp>
      <p:grpSp>
        <p:nvGrpSpPr>
          <p:cNvPr id="45" name="组合 44"/>
          <p:cNvGrpSpPr/>
          <p:nvPr/>
        </p:nvGrpSpPr>
        <p:grpSpPr>
          <a:xfrm>
            <a:off x="2838955" y="2052296"/>
            <a:ext cx="2713780" cy="1054930"/>
            <a:chOff x="2676067" y="1799802"/>
            <a:chExt cx="2713780" cy="1054930"/>
          </a:xfrm>
        </p:grpSpPr>
        <p:sp>
          <p:nvSpPr>
            <p:cNvPr id="46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7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48" name="组合 47"/>
          <p:cNvGrpSpPr/>
          <p:nvPr/>
        </p:nvGrpSpPr>
        <p:grpSpPr>
          <a:xfrm>
            <a:off x="8476715" y="2052005"/>
            <a:ext cx="2713780" cy="1054930"/>
            <a:chOff x="2676067" y="1799802"/>
            <a:chExt cx="2713780" cy="1054930"/>
          </a:xfrm>
        </p:grpSpPr>
        <p:sp>
          <p:nvSpPr>
            <p:cNvPr id="49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0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51" name="组合 50"/>
          <p:cNvGrpSpPr/>
          <p:nvPr/>
        </p:nvGrpSpPr>
        <p:grpSpPr>
          <a:xfrm>
            <a:off x="2838955" y="3975731"/>
            <a:ext cx="2713780" cy="1054930"/>
            <a:chOff x="2676067" y="1799802"/>
            <a:chExt cx="2713780" cy="1054930"/>
          </a:xfrm>
        </p:grpSpPr>
        <p:sp>
          <p:nvSpPr>
            <p:cNvPr id="52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3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54" name="组合 53"/>
          <p:cNvGrpSpPr/>
          <p:nvPr/>
        </p:nvGrpSpPr>
        <p:grpSpPr>
          <a:xfrm>
            <a:off x="8476715" y="3975440"/>
            <a:ext cx="2713780" cy="1054930"/>
            <a:chOff x="2676067" y="1799802"/>
            <a:chExt cx="2713780" cy="1054930"/>
          </a:xfrm>
        </p:grpSpPr>
        <p:sp>
          <p:nvSpPr>
            <p:cNvPr id="55" name="TextBox 53"/>
            <p:cNvSpPr txBox="1"/>
            <p:nvPr/>
          </p:nvSpPr>
          <p:spPr>
            <a:xfrm>
              <a:off x="2676067" y="2245334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6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64" name="文本框 63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成果展示</a:t>
            </a:r>
          </a:p>
        </p:txBody>
      </p:sp>
      <p:sp>
        <p:nvSpPr>
          <p:cNvPr id="66" name="文本框 65"/>
          <p:cNvSpPr txBox="1"/>
          <p:nvPr/>
        </p:nvSpPr>
        <p:spPr>
          <a:xfrm>
            <a:off x="2619249" y="445145"/>
            <a:ext cx="198229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ACHIEVEMENT DISPLAY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0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3" dur="10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1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6" dur="1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4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3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2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 descr="white Android smartphone near black smartpho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331" y="0"/>
            <a:ext cx="7068669" cy="6858000"/>
          </a:xfrm>
          <a:custGeom>
            <a:avLst/>
            <a:gdLst>
              <a:gd name="connsiteX0" fmla="*/ 0 w 5301502"/>
              <a:gd name="connsiteY0" fmla="*/ 0 h 5143500"/>
              <a:gd name="connsiteX1" fmla="*/ 5301502 w 5301502"/>
              <a:gd name="connsiteY1" fmla="*/ 0 h 5143500"/>
              <a:gd name="connsiteX2" fmla="*/ 5301502 w 5301502"/>
              <a:gd name="connsiteY2" fmla="*/ 5143500 h 5143500"/>
              <a:gd name="connsiteX3" fmla="*/ 1510794 w 5301502"/>
              <a:gd name="connsiteY3" fmla="*/ 5143500 h 5143500"/>
              <a:gd name="connsiteX4" fmla="*/ 1557348 w 5301502"/>
              <a:gd name="connsiteY4" fmla="*/ 4941791 h 5143500"/>
              <a:gd name="connsiteX5" fmla="*/ 1665606 w 5301502"/>
              <a:gd name="connsiteY5" fmla="*/ 3867894 h 5143500"/>
              <a:gd name="connsiteX6" fmla="*/ 104898 w 5301502"/>
              <a:gd name="connsiteY6" fmla="*/ 10001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01502" h="5143500">
                <a:moveTo>
                  <a:pt x="0" y="0"/>
                </a:moveTo>
                <a:lnTo>
                  <a:pt x="5301502" y="0"/>
                </a:lnTo>
                <a:lnTo>
                  <a:pt x="5301502" y="5143500"/>
                </a:lnTo>
                <a:lnTo>
                  <a:pt x="1510794" y="5143500"/>
                </a:lnTo>
                <a:lnTo>
                  <a:pt x="1557348" y="4941791"/>
                </a:lnTo>
                <a:cubicBezTo>
                  <a:pt x="1628330" y="4594913"/>
                  <a:pt x="1665606" y="4235757"/>
                  <a:pt x="1665606" y="3867894"/>
                </a:cubicBezTo>
                <a:cubicBezTo>
                  <a:pt x="1665606" y="2396444"/>
                  <a:pt x="1069183" y="1064296"/>
                  <a:pt x="104898" y="10001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图形 8"/>
          <p:cNvSpPr/>
          <p:nvPr/>
        </p:nvSpPr>
        <p:spPr>
          <a:xfrm>
            <a:off x="10417472" y="0"/>
            <a:ext cx="1774528" cy="1267520"/>
          </a:xfrm>
          <a:custGeom>
            <a:avLst/>
            <a:gdLst>
              <a:gd name="connsiteX0" fmla="*/ 7144 w 5867400"/>
              <a:gd name="connsiteY0" fmla="*/ 7144 h 4191000"/>
              <a:gd name="connsiteX1" fmla="*/ 2483644 w 5867400"/>
              <a:gd name="connsiteY1" fmla="*/ 1731169 h 4191000"/>
              <a:gd name="connsiteX2" fmla="*/ 5865019 w 5867400"/>
              <a:gd name="connsiteY2" fmla="*/ 4188619 h 4191000"/>
              <a:gd name="connsiteX3" fmla="*/ 5865019 w 5867400"/>
              <a:gd name="connsiteY3" fmla="*/ 7144 h 4191000"/>
              <a:gd name="connsiteX4" fmla="*/ 7144 w 5867400"/>
              <a:gd name="connsiteY4" fmla="*/ 7144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7400" h="4191000">
                <a:moveTo>
                  <a:pt x="7144" y="7144"/>
                </a:moveTo>
                <a:cubicBezTo>
                  <a:pt x="7144" y="7144"/>
                  <a:pt x="7144" y="931069"/>
                  <a:pt x="2483644" y="1731169"/>
                </a:cubicBezTo>
                <a:cubicBezTo>
                  <a:pt x="2483644" y="1731169"/>
                  <a:pt x="4998244" y="2378869"/>
                  <a:pt x="5865019" y="4188619"/>
                </a:cubicBezTo>
                <a:lnTo>
                  <a:pt x="5865019" y="7144"/>
                </a:lnTo>
                <a:lnTo>
                  <a:pt x="7144" y="7144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sz="24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857633" y="964042"/>
            <a:ext cx="174438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b="1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04.</a:t>
            </a:r>
            <a:endParaRPr lang="zh-CN" altLang="en-US" sz="8000" b="1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857634" y="2032972"/>
            <a:ext cx="491532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400" dirty="0">
                <a:solidFill>
                  <a:schemeClr val="bg1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PART FOUR</a:t>
            </a:r>
            <a:endParaRPr lang="zh-CN" altLang="en-US" sz="6400" dirty="0">
              <a:solidFill>
                <a:schemeClr val="bg1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857633" y="4485117"/>
            <a:ext cx="5333617" cy="787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lt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单击此处添加文字阐述，添加简短问题说明文字，具体添加文字在此处添加单击</a:t>
            </a:r>
          </a:p>
        </p:txBody>
      </p:sp>
      <p:sp>
        <p:nvSpPr>
          <p:cNvPr id="21" name="TextBox 7"/>
          <p:cNvSpPr txBox="1"/>
          <p:nvPr/>
        </p:nvSpPr>
        <p:spPr>
          <a:xfrm>
            <a:off x="1005094" y="3705418"/>
            <a:ext cx="2140888" cy="564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70" dirty="0">
                <a:solidFill>
                  <a:schemeClr val="lt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不足之处</a:t>
            </a:r>
          </a:p>
        </p:txBody>
      </p:sp>
      <p:sp>
        <p:nvSpPr>
          <p:cNvPr id="16" name="矩形 15"/>
          <p:cNvSpPr/>
          <p:nvPr/>
        </p:nvSpPr>
        <p:spPr>
          <a:xfrm>
            <a:off x="1005094" y="3609406"/>
            <a:ext cx="1654540" cy="96012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9" grpId="0"/>
      <p:bldP spid="20" grpId="0"/>
      <p:bldP spid="21" grpId="0"/>
      <p:bldP spid="16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" name="组合 56"/>
          <p:cNvGrpSpPr/>
          <p:nvPr/>
        </p:nvGrpSpPr>
        <p:grpSpPr>
          <a:xfrm>
            <a:off x="1475871" y="2127754"/>
            <a:ext cx="2187498" cy="2187497"/>
            <a:chOff x="1475871" y="2127754"/>
            <a:chExt cx="2187498" cy="2187497"/>
          </a:xfrm>
        </p:grpSpPr>
        <p:sp>
          <p:nvSpPr>
            <p:cNvPr id="10" name="矩形: 圆角 9"/>
            <p:cNvSpPr/>
            <p:nvPr/>
          </p:nvSpPr>
          <p:spPr>
            <a:xfrm rot="2700000">
              <a:off x="1475871" y="2127754"/>
              <a:ext cx="2187497" cy="2187498"/>
            </a:xfrm>
            <a:prstGeom prst="roundRect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3" name="椭圆 2"/>
            <p:cNvSpPr/>
            <p:nvPr/>
          </p:nvSpPr>
          <p:spPr>
            <a:xfrm>
              <a:off x="2229546" y="2332967"/>
              <a:ext cx="680146" cy="628106"/>
            </a:xfrm>
            <a:custGeom>
              <a:avLst/>
              <a:gdLst>
                <a:gd name="connsiteX0" fmla="*/ 186302 w 608697"/>
                <a:gd name="connsiteY0" fmla="*/ 63862 h 562124"/>
                <a:gd name="connsiteX1" fmla="*/ 204357 w 608697"/>
                <a:gd name="connsiteY1" fmla="*/ 81889 h 562124"/>
                <a:gd name="connsiteX2" fmla="*/ 186302 w 608697"/>
                <a:gd name="connsiteY2" fmla="*/ 99991 h 562124"/>
                <a:gd name="connsiteX3" fmla="*/ 99759 w 608697"/>
                <a:gd name="connsiteY3" fmla="*/ 186326 h 562124"/>
                <a:gd name="connsiteX4" fmla="*/ 81705 w 608697"/>
                <a:gd name="connsiteY4" fmla="*/ 204428 h 562124"/>
                <a:gd name="connsiteX5" fmla="*/ 63650 w 608697"/>
                <a:gd name="connsiteY5" fmla="*/ 186326 h 562124"/>
                <a:gd name="connsiteX6" fmla="*/ 186302 w 608697"/>
                <a:gd name="connsiteY6" fmla="*/ 63862 h 562124"/>
                <a:gd name="connsiteX7" fmla="*/ 175448 w 608697"/>
                <a:gd name="connsiteY7" fmla="*/ 36129 h 562124"/>
                <a:gd name="connsiteX8" fmla="*/ 36179 w 608697"/>
                <a:gd name="connsiteY8" fmla="*/ 175282 h 562124"/>
                <a:gd name="connsiteX9" fmla="*/ 276226 w 608697"/>
                <a:gd name="connsiteY9" fmla="*/ 490611 h 562124"/>
                <a:gd name="connsiteX10" fmla="*/ 276972 w 608697"/>
                <a:gd name="connsiteY10" fmla="*/ 491356 h 562124"/>
                <a:gd name="connsiteX11" fmla="*/ 304349 w 608697"/>
                <a:gd name="connsiteY11" fmla="*/ 518546 h 562124"/>
                <a:gd name="connsiteX12" fmla="*/ 331725 w 608697"/>
                <a:gd name="connsiteY12" fmla="*/ 491356 h 562124"/>
                <a:gd name="connsiteX13" fmla="*/ 332471 w 608697"/>
                <a:gd name="connsiteY13" fmla="*/ 490611 h 562124"/>
                <a:gd name="connsiteX14" fmla="*/ 572518 w 608697"/>
                <a:gd name="connsiteY14" fmla="*/ 175282 h 562124"/>
                <a:gd name="connsiteX15" fmla="*/ 433249 w 608697"/>
                <a:gd name="connsiteY15" fmla="*/ 36129 h 562124"/>
                <a:gd name="connsiteX16" fmla="*/ 318149 w 608697"/>
                <a:gd name="connsiteY16" fmla="*/ 89764 h 562124"/>
                <a:gd name="connsiteX17" fmla="*/ 304349 w 608697"/>
                <a:gd name="connsiteY17" fmla="*/ 96170 h 562124"/>
                <a:gd name="connsiteX18" fmla="*/ 290548 w 608697"/>
                <a:gd name="connsiteY18" fmla="*/ 89764 h 562124"/>
                <a:gd name="connsiteX19" fmla="*/ 175448 w 608697"/>
                <a:gd name="connsiteY19" fmla="*/ 36129 h 562124"/>
                <a:gd name="connsiteX20" fmla="*/ 175448 w 608697"/>
                <a:gd name="connsiteY20" fmla="*/ 0 h 562124"/>
                <a:gd name="connsiteX21" fmla="*/ 304349 w 608697"/>
                <a:gd name="connsiteY21" fmla="*/ 51847 h 562124"/>
                <a:gd name="connsiteX22" fmla="*/ 433249 w 608697"/>
                <a:gd name="connsiteY22" fmla="*/ 0 h 562124"/>
                <a:gd name="connsiteX23" fmla="*/ 608697 w 608697"/>
                <a:gd name="connsiteY23" fmla="*/ 175282 h 562124"/>
                <a:gd name="connsiteX24" fmla="*/ 537309 w 608697"/>
                <a:gd name="connsiteY24" fmla="*/ 342593 h 562124"/>
                <a:gd name="connsiteX25" fmla="*/ 356864 w 608697"/>
                <a:gd name="connsiteY25" fmla="*/ 517354 h 562124"/>
                <a:gd name="connsiteX26" fmla="*/ 317104 w 608697"/>
                <a:gd name="connsiteY26" fmla="*/ 556835 h 562124"/>
                <a:gd name="connsiteX27" fmla="*/ 304349 w 608697"/>
                <a:gd name="connsiteY27" fmla="*/ 562124 h 562124"/>
                <a:gd name="connsiteX28" fmla="*/ 291593 w 608697"/>
                <a:gd name="connsiteY28" fmla="*/ 556835 h 562124"/>
                <a:gd name="connsiteX29" fmla="*/ 251834 w 608697"/>
                <a:gd name="connsiteY29" fmla="*/ 517354 h 562124"/>
                <a:gd name="connsiteX30" fmla="*/ 71388 w 608697"/>
                <a:gd name="connsiteY30" fmla="*/ 342593 h 562124"/>
                <a:gd name="connsiteX31" fmla="*/ 0 w 608697"/>
                <a:gd name="connsiteY31" fmla="*/ 175282 h 562124"/>
                <a:gd name="connsiteX32" fmla="*/ 175448 w 608697"/>
                <a:gd name="connsiteY32" fmla="*/ 0 h 56212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</a:cxnLst>
              <a:rect l="l" t="t" r="r" b="b"/>
              <a:pathLst>
                <a:path w="608697" h="562124">
                  <a:moveTo>
                    <a:pt x="186302" y="63862"/>
                  </a:moveTo>
                  <a:cubicBezTo>
                    <a:pt x="196225" y="63862"/>
                    <a:pt x="204357" y="71907"/>
                    <a:pt x="204357" y="81889"/>
                  </a:cubicBezTo>
                  <a:cubicBezTo>
                    <a:pt x="204357" y="91871"/>
                    <a:pt x="196300" y="99991"/>
                    <a:pt x="186302" y="99991"/>
                  </a:cubicBezTo>
                  <a:cubicBezTo>
                    <a:pt x="137808" y="99991"/>
                    <a:pt x="99759" y="137907"/>
                    <a:pt x="99759" y="186326"/>
                  </a:cubicBezTo>
                  <a:cubicBezTo>
                    <a:pt x="99759" y="196308"/>
                    <a:pt x="91702" y="204428"/>
                    <a:pt x="81705" y="204428"/>
                  </a:cubicBezTo>
                  <a:cubicBezTo>
                    <a:pt x="71708" y="204428"/>
                    <a:pt x="63650" y="196308"/>
                    <a:pt x="63650" y="186326"/>
                  </a:cubicBezTo>
                  <a:cubicBezTo>
                    <a:pt x="63650" y="117645"/>
                    <a:pt x="117516" y="63862"/>
                    <a:pt x="186302" y="63862"/>
                  </a:cubicBezTo>
                  <a:close/>
                  <a:moveTo>
                    <a:pt x="175448" y="36129"/>
                  </a:moveTo>
                  <a:cubicBezTo>
                    <a:pt x="97347" y="36129"/>
                    <a:pt x="36179" y="97213"/>
                    <a:pt x="36179" y="175282"/>
                  </a:cubicBezTo>
                  <a:cubicBezTo>
                    <a:pt x="36179" y="273687"/>
                    <a:pt x="122933" y="355182"/>
                    <a:pt x="276226" y="490611"/>
                  </a:cubicBezTo>
                  <a:cubicBezTo>
                    <a:pt x="276450" y="490834"/>
                    <a:pt x="276748" y="491132"/>
                    <a:pt x="276972" y="491356"/>
                  </a:cubicBezTo>
                  <a:lnTo>
                    <a:pt x="304349" y="518546"/>
                  </a:lnTo>
                  <a:lnTo>
                    <a:pt x="331725" y="491356"/>
                  </a:lnTo>
                  <a:cubicBezTo>
                    <a:pt x="331949" y="491132"/>
                    <a:pt x="332247" y="490834"/>
                    <a:pt x="332471" y="490611"/>
                  </a:cubicBezTo>
                  <a:cubicBezTo>
                    <a:pt x="485764" y="355182"/>
                    <a:pt x="572518" y="273762"/>
                    <a:pt x="572518" y="175282"/>
                  </a:cubicBezTo>
                  <a:cubicBezTo>
                    <a:pt x="572518" y="97213"/>
                    <a:pt x="511350" y="36129"/>
                    <a:pt x="433249" y="36129"/>
                  </a:cubicBezTo>
                  <a:cubicBezTo>
                    <a:pt x="390282" y="36129"/>
                    <a:pt x="346196" y="56689"/>
                    <a:pt x="318149" y="89764"/>
                  </a:cubicBezTo>
                  <a:cubicBezTo>
                    <a:pt x="314717" y="93861"/>
                    <a:pt x="309645" y="96170"/>
                    <a:pt x="304349" y="96170"/>
                  </a:cubicBezTo>
                  <a:cubicBezTo>
                    <a:pt x="299052" y="96170"/>
                    <a:pt x="293980" y="93861"/>
                    <a:pt x="290548" y="89764"/>
                  </a:cubicBezTo>
                  <a:cubicBezTo>
                    <a:pt x="262501" y="56689"/>
                    <a:pt x="218415" y="36129"/>
                    <a:pt x="175448" y="36129"/>
                  </a:cubicBezTo>
                  <a:close/>
                  <a:moveTo>
                    <a:pt x="175448" y="0"/>
                  </a:moveTo>
                  <a:cubicBezTo>
                    <a:pt x="222891" y="0"/>
                    <a:pt x="269736" y="19145"/>
                    <a:pt x="304349" y="51847"/>
                  </a:cubicBezTo>
                  <a:cubicBezTo>
                    <a:pt x="338961" y="19145"/>
                    <a:pt x="385807" y="0"/>
                    <a:pt x="433249" y="0"/>
                  </a:cubicBezTo>
                  <a:cubicBezTo>
                    <a:pt x="531640" y="0"/>
                    <a:pt x="608697" y="77026"/>
                    <a:pt x="608697" y="175282"/>
                  </a:cubicBezTo>
                  <a:cubicBezTo>
                    <a:pt x="608697" y="230258"/>
                    <a:pt x="586020" y="283446"/>
                    <a:pt x="537309" y="342593"/>
                  </a:cubicBezTo>
                  <a:cubicBezTo>
                    <a:pt x="494865" y="394291"/>
                    <a:pt x="435711" y="447628"/>
                    <a:pt x="356864" y="517354"/>
                  </a:cubicBezTo>
                  <a:lnTo>
                    <a:pt x="317104" y="556835"/>
                  </a:lnTo>
                  <a:cubicBezTo>
                    <a:pt x="313598" y="560336"/>
                    <a:pt x="308973" y="562124"/>
                    <a:pt x="304349" y="562124"/>
                  </a:cubicBezTo>
                  <a:cubicBezTo>
                    <a:pt x="299724" y="562124"/>
                    <a:pt x="295099" y="560336"/>
                    <a:pt x="291593" y="556835"/>
                  </a:cubicBezTo>
                  <a:lnTo>
                    <a:pt x="251834" y="517354"/>
                  </a:lnTo>
                  <a:cubicBezTo>
                    <a:pt x="172986" y="447628"/>
                    <a:pt x="113832" y="394291"/>
                    <a:pt x="71388" y="342593"/>
                  </a:cubicBezTo>
                  <a:cubicBezTo>
                    <a:pt x="22677" y="283446"/>
                    <a:pt x="0" y="230258"/>
                    <a:pt x="0" y="175282"/>
                  </a:cubicBezTo>
                  <a:cubicBezTo>
                    <a:pt x="0" y="77026"/>
                    <a:pt x="77057" y="0"/>
                    <a:pt x="175448" y="0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200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58" name="组合 57"/>
          <p:cNvGrpSpPr/>
          <p:nvPr/>
        </p:nvGrpSpPr>
        <p:grpSpPr>
          <a:xfrm>
            <a:off x="5002251" y="2127754"/>
            <a:ext cx="2187498" cy="2187497"/>
            <a:chOff x="5002251" y="2127754"/>
            <a:chExt cx="2187498" cy="2187497"/>
          </a:xfrm>
        </p:grpSpPr>
        <p:sp>
          <p:nvSpPr>
            <p:cNvPr id="16" name="矩形: 圆角 15"/>
            <p:cNvSpPr/>
            <p:nvPr/>
          </p:nvSpPr>
          <p:spPr>
            <a:xfrm rot="2700000">
              <a:off x="5002251" y="2127754"/>
              <a:ext cx="2187497" cy="2187498"/>
            </a:xfrm>
            <a:prstGeom prst="roundRect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7" name="椭圆 8"/>
            <p:cNvSpPr/>
            <p:nvPr/>
          </p:nvSpPr>
          <p:spPr>
            <a:xfrm>
              <a:off x="5761132" y="2306947"/>
              <a:ext cx="669734" cy="680146"/>
            </a:xfrm>
            <a:custGeom>
              <a:avLst/>
              <a:gdLst>
                <a:gd name="connsiteX0" fmla="*/ 87620 w 596114"/>
                <a:gd name="connsiteY0" fmla="*/ 437153 h 605381"/>
                <a:gd name="connsiteX1" fmla="*/ 147471 w 596114"/>
                <a:gd name="connsiteY1" fmla="*/ 437153 h 605381"/>
                <a:gd name="connsiteX2" fmla="*/ 155808 w 596114"/>
                <a:gd name="connsiteY2" fmla="*/ 476105 h 605381"/>
                <a:gd name="connsiteX3" fmla="*/ 87620 w 596114"/>
                <a:gd name="connsiteY3" fmla="*/ 476105 h 605381"/>
                <a:gd name="connsiteX4" fmla="*/ 68166 w 596114"/>
                <a:gd name="connsiteY4" fmla="*/ 456679 h 605381"/>
                <a:gd name="connsiteX5" fmla="*/ 87620 w 596114"/>
                <a:gd name="connsiteY5" fmla="*/ 437153 h 605381"/>
                <a:gd name="connsiteX6" fmla="*/ 241113 w 596114"/>
                <a:gd name="connsiteY6" fmla="*/ 372802 h 605381"/>
                <a:gd name="connsiteX7" fmla="*/ 230888 w 596114"/>
                <a:gd name="connsiteY7" fmla="*/ 419692 h 605381"/>
                <a:gd name="connsiteX8" fmla="*/ 277846 w 596114"/>
                <a:gd name="connsiteY8" fmla="*/ 409481 h 605381"/>
                <a:gd name="connsiteX9" fmla="*/ 87625 w 596114"/>
                <a:gd name="connsiteY9" fmla="*/ 339420 h 605381"/>
                <a:gd name="connsiteX10" fmla="*/ 168439 w 596114"/>
                <a:gd name="connsiteY10" fmla="*/ 339420 h 605381"/>
                <a:gd name="connsiteX11" fmla="*/ 160000 w 596114"/>
                <a:gd name="connsiteY11" fmla="*/ 378372 h 605381"/>
                <a:gd name="connsiteX12" fmla="*/ 87625 w 596114"/>
                <a:gd name="connsiteY12" fmla="*/ 378372 h 605381"/>
                <a:gd name="connsiteX13" fmla="*/ 68166 w 596114"/>
                <a:gd name="connsiteY13" fmla="*/ 358946 h 605381"/>
                <a:gd name="connsiteX14" fmla="*/ 87625 w 596114"/>
                <a:gd name="connsiteY14" fmla="*/ 339420 h 605381"/>
                <a:gd name="connsiteX15" fmla="*/ 87622 w 596114"/>
                <a:gd name="connsiteY15" fmla="*/ 241687 h 605381"/>
                <a:gd name="connsiteX16" fmla="*/ 239005 w 596114"/>
                <a:gd name="connsiteY16" fmla="*/ 241687 h 605381"/>
                <a:gd name="connsiteX17" fmla="*/ 199993 w 596114"/>
                <a:gd name="connsiteY17" fmla="*/ 280639 h 605381"/>
                <a:gd name="connsiteX18" fmla="*/ 87622 w 596114"/>
                <a:gd name="connsiteY18" fmla="*/ 280639 h 605381"/>
                <a:gd name="connsiteX19" fmla="*/ 68166 w 596114"/>
                <a:gd name="connsiteY19" fmla="*/ 261213 h 605381"/>
                <a:gd name="connsiteX20" fmla="*/ 87622 w 596114"/>
                <a:gd name="connsiteY20" fmla="*/ 241687 h 605381"/>
                <a:gd name="connsiteX21" fmla="*/ 87627 w 596114"/>
                <a:gd name="connsiteY21" fmla="*/ 143954 h 605381"/>
                <a:gd name="connsiteX22" fmla="*/ 336949 w 596114"/>
                <a:gd name="connsiteY22" fmla="*/ 143954 h 605381"/>
                <a:gd name="connsiteX23" fmla="*/ 297927 w 596114"/>
                <a:gd name="connsiteY23" fmla="*/ 182906 h 605381"/>
                <a:gd name="connsiteX24" fmla="*/ 87627 w 596114"/>
                <a:gd name="connsiteY24" fmla="*/ 182906 h 605381"/>
                <a:gd name="connsiteX25" fmla="*/ 68166 w 596114"/>
                <a:gd name="connsiteY25" fmla="*/ 163480 h 605381"/>
                <a:gd name="connsiteX26" fmla="*/ 87627 w 596114"/>
                <a:gd name="connsiteY26" fmla="*/ 143954 h 605381"/>
                <a:gd name="connsiteX27" fmla="*/ 515787 w 596114"/>
                <a:gd name="connsiteY27" fmla="*/ 93955 h 605381"/>
                <a:gd name="connsiteX28" fmla="*/ 484936 w 596114"/>
                <a:gd name="connsiteY28" fmla="*/ 106334 h 605381"/>
                <a:gd name="connsiteX29" fmla="*/ 257196 w 596114"/>
                <a:gd name="connsiteY29" fmla="*/ 333744 h 605381"/>
                <a:gd name="connsiteX30" fmla="*/ 316961 w 596114"/>
                <a:gd name="connsiteY30" fmla="*/ 393422 h 605381"/>
                <a:gd name="connsiteX31" fmla="*/ 544701 w 596114"/>
                <a:gd name="connsiteY31" fmla="*/ 166012 h 605381"/>
                <a:gd name="connsiteX32" fmla="*/ 546190 w 596114"/>
                <a:gd name="connsiteY32" fmla="*/ 107821 h 605381"/>
                <a:gd name="connsiteX33" fmla="*/ 515787 w 596114"/>
                <a:gd name="connsiteY33" fmla="*/ 93955 h 605381"/>
                <a:gd name="connsiteX34" fmla="*/ 515178 w 596114"/>
                <a:gd name="connsiteY34" fmla="*/ 54984 h 605381"/>
                <a:gd name="connsiteX35" fmla="*/ 573094 w 596114"/>
                <a:gd name="connsiteY35" fmla="*/ 79668 h 605381"/>
                <a:gd name="connsiteX36" fmla="*/ 572300 w 596114"/>
                <a:gd name="connsiteY36" fmla="*/ 193571 h 605381"/>
                <a:gd name="connsiteX37" fmla="*/ 330760 w 596114"/>
                <a:gd name="connsiteY37" fmla="*/ 434760 h 605381"/>
                <a:gd name="connsiteX38" fmla="*/ 321031 w 596114"/>
                <a:gd name="connsiteY38" fmla="*/ 440014 h 605381"/>
                <a:gd name="connsiteX39" fmla="*/ 209543 w 596114"/>
                <a:gd name="connsiteY39" fmla="*/ 464202 h 605381"/>
                <a:gd name="connsiteX40" fmla="*/ 191674 w 596114"/>
                <a:gd name="connsiteY40" fmla="*/ 458849 h 605381"/>
                <a:gd name="connsiteX41" fmla="*/ 186412 w 596114"/>
                <a:gd name="connsiteY41" fmla="*/ 441005 h 605381"/>
                <a:gd name="connsiteX42" fmla="*/ 210536 w 596114"/>
                <a:gd name="connsiteY42" fmla="*/ 329680 h 605381"/>
                <a:gd name="connsiteX43" fmla="*/ 215798 w 596114"/>
                <a:gd name="connsiteY43" fmla="*/ 319965 h 605381"/>
                <a:gd name="connsiteX44" fmla="*/ 457338 w 596114"/>
                <a:gd name="connsiteY44" fmla="*/ 78776 h 605381"/>
                <a:gd name="connsiteX45" fmla="*/ 515178 w 596114"/>
                <a:gd name="connsiteY45" fmla="*/ 54984 h 605381"/>
                <a:gd name="connsiteX46" fmla="*/ 42688 w 596114"/>
                <a:gd name="connsiteY46" fmla="*/ 0 h 605381"/>
                <a:gd name="connsiteX47" fmla="*/ 398388 w 596114"/>
                <a:gd name="connsiteY47" fmla="*/ 0 h 605381"/>
                <a:gd name="connsiteX48" fmla="*/ 441076 w 596114"/>
                <a:gd name="connsiteY48" fmla="*/ 41337 h 605381"/>
                <a:gd name="connsiteX49" fmla="*/ 402160 w 596114"/>
                <a:gd name="connsiteY49" fmla="*/ 78907 h 605381"/>
                <a:gd name="connsiteX50" fmla="*/ 402160 w 596114"/>
                <a:gd name="connsiteY50" fmla="*/ 42625 h 605381"/>
                <a:gd name="connsiteX51" fmla="*/ 398388 w 596114"/>
                <a:gd name="connsiteY51" fmla="*/ 38958 h 605381"/>
                <a:gd name="connsiteX52" fmla="*/ 42688 w 596114"/>
                <a:gd name="connsiteY52" fmla="*/ 38958 h 605381"/>
                <a:gd name="connsiteX53" fmla="*/ 39015 w 596114"/>
                <a:gd name="connsiteY53" fmla="*/ 42625 h 605381"/>
                <a:gd name="connsiteX54" fmla="*/ 39015 w 596114"/>
                <a:gd name="connsiteY54" fmla="*/ 562656 h 605381"/>
                <a:gd name="connsiteX55" fmla="*/ 42688 w 596114"/>
                <a:gd name="connsiteY55" fmla="*/ 566423 h 605381"/>
                <a:gd name="connsiteX56" fmla="*/ 398388 w 596114"/>
                <a:gd name="connsiteY56" fmla="*/ 566423 h 605381"/>
                <a:gd name="connsiteX57" fmla="*/ 402160 w 596114"/>
                <a:gd name="connsiteY57" fmla="*/ 562656 h 605381"/>
                <a:gd name="connsiteX58" fmla="*/ 402160 w 596114"/>
                <a:gd name="connsiteY58" fmla="*/ 418622 h 605381"/>
                <a:gd name="connsiteX59" fmla="*/ 441175 w 596114"/>
                <a:gd name="connsiteY59" fmla="*/ 379664 h 605381"/>
                <a:gd name="connsiteX60" fmla="*/ 441175 w 596114"/>
                <a:gd name="connsiteY60" fmla="*/ 562656 h 605381"/>
                <a:gd name="connsiteX61" fmla="*/ 398388 w 596114"/>
                <a:gd name="connsiteY61" fmla="*/ 605381 h 605381"/>
                <a:gd name="connsiteX62" fmla="*/ 42688 w 596114"/>
                <a:gd name="connsiteY62" fmla="*/ 605381 h 605381"/>
                <a:gd name="connsiteX63" fmla="*/ 0 w 596114"/>
                <a:gd name="connsiteY63" fmla="*/ 562656 h 605381"/>
                <a:gd name="connsiteX64" fmla="*/ 0 w 596114"/>
                <a:gd name="connsiteY64" fmla="*/ 42625 h 605381"/>
                <a:gd name="connsiteX65" fmla="*/ 42688 w 596114"/>
                <a:gd name="connsiteY65" fmla="*/ 0 h 6053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</a:cxnLst>
              <a:rect l="l" t="t" r="r" b="b"/>
              <a:pathLst>
                <a:path w="596114" h="605381">
                  <a:moveTo>
                    <a:pt x="87620" y="437153"/>
                  </a:moveTo>
                  <a:lnTo>
                    <a:pt x="147471" y="437153"/>
                  </a:lnTo>
                  <a:cubicBezTo>
                    <a:pt x="145585" y="450930"/>
                    <a:pt x="148562" y="464608"/>
                    <a:pt x="155808" y="476105"/>
                  </a:cubicBezTo>
                  <a:lnTo>
                    <a:pt x="87620" y="476105"/>
                  </a:lnTo>
                  <a:cubicBezTo>
                    <a:pt x="76900" y="476105"/>
                    <a:pt x="68166" y="467383"/>
                    <a:pt x="68166" y="456679"/>
                  </a:cubicBezTo>
                  <a:cubicBezTo>
                    <a:pt x="68166" y="445875"/>
                    <a:pt x="76900" y="437153"/>
                    <a:pt x="87620" y="437153"/>
                  </a:cubicBezTo>
                  <a:close/>
                  <a:moveTo>
                    <a:pt x="241113" y="372802"/>
                  </a:moveTo>
                  <a:lnTo>
                    <a:pt x="230888" y="419692"/>
                  </a:lnTo>
                  <a:lnTo>
                    <a:pt x="277846" y="409481"/>
                  </a:lnTo>
                  <a:close/>
                  <a:moveTo>
                    <a:pt x="87625" y="339420"/>
                  </a:moveTo>
                  <a:lnTo>
                    <a:pt x="168439" y="339420"/>
                  </a:lnTo>
                  <a:lnTo>
                    <a:pt x="160000" y="378372"/>
                  </a:lnTo>
                  <a:lnTo>
                    <a:pt x="87625" y="378372"/>
                  </a:lnTo>
                  <a:cubicBezTo>
                    <a:pt x="76903" y="378372"/>
                    <a:pt x="68166" y="369650"/>
                    <a:pt x="68166" y="358946"/>
                  </a:cubicBezTo>
                  <a:cubicBezTo>
                    <a:pt x="68166" y="348142"/>
                    <a:pt x="76903" y="339420"/>
                    <a:pt x="87625" y="339420"/>
                  </a:cubicBezTo>
                  <a:close/>
                  <a:moveTo>
                    <a:pt x="87622" y="241687"/>
                  </a:moveTo>
                  <a:lnTo>
                    <a:pt x="239005" y="241687"/>
                  </a:lnTo>
                  <a:lnTo>
                    <a:pt x="199993" y="280639"/>
                  </a:lnTo>
                  <a:lnTo>
                    <a:pt x="87622" y="280639"/>
                  </a:lnTo>
                  <a:cubicBezTo>
                    <a:pt x="76902" y="280639"/>
                    <a:pt x="68166" y="271917"/>
                    <a:pt x="68166" y="261213"/>
                  </a:cubicBezTo>
                  <a:cubicBezTo>
                    <a:pt x="68166" y="250409"/>
                    <a:pt x="76902" y="241687"/>
                    <a:pt x="87622" y="241687"/>
                  </a:cubicBezTo>
                  <a:close/>
                  <a:moveTo>
                    <a:pt x="87627" y="143954"/>
                  </a:moveTo>
                  <a:lnTo>
                    <a:pt x="336949" y="143954"/>
                  </a:lnTo>
                  <a:lnTo>
                    <a:pt x="297927" y="182906"/>
                  </a:lnTo>
                  <a:lnTo>
                    <a:pt x="87627" y="182906"/>
                  </a:lnTo>
                  <a:cubicBezTo>
                    <a:pt x="76904" y="182906"/>
                    <a:pt x="68166" y="174184"/>
                    <a:pt x="68166" y="163480"/>
                  </a:cubicBezTo>
                  <a:cubicBezTo>
                    <a:pt x="68166" y="152676"/>
                    <a:pt x="76904" y="143954"/>
                    <a:pt x="87627" y="143954"/>
                  </a:cubicBezTo>
                  <a:close/>
                  <a:moveTo>
                    <a:pt x="515787" y="93955"/>
                  </a:moveTo>
                  <a:cubicBezTo>
                    <a:pt x="504643" y="93695"/>
                    <a:pt x="493425" y="97809"/>
                    <a:pt x="484936" y="106334"/>
                  </a:cubicBezTo>
                  <a:lnTo>
                    <a:pt x="257196" y="333744"/>
                  </a:lnTo>
                  <a:lnTo>
                    <a:pt x="316961" y="393422"/>
                  </a:lnTo>
                  <a:lnTo>
                    <a:pt x="544701" y="166012"/>
                  </a:lnTo>
                  <a:cubicBezTo>
                    <a:pt x="560784" y="149953"/>
                    <a:pt x="561082" y="124376"/>
                    <a:pt x="546190" y="107821"/>
                  </a:cubicBezTo>
                  <a:cubicBezTo>
                    <a:pt x="538000" y="98850"/>
                    <a:pt x="526930" y="94215"/>
                    <a:pt x="515787" y="93955"/>
                  </a:cubicBezTo>
                  <a:close/>
                  <a:moveTo>
                    <a:pt x="515178" y="54984"/>
                  </a:moveTo>
                  <a:cubicBezTo>
                    <a:pt x="536138" y="55083"/>
                    <a:pt x="557110" y="63262"/>
                    <a:pt x="573094" y="79668"/>
                  </a:cubicBezTo>
                  <a:cubicBezTo>
                    <a:pt x="603870" y="111291"/>
                    <a:pt x="603969" y="161948"/>
                    <a:pt x="572300" y="193571"/>
                  </a:cubicBezTo>
                  <a:lnTo>
                    <a:pt x="330760" y="434760"/>
                  </a:lnTo>
                  <a:cubicBezTo>
                    <a:pt x="328179" y="437337"/>
                    <a:pt x="324704" y="439221"/>
                    <a:pt x="321031" y="440014"/>
                  </a:cubicBezTo>
                  <a:lnTo>
                    <a:pt x="209543" y="464202"/>
                  </a:lnTo>
                  <a:cubicBezTo>
                    <a:pt x="203090" y="465590"/>
                    <a:pt x="196340" y="463607"/>
                    <a:pt x="191674" y="458849"/>
                  </a:cubicBezTo>
                  <a:cubicBezTo>
                    <a:pt x="186908" y="454190"/>
                    <a:pt x="185022" y="447350"/>
                    <a:pt x="186412" y="441005"/>
                  </a:cubicBezTo>
                  <a:lnTo>
                    <a:pt x="210536" y="329680"/>
                  </a:lnTo>
                  <a:cubicBezTo>
                    <a:pt x="211330" y="325913"/>
                    <a:pt x="213217" y="322542"/>
                    <a:pt x="215798" y="319965"/>
                  </a:cubicBezTo>
                  <a:cubicBezTo>
                    <a:pt x="225825" y="310051"/>
                    <a:pt x="439369" y="96719"/>
                    <a:pt x="457338" y="78776"/>
                  </a:cubicBezTo>
                  <a:cubicBezTo>
                    <a:pt x="473271" y="62865"/>
                    <a:pt x="494219" y="54885"/>
                    <a:pt x="515178" y="54984"/>
                  </a:cubicBezTo>
                  <a:close/>
                  <a:moveTo>
                    <a:pt x="42688" y="0"/>
                  </a:moveTo>
                  <a:lnTo>
                    <a:pt x="398388" y="0"/>
                  </a:lnTo>
                  <a:cubicBezTo>
                    <a:pt x="421519" y="0"/>
                    <a:pt x="440381" y="18438"/>
                    <a:pt x="441076" y="41337"/>
                  </a:cubicBezTo>
                  <a:lnTo>
                    <a:pt x="402160" y="78907"/>
                  </a:lnTo>
                  <a:lnTo>
                    <a:pt x="402160" y="42625"/>
                  </a:lnTo>
                  <a:cubicBezTo>
                    <a:pt x="402160" y="40643"/>
                    <a:pt x="400473" y="38958"/>
                    <a:pt x="398388" y="38958"/>
                  </a:cubicBezTo>
                  <a:lnTo>
                    <a:pt x="42688" y="38958"/>
                  </a:lnTo>
                  <a:cubicBezTo>
                    <a:pt x="40702" y="38958"/>
                    <a:pt x="39015" y="40643"/>
                    <a:pt x="39015" y="42625"/>
                  </a:cubicBezTo>
                  <a:lnTo>
                    <a:pt x="39015" y="562656"/>
                  </a:lnTo>
                  <a:cubicBezTo>
                    <a:pt x="39015" y="564738"/>
                    <a:pt x="40702" y="566423"/>
                    <a:pt x="42688" y="566423"/>
                  </a:cubicBezTo>
                  <a:lnTo>
                    <a:pt x="398388" y="566423"/>
                  </a:lnTo>
                  <a:cubicBezTo>
                    <a:pt x="400473" y="566423"/>
                    <a:pt x="402160" y="564738"/>
                    <a:pt x="402160" y="562656"/>
                  </a:cubicBezTo>
                  <a:lnTo>
                    <a:pt x="402160" y="418622"/>
                  </a:lnTo>
                  <a:lnTo>
                    <a:pt x="441175" y="379664"/>
                  </a:lnTo>
                  <a:lnTo>
                    <a:pt x="441175" y="562656"/>
                  </a:lnTo>
                  <a:cubicBezTo>
                    <a:pt x="441175" y="586249"/>
                    <a:pt x="422015" y="605381"/>
                    <a:pt x="398388" y="605381"/>
                  </a:cubicBezTo>
                  <a:lnTo>
                    <a:pt x="42688" y="605381"/>
                  </a:lnTo>
                  <a:cubicBezTo>
                    <a:pt x="19160" y="605381"/>
                    <a:pt x="0" y="586249"/>
                    <a:pt x="0" y="562656"/>
                  </a:cubicBezTo>
                  <a:lnTo>
                    <a:pt x="0" y="42625"/>
                  </a:lnTo>
                  <a:cubicBezTo>
                    <a:pt x="0" y="19132"/>
                    <a:pt x="19160" y="0"/>
                    <a:pt x="42688" y="0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200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59" name="组合 58"/>
          <p:cNvGrpSpPr/>
          <p:nvPr/>
        </p:nvGrpSpPr>
        <p:grpSpPr>
          <a:xfrm>
            <a:off x="8528631" y="2127754"/>
            <a:ext cx="2187498" cy="2187497"/>
            <a:chOff x="8528631" y="2127754"/>
            <a:chExt cx="2187498" cy="2187497"/>
          </a:xfrm>
        </p:grpSpPr>
        <p:sp>
          <p:nvSpPr>
            <p:cNvPr id="20" name="矩形: 圆角 19"/>
            <p:cNvSpPr/>
            <p:nvPr/>
          </p:nvSpPr>
          <p:spPr>
            <a:xfrm rot="2700000">
              <a:off x="8528631" y="2127754"/>
              <a:ext cx="2187497" cy="2187498"/>
            </a:xfrm>
            <a:prstGeom prst="roundRect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000" dirty="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1" name="椭圆 13"/>
            <p:cNvSpPr/>
            <p:nvPr/>
          </p:nvSpPr>
          <p:spPr>
            <a:xfrm>
              <a:off x="9282306" y="2331868"/>
              <a:ext cx="680146" cy="630305"/>
            </a:xfrm>
            <a:custGeom>
              <a:avLst/>
              <a:gdLst>
                <a:gd name="T0" fmla="*/ 5404 w 6827"/>
                <a:gd name="T1" fmla="*/ 0 h 6336"/>
                <a:gd name="T2" fmla="*/ 1422 w 6827"/>
                <a:gd name="T3" fmla="*/ 0 h 6336"/>
                <a:gd name="T4" fmla="*/ 0 w 6827"/>
                <a:gd name="T5" fmla="*/ 1422 h 6336"/>
                <a:gd name="T6" fmla="*/ 0 w 6827"/>
                <a:gd name="T7" fmla="*/ 3698 h 6336"/>
                <a:gd name="T8" fmla="*/ 1422 w 6827"/>
                <a:gd name="T9" fmla="*/ 5120 h 6336"/>
                <a:gd name="T10" fmla="*/ 2276 w 6827"/>
                <a:gd name="T11" fmla="*/ 5120 h 6336"/>
                <a:gd name="T12" fmla="*/ 2560 w 6827"/>
                <a:gd name="T13" fmla="*/ 4836 h 6336"/>
                <a:gd name="T14" fmla="*/ 2276 w 6827"/>
                <a:gd name="T15" fmla="*/ 4551 h 6336"/>
                <a:gd name="T16" fmla="*/ 1422 w 6827"/>
                <a:gd name="T17" fmla="*/ 4551 h 6336"/>
                <a:gd name="T18" fmla="*/ 569 w 6827"/>
                <a:gd name="T19" fmla="*/ 3698 h 6336"/>
                <a:gd name="T20" fmla="*/ 569 w 6827"/>
                <a:gd name="T21" fmla="*/ 1422 h 6336"/>
                <a:gd name="T22" fmla="*/ 1422 w 6827"/>
                <a:gd name="T23" fmla="*/ 569 h 6336"/>
                <a:gd name="T24" fmla="*/ 5404 w 6827"/>
                <a:gd name="T25" fmla="*/ 569 h 6336"/>
                <a:gd name="T26" fmla="*/ 6258 w 6827"/>
                <a:gd name="T27" fmla="*/ 1422 h 6336"/>
                <a:gd name="T28" fmla="*/ 6258 w 6827"/>
                <a:gd name="T29" fmla="*/ 3698 h 6336"/>
                <a:gd name="T30" fmla="*/ 5404 w 6827"/>
                <a:gd name="T31" fmla="*/ 4551 h 6336"/>
                <a:gd name="T32" fmla="*/ 5404 w 6827"/>
                <a:gd name="T33" fmla="*/ 3698 h 6336"/>
                <a:gd name="T34" fmla="*/ 4962 w 6827"/>
                <a:gd name="T35" fmla="*/ 3461 h 6336"/>
                <a:gd name="T36" fmla="*/ 3256 w 6827"/>
                <a:gd name="T37" fmla="*/ 4599 h 6336"/>
                <a:gd name="T38" fmla="*/ 3256 w 6827"/>
                <a:gd name="T39" fmla="*/ 5072 h 6336"/>
                <a:gd name="T40" fmla="*/ 4962 w 6827"/>
                <a:gd name="T41" fmla="*/ 6210 h 6336"/>
                <a:gd name="T42" fmla="*/ 5404 w 6827"/>
                <a:gd name="T43" fmla="*/ 5974 h 6336"/>
                <a:gd name="T44" fmla="*/ 5404 w 6827"/>
                <a:gd name="T45" fmla="*/ 5120 h 6336"/>
                <a:gd name="T46" fmla="*/ 6827 w 6827"/>
                <a:gd name="T47" fmla="*/ 3698 h 6336"/>
                <a:gd name="T48" fmla="*/ 6827 w 6827"/>
                <a:gd name="T49" fmla="*/ 1422 h 6336"/>
                <a:gd name="T50" fmla="*/ 5404 w 6827"/>
                <a:gd name="T51" fmla="*/ 0 h 6336"/>
                <a:gd name="T52" fmla="*/ 4836 w 6827"/>
                <a:gd name="T53" fmla="*/ 5442 h 6336"/>
                <a:gd name="T54" fmla="*/ 3926 w 6827"/>
                <a:gd name="T55" fmla="*/ 4836 h 6336"/>
                <a:gd name="T56" fmla="*/ 4836 w 6827"/>
                <a:gd name="T57" fmla="*/ 4229 h 6336"/>
                <a:gd name="T58" fmla="*/ 4836 w 6827"/>
                <a:gd name="T59" fmla="*/ 5442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6827" h="6336">
                  <a:moveTo>
                    <a:pt x="5404" y="0"/>
                  </a:moveTo>
                  <a:lnTo>
                    <a:pt x="1422" y="0"/>
                  </a:lnTo>
                  <a:cubicBezTo>
                    <a:pt x="637" y="0"/>
                    <a:pt x="0" y="637"/>
                    <a:pt x="0" y="1422"/>
                  </a:cubicBezTo>
                  <a:lnTo>
                    <a:pt x="0" y="3698"/>
                  </a:lnTo>
                  <a:cubicBezTo>
                    <a:pt x="0" y="4483"/>
                    <a:pt x="637" y="5120"/>
                    <a:pt x="1422" y="5120"/>
                  </a:cubicBezTo>
                  <a:lnTo>
                    <a:pt x="2276" y="5120"/>
                  </a:lnTo>
                  <a:cubicBezTo>
                    <a:pt x="2433" y="5120"/>
                    <a:pt x="2560" y="4993"/>
                    <a:pt x="2560" y="4836"/>
                  </a:cubicBezTo>
                  <a:cubicBezTo>
                    <a:pt x="2560" y="4679"/>
                    <a:pt x="2433" y="4551"/>
                    <a:pt x="2276" y="4551"/>
                  </a:cubicBezTo>
                  <a:lnTo>
                    <a:pt x="1422" y="4551"/>
                  </a:lnTo>
                  <a:cubicBezTo>
                    <a:pt x="951" y="4551"/>
                    <a:pt x="569" y="4169"/>
                    <a:pt x="569" y="3698"/>
                  </a:cubicBezTo>
                  <a:lnTo>
                    <a:pt x="569" y="1422"/>
                  </a:lnTo>
                  <a:cubicBezTo>
                    <a:pt x="569" y="951"/>
                    <a:pt x="951" y="569"/>
                    <a:pt x="1422" y="569"/>
                  </a:cubicBezTo>
                  <a:lnTo>
                    <a:pt x="5404" y="569"/>
                  </a:lnTo>
                  <a:cubicBezTo>
                    <a:pt x="5876" y="569"/>
                    <a:pt x="6258" y="951"/>
                    <a:pt x="6258" y="1422"/>
                  </a:cubicBezTo>
                  <a:lnTo>
                    <a:pt x="6258" y="3698"/>
                  </a:lnTo>
                  <a:cubicBezTo>
                    <a:pt x="6258" y="4169"/>
                    <a:pt x="5876" y="4551"/>
                    <a:pt x="5404" y="4551"/>
                  </a:cubicBezTo>
                  <a:lnTo>
                    <a:pt x="5404" y="3698"/>
                  </a:lnTo>
                  <a:cubicBezTo>
                    <a:pt x="5404" y="3471"/>
                    <a:pt x="5151" y="3335"/>
                    <a:pt x="4962" y="3461"/>
                  </a:cubicBezTo>
                  <a:lnTo>
                    <a:pt x="3256" y="4599"/>
                  </a:lnTo>
                  <a:cubicBezTo>
                    <a:pt x="3087" y="4712"/>
                    <a:pt x="3087" y="4960"/>
                    <a:pt x="3256" y="5072"/>
                  </a:cubicBezTo>
                  <a:lnTo>
                    <a:pt x="4962" y="6210"/>
                  </a:lnTo>
                  <a:cubicBezTo>
                    <a:pt x="5151" y="6336"/>
                    <a:pt x="5404" y="6201"/>
                    <a:pt x="5404" y="5974"/>
                  </a:cubicBezTo>
                  <a:lnTo>
                    <a:pt x="5404" y="5120"/>
                  </a:lnTo>
                  <a:cubicBezTo>
                    <a:pt x="6190" y="5120"/>
                    <a:pt x="6827" y="4483"/>
                    <a:pt x="6827" y="3698"/>
                  </a:cubicBezTo>
                  <a:lnTo>
                    <a:pt x="6827" y="1422"/>
                  </a:lnTo>
                  <a:cubicBezTo>
                    <a:pt x="6827" y="637"/>
                    <a:pt x="6190" y="0"/>
                    <a:pt x="5404" y="0"/>
                  </a:cubicBezTo>
                  <a:close/>
                  <a:moveTo>
                    <a:pt x="4836" y="5442"/>
                  </a:moveTo>
                  <a:lnTo>
                    <a:pt x="3926" y="4836"/>
                  </a:lnTo>
                  <a:lnTo>
                    <a:pt x="4836" y="4229"/>
                  </a:lnTo>
                  <a:lnTo>
                    <a:pt x="4836" y="5442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sz="200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24" name="矩形: 圆角 23"/>
          <p:cNvSpPr/>
          <p:nvPr/>
        </p:nvSpPr>
        <p:spPr>
          <a:xfrm rot="2700000">
            <a:off x="3766730" y="1715466"/>
            <a:ext cx="1132159" cy="1132160"/>
          </a:xfrm>
          <a:prstGeom prst="roundRect">
            <a:avLst/>
          </a:prstGeom>
          <a:blipFill dpi="0" rotWithShape="0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5" name="矩形: 圆角 24"/>
          <p:cNvSpPr/>
          <p:nvPr/>
        </p:nvSpPr>
        <p:spPr>
          <a:xfrm rot="2700000">
            <a:off x="7293110" y="1715466"/>
            <a:ext cx="1132159" cy="1132160"/>
          </a:xfrm>
          <a:prstGeom prst="roundRect">
            <a:avLst/>
          </a:prstGeom>
          <a:blipFill dpi="0" rotWithShape="0">
            <a:blip r:embed="rId4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6" name="矩形: 圆角 25"/>
          <p:cNvSpPr/>
          <p:nvPr/>
        </p:nvSpPr>
        <p:spPr>
          <a:xfrm rot="2700000">
            <a:off x="3766730" y="3593368"/>
            <a:ext cx="1132159" cy="1132160"/>
          </a:xfrm>
          <a:prstGeom prst="roundRect">
            <a:avLst/>
          </a:prstGeom>
          <a:blipFill dpi="0" rotWithShape="0">
            <a:blip r:embed="rId5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7" name="矩形: 圆角 26"/>
          <p:cNvSpPr/>
          <p:nvPr/>
        </p:nvSpPr>
        <p:spPr>
          <a:xfrm rot="2700000">
            <a:off x="7293110" y="3593368"/>
            <a:ext cx="1132159" cy="1132160"/>
          </a:xfrm>
          <a:prstGeom prst="roundRect">
            <a:avLst/>
          </a:prstGeom>
          <a:blipFill dpi="0" rotWithShape="0">
            <a:blip r:embed="rId6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00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30" name="TextBox 42"/>
          <p:cNvSpPr txBox="1"/>
          <p:nvPr/>
        </p:nvSpPr>
        <p:spPr>
          <a:xfrm>
            <a:off x="1749555" y="3358890"/>
            <a:ext cx="16401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添加标题</a:t>
            </a:r>
          </a:p>
        </p:txBody>
      </p:sp>
      <p:sp>
        <p:nvSpPr>
          <p:cNvPr id="34" name="TextBox 42"/>
          <p:cNvSpPr txBox="1"/>
          <p:nvPr/>
        </p:nvSpPr>
        <p:spPr>
          <a:xfrm>
            <a:off x="5275935" y="3358890"/>
            <a:ext cx="16401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添加标题</a:t>
            </a:r>
          </a:p>
        </p:txBody>
      </p:sp>
      <p:sp>
        <p:nvSpPr>
          <p:cNvPr id="35" name="TextBox 42"/>
          <p:cNvSpPr txBox="1"/>
          <p:nvPr/>
        </p:nvSpPr>
        <p:spPr>
          <a:xfrm>
            <a:off x="8802315" y="3358890"/>
            <a:ext cx="1640128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algn="ctr"/>
            <a:r>
              <a:rPr lang="zh-CN" altLang="en-US" sz="2400" b="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添加标题</a:t>
            </a:r>
          </a:p>
        </p:txBody>
      </p:sp>
      <p:sp>
        <p:nvSpPr>
          <p:cNvPr id="36" name="TextBox 53"/>
          <p:cNvSpPr txBox="1"/>
          <p:nvPr/>
        </p:nvSpPr>
        <p:spPr>
          <a:xfrm>
            <a:off x="1795332" y="5379158"/>
            <a:ext cx="8601337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。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  <a:p>
            <a:pPr algn="ctr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。点击输入简要文字内容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60" name="组合 59"/>
          <p:cNvGrpSpPr/>
          <p:nvPr/>
        </p:nvGrpSpPr>
        <p:grpSpPr>
          <a:xfrm>
            <a:off x="1198474" y="5318506"/>
            <a:ext cx="9976209" cy="921957"/>
            <a:chOff x="1198474" y="5318506"/>
            <a:chExt cx="9976209" cy="921957"/>
          </a:xfrm>
        </p:grpSpPr>
        <p:sp>
          <p:nvSpPr>
            <p:cNvPr id="8" name="半闭框 7"/>
            <p:cNvSpPr/>
            <p:nvPr/>
          </p:nvSpPr>
          <p:spPr>
            <a:xfrm>
              <a:off x="1198474" y="5318506"/>
              <a:ext cx="362312" cy="362312"/>
            </a:xfrm>
            <a:prstGeom prst="halfFrame">
              <a:avLst>
                <a:gd name="adj1" fmla="val 13326"/>
                <a:gd name="adj2" fmla="val 15827"/>
              </a:avLst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0" name="半闭框 39"/>
            <p:cNvSpPr/>
            <p:nvPr/>
          </p:nvSpPr>
          <p:spPr>
            <a:xfrm rot="10800000">
              <a:off x="10812371" y="5878151"/>
              <a:ext cx="362312" cy="362312"/>
            </a:xfrm>
            <a:prstGeom prst="halfFrame">
              <a:avLst>
                <a:gd name="adj1" fmla="val 13326"/>
                <a:gd name="adj2" fmla="val 15827"/>
              </a:avLst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solidFill>
                  <a:schemeClr val="tx1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31" name="文本框 3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不足之处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53" presetClass="entr" presetSubtype="52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53" presetClass="entr" presetSubtype="52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500"/>
                            </p:stCondLst>
                            <p:childTnLst>
                              <p:par>
                                <p:cTn id="27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29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5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000"/>
                            </p:stCondLst>
                            <p:childTnLst>
                              <p:par>
                                <p:cTn id="37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1500"/>
                            </p:stCondLst>
                            <p:childTnLst>
                              <p:par>
                                <p:cTn id="58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2000"/>
                            </p:stCondLst>
                            <p:childTnLst>
                              <p:par>
                                <p:cTn id="6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25" grpId="0" animBg="1"/>
      <p:bldP spid="26" grpId="0" animBg="1"/>
      <p:bldP spid="27" grpId="0" animBg="1"/>
      <p:bldP spid="30" grpId="0"/>
      <p:bldP spid="34" grpId="0"/>
      <p:bldP spid="35" grpId="0"/>
      <p:bldP spid="3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/>
        </p:nvSpPr>
        <p:spPr>
          <a:xfrm>
            <a:off x="-7200" y="6501341"/>
            <a:ext cx="12206400" cy="356659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5" name="矩形 4"/>
          <p:cNvSpPr/>
          <p:nvPr/>
        </p:nvSpPr>
        <p:spPr>
          <a:xfrm>
            <a:off x="-15280" y="0"/>
            <a:ext cx="12207280" cy="356659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1775521" y="1676482"/>
            <a:ext cx="2531801" cy="3505038"/>
            <a:chOff x="1289978" y="1257361"/>
            <a:chExt cx="1898851" cy="2628778"/>
          </a:xfrm>
        </p:grpSpPr>
        <p:sp>
          <p:nvSpPr>
            <p:cNvPr id="6" name="文本框 5"/>
            <p:cNvSpPr txBox="1"/>
            <p:nvPr/>
          </p:nvSpPr>
          <p:spPr>
            <a:xfrm>
              <a:off x="2023606" y="2139702"/>
              <a:ext cx="1165223" cy="68475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5335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目录</a:t>
              </a:r>
            </a:p>
          </p:txBody>
        </p:sp>
        <p:sp>
          <p:nvSpPr>
            <p:cNvPr id="7" name="矩形 6"/>
            <p:cNvSpPr/>
            <p:nvPr/>
          </p:nvSpPr>
          <p:spPr>
            <a:xfrm>
              <a:off x="1289978" y="1257361"/>
              <a:ext cx="1327022" cy="2628778"/>
            </a:xfrm>
            <a:custGeom>
              <a:avLst/>
              <a:gdLst>
                <a:gd name="connsiteX0" fmla="*/ 0 w 1584176"/>
                <a:gd name="connsiteY0" fmla="*/ 0 h 2448272"/>
                <a:gd name="connsiteX1" fmla="*/ 1584176 w 1584176"/>
                <a:gd name="connsiteY1" fmla="*/ 0 h 2448272"/>
                <a:gd name="connsiteX2" fmla="*/ 1584176 w 1584176"/>
                <a:gd name="connsiteY2" fmla="*/ 2448272 h 2448272"/>
                <a:gd name="connsiteX3" fmla="*/ 0 w 1584176"/>
                <a:gd name="connsiteY3" fmla="*/ 2448272 h 2448272"/>
                <a:gd name="connsiteX4" fmla="*/ 0 w 1584176"/>
                <a:gd name="connsiteY4" fmla="*/ 0 h 2448272"/>
                <a:gd name="connsiteX0-1" fmla="*/ 0 w 1585292"/>
                <a:gd name="connsiteY0-2" fmla="*/ 0 h 2448272"/>
                <a:gd name="connsiteX1-3" fmla="*/ 1584176 w 1585292"/>
                <a:gd name="connsiteY1-4" fmla="*/ 0 h 2448272"/>
                <a:gd name="connsiteX2-5" fmla="*/ 1585292 w 1585292"/>
                <a:gd name="connsiteY2-6" fmla="*/ 1220326 h 2448272"/>
                <a:gd name="connsiteX3-7" fmla="*/ 1584176 w 1585292"/>
                <a:gd name="connsiteY3-8" fmla="*/ 2448272 h 2448272"/>
                <a:gd name="connsiteX4-9" fmla="*/ 0 w 1585292"/>
                <a:gd name="connsiteY4-10" fmla="*/ 2448272 h 2448272"/>
                <a:gd name="connsiteX5" fmla="*/ 0 w 1585292"/>
                <a:gd name="connsiteY5" fmla="*/ 0 h 2448272"/>
                <a:gd name="connsiteX0-11" fmla="*/ 1585292 w 1676732"/>
                <a:gd name="connsiteY0-12" fmla="*/ 1220326 h 2448272"/>
                <a:gd name="connsiteX1-13" fmla="*/ 1584176 w 1676732"/>
                <a:gd name="connsiteY1-14" fmla="*/ 2448272 h 2448272"/>
                <a:gd name="connsiteX2-15" fmla="*/ 0 w 1676732"/>
                <a:gd name="connsiteY2-16" fmla="*/ 2448272 h 2448272"/>
                <a:gd name="connsiteX3-17" fmla="*/ 0 w 1676732"/>
                <a:gd name="connsiteY3-18" fmla="*/ 0 h 2448272"/>
                <a:gd name="connsiteX4-19" fmla="*/ 1584176 w 1676732"/>
                <a:gd name="connsiteY4-20" fmla="*/ 0 h 2448272"/>
                <a:gd name="connsiteX5-21" fmla="*/ 1676732 w 1676732"/>
                <a:gd name="connsiteY5-22" fmla="*/ 1311766 h 2448272"/>
                <a:gd name="connsiteX0-23" fmla="*/ 1585292 w 1585292"/>
                <a:gd name="connsiteY0-24" fmla="*/ 1220326 h 2448272"/>
                <a:gd name="connsiteX1-25" fmla="*/ 1584176 w 1585292"/>
                <a:gd name="connsiteY1-26" fmla="*/ 2448272 h 2448272"/>
                <a:gd name="connsiteX2-27" fmla="*/ 0 w 1585292"/>
                <a:gd name="connsiteY2-28" fmla="*/ 2448272 h 2448272"/>
                <a:gd name="connsiteX3-29" fmla="*/ 0 w 1585292"/>
                <a:gd name="connsiteY3-30" fmla="*/ 0 h 2448272"/>
                <a:gd name="connsiteX4-31" fmla="*/ 1584176 w 1585292"/>
                <a:gd name="connsiteY4-32" fmla="*/ 0 h 2448272"/>
                <a:gd name="connsiteX5-33" fmla="*/ 1585292 w 1585292"/>
                <a:gd name="connsiteY5-34" fmla="*/ 953626 h 2448272"/>
                <a:gd name="connsiteX0-35" fmla="*/ 1585292 w 1585292"/>
                <a:gd name="connsiteY0-36" fmla="*/ 1220326 h 2448272"/>
                <a:gd name="connsiteX1-37" fmla="*/ 1584176 w 1585292"/>
                <a:gd name="connsiteY1-38" fmla="*/ 2448272 h 2448272"/>
                <a:gd name="connsiteX2-39" fmla="*/ 0 w 1585292"/>
                <a:gd name="connsiteY2-40" fmla="*/ 2448272 h 2448272"/>
                <a:gd name="connsiteX3-41" fmla="*/ 0 w 1585292"/>
                <a:gd name="connsiteY3-42" fmla="*/ 0 h 2448272"/>
                <a:gd name="connsiteX4-43" fmla="*/ 1584176 w 1585292"/>
                <a:gd name="connsiteY4-44" fmla="*/ 0 h 2448272"/>
                <a:gd name="connsiteX5-45" fmla="*/ 1585292 w 1585292"/>
                <a:gd name="connsiteY5-46" fmla="*/ 664066 h 2448272"/>
                <a:gd name="connsiteX0-47" fmla="*/ 1577672 w 1585292"/>
                <a:gd name="connsiteY0-48" fmla="*/ 1967086 h 2448272"/>
                <a:gd name="connsiteX1-49" fmla="*/ 1584176 w 1585292"/>
                <a:gd name="connsiteY1-50" fmla="*/ 2448272 h 2448272"/>
                <a:gd name="connsiteX2-51" fmla="*/ 0 w 1585292"/>
                <a:gd name="connsiteY2-52" fmla="*/ 2448272 h 2448272"/>
                <a:gd name="connsiteX3-53" fmla="*/ 0 w 1585292"/>
                <a:gd name="connsiteY3-54" fmla="*/ 0 h 2448272"/>
                <a:gd name="connsiteX4-55" fmla="*/ 1584176 w 1585292"/>
                <a:gd name="connsiteY4-56" fmla="*/ 0 h 2448272"/>
                <a:gd name="connsiteX5-57" fmla="*/ 1585292 w 1585292"/>
                <a:gd name="connsiteY5-58" fmla="*/ 664066 h 2448272"/>
                <a:gd name="connsiteX0-59" fmla="*/ 1585292 w 1585292"/>
                <a:gd name="connsiteY0-60" fmla="*/ 1578466 h 2448272"/>
                <a:gd name="connsiteX1-61" fmla="*/ 1584176 w 1585292"/>
                <a:gd name="connsiteY1-62" fmla="*/ 2448272 h 2448272"/>
                <a:gd name="connsiteX2-63" fmla="*/ 0 w 1585292"/>
                <a:gd name="connsiteY2-64" fmla="*/ 2448272 h 2448272"/>
                <a:gd name="connsiteX3-65" fmla="*/ 0 w 1585292"/>
                <a:gd name="connsiteY3-66" fmla="*/ 0 h 2448272"/>
                <a:gd name="connsiteX4-67" fmla="*/ 1584176 w 1585292"/>
                <a:gd name="connsiteY4-68" fmla="*/ 0 h 2448272"/>
                <a:gd name="connsiteX5-69" fmla="*/ 1585292 w 1585292"/>
                <a:gd name="connsiteY5-70" fmla="*/ 664066 h 2448272"/>
              </a:gdLst>
              <a:ahLst/>
              <a:cxnLst>
                <a:cxn ang="0">
                  <a:pos x="connsiteX0-1" y="connsiteY0-2"/>
                </a:cxn>
                <a:cxn ang="0">
                  <a:pos x="connsiteX1-3" y="connsiteY1-4"/>
                </a:cxn>
                <a:cxn ang="0">
                  <a:pos x="connsiteX2-5" y="connsiteY2-6"/>
                </a:cxn>
                <a:cxn ang="0">
                  <a:pos x="connsiteX3-7" y="connsiteY3-8"/>
                </a:cxn>
                <a:cxn ang="0">
                  <a:pos x="connsiteX4-9" y="connsiteY4-10"/>
                </a:cxn>
                <a:cxn ang="0">
                  <a:pos x="connsiteX5-21" y="connsiteY5-22"/>
                </a:cxn>
              </a:cxnLst>
              <a:rect l="l" t="t" r="r" b="b"/>
              <a:pathLst>
                <a:path w="1585292" h="2448272">
                  <a:moveTo>
                    <a:pt x="1585292" y="1578466"/>
                  </a:moveTo>
                  <a:lnTo>
                    <a:pt x="1584176" y="2448272"/>
                  </a:lnTo>
                  <a:lnTo>
                    <a:pt x="0" y="2448272"/>
                  </a:lnTo>
                  <a:lnTo>
                    <a:pt x="0" y="0"/>
                  </a:lnTo>
                  <a:lnTo>
                    <a:pt x="1584176" y="0"/>
                  </a:lnTo>
                  <a:cubicBezTo>
                    <a:pt x="1584548" y="406775"/>
                    <a:pt x="1585292" y="664066"/>
                    <a:pt x="1585292" y="664066"/>
                  </a:cubicBezTo>
                </a:path>
              </a:pathLst>
            </a:custGeom>
            <a:noFill/>
            <a:ln w="57150">
              <a:solidFill>
                <a:schemeClr val="lt1">
                  <a:lumMod val="10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 dirty="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" name="文本框 7"/>
            <p:cNvSpPr txBox="1"/>
            <p:nvPr/>
          </p:nvSpPr>
          <p:spPr>
            <a:xfrm>
              <a:off x="1362887" y="1410271"/>
              <a:ext cx="815657" cy="2175884"/>
            </a:xfrm>
            <a:prstGeom prst="rect">
              <a:avLst/>
            </a:prstGeom>
            <a:noFill/>
          </p:spPr>
          <p:txBody>
            <a:bodyPr vert="eaVert" wrap="none" rtlCol="0">
              <a:spAutoFit/>
            </a:bodyPr>
            <a:lstStyle/>
            <a:p>
              <a:r>
                <a:rPr lang="en-US" altLang="zh-CN" sz="5865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content</a:t>
              </a:r>
              <a:endParaRPr lang="zh-CN" altLang="en-US" sz="5865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10" name="矩形: 圆角 9"/>
          <p:cNvSpPr/>
          <p:nvPr/>
        </p:nvSpPr>
        <p:spPr>
          <a:xfrm>
            <a:off x="5807969" y="1220497"/>
            <a:ext cx="768343" cy="768343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01</a:t>
            </a:r>
            <a:endParaRPr lang="zh-CN" altLang="en-US" sz="2400" dirty="0">
              <a:solidFill>
                <a:srgbClr val="7030A0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1" name="矩形: 圆角 10"/>
          <p:cNvSpPr/>
          <p:nvPr/>
        </p:nvSpPr>
        <p:spPr>
          <a:xfrm>
            <a:off x="5807969" y="2358033"/>
            <a:ext cx="768343" cy="768343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02</a:t>
            </a:r>
            <a:endParaRPr lang="zh-CN" altLang="en-US" sz="2400" dirty="0">
              <a:solidFill>
                <a:srgbClr val="7030A0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2" name="矩形: 圆角 11"/>
          <p:cNvSpPr/>
          <p:nvPr/>
        </p:nvSpPr>
        <p:spPr>
          <a:xfrm>
            <a:off x="5807969" y="3495569"/>
            <a:ext cx="768343" cy="768343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03</a:t>
            </a:r>
            <a:endParaRPr lang="zh-CN" altLang="en-US" sz="2400" dirty="0">
              <a:solidFill>
                <a:srgbClr val="7030A0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3" name="矩形: 圆角 12"/>
          <p:cNvSpPr/>
          <p:nvPr/>
        </p:nvSpPr>
        <p:spPr>
          <a:xfrm>
            <a:off x="5807969" y="4633103"/>
            <a:ext cx="768343" cy="768343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sz="240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04</a:t>
            </a:r>
            <a:endParaRPr lang="zh-CN" altLang="en-US" sz="2400" dirty="0">
              <a:solidFill>
                <a:srgbClr val="7030A0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6960098" y="1184040"/>
            <a:ext cx="3936437" cy="1036310"/>
            <a:chOff x="1082682" y="2686653"/>
            <a:chExt cx="2952328" cy="777232"/>
          </a:xfrm>
        </p:grpSpPr>
        <p:sp>
          <p:nvSpPr>
            <p:cNvPr id="15" name="TextBox 39"/>
            <p:cNvSpPr txBox="1"/>
            <p:nvPr/>
          </p:nvSpPr>
          <p:spPr>
            <a:xfrm>
              <a:off x="1082682" y="2686653"/>
              <a:ext cx="1061829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工作概述</a:t>
              </a:r>
            </a:p>
          </p:txBody>
        </p:sp>
        <p:sp>
          <p:nvSpPr>
            <p:cNvPr id="16" name="TextBox 40"/>
            <p:cNvSpPr txBox="1"/>
            <p:nvPr/>
          </p:nvSpPr>
          <p:spPr>
            <a:xfrm>
              <a:off x="1082682" y="3055985"/>
              <a:ext cx="2952328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65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A that adds the title and content of the catalog</a:t>
              </a:r>
              <a:endParaRPr lang="zh-CN" altLang="en-US" sz="1465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17" name="组合 16"/>
          <p:cNvGrpSpPr/>
          <p:nvPr/>
        </p:nvGrpSpPr>
        <p:grpSpPr>
          <a:xfrm>
            <a:off x="6960098" y="2320815"/>
            <a:ext cx="3936437" cy="1036310"/>
            <a:chOff x="1082682" y="2686653"/>
            <a:chExt cx="2952328" cy="777232"/>
          </a:xfrm>
        </p:grpSpPr>
        <p:sp>
          <p:nvSpPr>
            <p:cNvPr id="18" name="TextBox 39"/>
            <p:cNvSpPr txBox="1"/>
            <p:nvPr/>
          </p:nvSpPr>
          <p:spPr>
            <a:xfrm>
              <a:off x="1082682" y="2686653"/>
              <a:ext cx="15234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工作完成情况</a:t>
              </a:r>
            </a:p>
          </p:txBody>
        </p:sp>
        <p:sp>
          <p:nvSpPr>
            <p:cNvPr id="19" name="TextBox 40"/>
            <p:cNvSpPr txBox="1"/>
            <p:nvPr/>
          </p:nvSpPr>
          <p:spPr>
            <a:xfrm>
              <a:off x="1082682" y="3055985"/>
              <a:ext cx="2952328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65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A that adds the title and content of the catalog</a:t>
              </a:r>
              <a:endParaRPr lang="zh-CN" altLang="en-US" sz="1465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20" name="组合 19"/>
          <p:cNvGrpSpPr/>
          <p:nvPr/>
        </p:nvGrpSpPr>
        <p:grpSpPr>
          <a:xfrm>
            <a:off x="6960098" y="3457590"/>
            <a:ext cx="3936437" cy="1036310"/>
            <a:chOff x="1082682" y="2686653"/>
            <a:chExt cx="2952328" cy="777232"/>
          </a:xfrm>
        </p:grpSpPr>
        <p:sp>
          <p:nvSpPr>
            <p:cNvPr id="21" name="TextBox 39"/>
            <p:cNvSpPr txBox="1"/>
            <p:nvPr/>
          </p:nvSpPr>
          <p:spPr>
            <a:xfrm>
              <a:off x="1082682" y="2686653"/>
              <a:ext cx="1523494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项目成果展示</a:t>
              </a:r>
            </a:p>
          </p:txBody>
        </p:sp>
        <p:sp>
          <p:nvSpPr>
            <p:cNvPr id="22" name="TextBox 40"/>
            <p:cNvSpPr txBox="1"/>
            <p:nvPr/>
          </p:nvSpPr>
          <p:spPr>
            <a:xfrm>
              <a:off x="1082682" y="3055985"/>
              <a:ext cx="2952328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65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A that adds the title and content of the catalog</a:t>
              </a:r>
              <a:endParaRPr lang="zh-CN" altLang="en-US" sz="1465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23" name="组合 22"/>
          <p:cNvGrpSpPr/>
          <p:nvPr/>
        </p:nvGrpSpPr>
        <p:grpSpPr>
          <a:xfrm>
            <a:off x="6960098" y="4594366"/>
            <a:ext cx="3936437" cy="1036310"/>
            <a:chOff x="1082682" y="2686653"/>
            <a:chExt cx="2952328" cy="777232"/>
          </a:xfrm>
        </p:grpSpPr>
        <p:sp>
          <p:nvSpPr>
            <p:cNvPr id="24" name="TextBox 39"/>
            <p:cNvSpPr txBox="1"/>
            <p:nvPr/>
          </p:nvSpPr>
          <p:spPr>
            <a:xfrm>
              <a:off x="1082682" y="2686653"/>
              <a:ext cx="1985159" cy="34624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400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工作中存在的不足</a:t>
              </a:r>
            </a:p>
          </p:txBody>
        </p:sp>
        <p:sp>
          <p:nvSpPr>
            <p:cNvPr id="25" name="TextBox 40"/>
            <p:cNvSpPr txBox="1"/>
            <p:nvPr/>
          </p:nvSpPr>
          <p:spPr>
            <a:xfrm>
              <a:off x="1082682" y="3055985"/>
              <a:ext cx="2952328" cy="40790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zh-CN" sz="1465" dirty="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A that adds the title and content of the catalog</a:t>
              </a:r>
              <a:endParaRPr lang="zh-CN" altLang="en-US" sz="1465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2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52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53" presetClass="entr" presetSubtype="528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53" presetClass="entr" presetSubtype="52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53" presetClass="entr" presetSubtype="528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1000"/>
                            </p:stCondLst>
                            <p:childTnLst>
                              <p:par>
                                <p:cTn id="38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1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75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6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75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7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6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7" dur="75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  <p:bldP spid="12" grpId="0" animBg="1"/>
      <p:bldP spid="13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" name="Group 41"/>
          <p:cNvGrpSpPr/>
          <p:nvPr/>
        </p:nvGrpSpPr>
        <p:grpSpPr>
          <a:xfrm>
            <a:off x="1552409" y="2584776"/>
            <a:ext cx="9087182" cy="880795"/>
            <a:chOff x="1460518" y="2190751"/>
            <a:chExt cx="6380767" cy="849039"/>
          </a:xfrm>
        </p:grpSpPr>
        <p:cxnSp>
          <p:nvCxnSpPr>
            <p:cNvPr id="42" name="Straight Arrow Connector 42"/>
            <p:cNvCxnSpPr/>
            <p:nvPr/>
          </p:nvCxnSpPr>
          <p:spPr>
            <a:xfrm rot="5400000">
              <a:off x="2868804" y="2824873"/>
              <a:ext cx="425967" cy="2276"/>
            </a:xfrm>
            <a:prstGeom prst="straightConnector1">
              <a:avLst/>
            </a:prstGeom>
            <a:ln w="3175">
              <a:solidFill>
                <a:schemeClr val="lt1">
                  <a:lumMod val="100000"/>
                </a:schemeClr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43" name="Group 43"/>
            <p:cNvGrpSpPr/>
            <p:nvPr/>
          </p:nvGrpSpPr>
          <p:grpSpPr>
            <a:xfrm>
              <a:off x="1460518" y="2190751"/>
              <a:ext cx="6380767" cy="849039"/>
              <a:chOff x="1460518" y="2190751"/>
              <a:chExt cx="6380767" cy="849039"/>
            </a:xfrm>
          </p:grpSpPr>
          <p:cxnSp>
            <p:nvCxnSpPr>
              <p:cNvPr id="45" name="Elbow Connector 45"/>
              <p:cNvCxnSpPr/>
              <p:nvPr/>
            </p:nvCxnSpPr>
            <p:spPr>
              <a:xfrm rot="5400000" flipH="1" flipV="1">
                <a:off x="4650108" y="-151388"/>
                <a:ext cx="1588" cy="6380767"/>
              </a:xfrm>
              <a:prstGeom prst="bentConnector3">
                <a:avLst>
                  <a:gd name="adj1" fmla="val 26859517"/>
                </a:avLst>
              </a:prstGeom>
              <a:ln w="3175">
                <a:solidFill>
                  <a:schemeClr val="lt1">
                    <a:lumMod val="100000"/>
                  </a:schemeClr>
                </a:solidFill>
                <a:prstDash val="dash"/>
                <a:headEnd type="triangl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46" name="Straight Arrow Connector 46"/>
              <p:cNvCxnSpPr/>
              <p:nvPr/>
            </p:nvCxnSpPr>
            <p:spPr>
              <a:xfrm rot="5400000">
                <a:off x="4244271" y="2612607"/>
                <a:ext cx="848243" cy="4532"/>
              </a:xfrm>
              <a:prstGeom prst="straightConnector1">
                <a:avLst/>
              </a:prstGeom>
              <a:ln w="3175">
                <a:solidFill>
                  <a:schemeClr val="lt1">
                    <a:lumMod val="100000"/>
                  </a:schemeClr>
                </a:solidFill>
                <a:prstDash val="dash"/>
                <a:headEnd type="none" w="med" len="med"/>
                <a:tailEnd type="triangle" w="med" len="med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cxnSp>
          <p:nvCxnSpPr>
            <p:cNvPr id="44" name="Straight Arrow Connector 44"/>
            <p:cNvCxnSpPr/>
            <p:nvPr/>
          </p:nvCxnSpPr>
          <p:spPr>
            <a:xfrm rot="5400000">
              <a:off x="6040894" y="2824875"/>
              <a:ext cx="425967" cy="2276"/>
            </a:xfrm>
            <a:prstGeom prst="straightConnector1">
              <a:avLst/>
            </a:prstGeom>
            <a:ln w="3175">
              <a:solidFill>
                <a:schemeClr val="lt1">
                  <a:lumMod val="100000"/>
                </a:schemeClr>
              </a:solidFill>
              <a:prstDash val="dash"/>
              <a:headEnd type="none" w="med" len="med"/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7" name="组合 86"/>
          <p:cNvGrpSpPr/>
          <p:nvPr/>
        </p:nvGrpSpPr>
        <p:grpSpPr>
          <a:xfrm>
            <a:off x="3289296" y="3499079"/>
            <a:ext cx="1123617" cy="968636"/>
            <a:chOff x="3289296" y="3499079"/>
            <a:chExt cx="1123617" cy="968636"/>
          </a:xfrm>
        </p:grpSpPr>
        <p:sp>
          <p:nvSpPr>
            <p:cNvPr id="48" name="Hexagon 32"/>
            <p:cNvSpPr/>
            <p:nvPr/>
          </p:nvSpPr>
          <p:spPr>
            <a:xfrm>
              <a:off x="3289296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2" name="Freeform 86"/>
            <p:cNvSpPr>
              <a:spLocks noEditPoints="1"/>
            </p:cNvSpPr>
            <p:nvPr/>
          </p:nvSpPr>
          <p:spPr bwMode="auto">
            <a:xfrm>
              <a:off x="3725701" y="3735610"/>
              <a:ext cx="268042" cy="450988"/>
            </a:xfrm>
            <a:custGeom>
              <a:avLst/>
              <a:gdLst/>
              <a:ahLst/>
              <a:cxnLst>
                <a:cxn ang="0">
                  <a:pos x="29" y="44"/>
                </a:cxn>
                <a:cxn ang="0">
                  <a:pos x="24" y="49"/>
                </a:cxn>
                <a:cxn ang="0">
                  <a:pos x="5" y="49"/>
                </a:cxn>
                <a:cxn ang="0">
                  <a:pos x="0" y="44"/>
                </a:cxn>
                <a:cxn ang="0">
                  <a:pos x="0" y="5"/>
                </a:cxn>
                <a:cxn ang="0">
                  <a:pos x="5" y="0"/>
                </a:cxn>
                <a:cxn ang="0">
                  <a:pos x="24" y="0"/>
                </a:cxn>
                <a:cxn ang="0">
                  <a:pos x="29" y="5"/>
                </a:cxn>
                <a:cxn ang="0">
                  <a:pos x="29" y="44"/>
                </a:cxn>
                <a:cxn ang="0">
                  <a:pos x="25" y="11"/>
                </a:cxn>
                <a:cxn ang="0">
                  <a:pos x="24" y="10"/>
                </a:cxn>
                <a:cxn ang="0">
                  <a:pos x="5" y="10"/>
                </a:cxn>
                <a:cxn ang="0">
                  <a:pos x="3" y="11"/>
                </a:cxn>
                <a:cxn ang="0">
                  <a:pos x="3" y="38"/>
                </a:cxn>
                <a:cxn ang="0">
                  <a:pos x="5" y="39"/>
                </a:cxn>
                <a:cxn ang="0">
                  <a:pos x="24" y="39"/>
                </a:cxn>
                <a:cxn ang="0">
                  <a:pos x="25" y="38"/>
                </a:cxn>
                <a:cxn ang="0">
                  <a:pos x="25" y="11"/>
                </a:cxn>
                <a:cxn ang="0">
                  <a:pos x="17" y="5"/>
                </a:cxn>
                <a:cxn ang="0">
                  <a:pos x="11" y="5"/>
                </a:cxn>
                <a:cxn ang="0">
                  <a:pos x="11" y="6"/>
                </a:cxn>
                <a:cxn ang="0">
                  <a:pos x="11" y="6"/>
                </a:cxn>
                <a:cxn ang="0">
                  <a:pos x="17" y="6"/>
                </a:cxn>
                <a:cxn ang="0">
                  <a:pos x="18" y="6"/>
                </a:cxn>
                <a:cxn ang="0">
                  <a:pos x="17" y="5"/>
                </a:cxn>
                <a:cxn ang="0">
                  <a:pos x="14" y="41"/>
                </a:cxn>
                <a:cxn ang="0">
                  <a:pos x="11" y="44"/>
                </a:cxn>
                <a:cxn ang="0">
                  <a:pos x="14" y="47"/>
                </a:cxn>
                <a:cxn ang="0">
                  <a:pos x="17" y="44"/>
                </a:cxn>
                <a:cxn ang="0">
                  <a:pos x="14" y="41"/>
                </a:cxn>
              </a:cxnLst>
              <a:rect l="0" t="0" r="r" b="b"/>
              <a:pathLst>
                <a:path w="29" h="49">
                  <a:moveTo>
                    <a:pt x="29" y="44"/>
                  </a:moveTo>
                  <a:cubicBezTo>
                    <a:pt x="29" y="47"/>
                    <a:pt x="27" y="49"/>
                    <a:pt x="24" y="49"/>
                  </a:cubicBezTo>
                  <a:cubicBezTo>
                    <a:pt x="5" y="49"/>
                    <a:pt x="5" y="49"/>
                    <a:pt x="5" y="49"/>
                  </a:cubicBezTo>
                  <a:cubicBezTo>
                    <a:pt x="2" y="49"/>
                    <a:pt x="0" y="47"/>
                    <a:pt x="0" y="44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0" y="3"/>
                    <a:pt x="2" y="0"/>
                    <a:pt x="5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7" y="0"/>
                    <a:pt x="29" y="3"/>
                    <a:pt x="29" y="5"/>
                  </a:cubicBezTo>
                  <a:lnTo>
                    <a:pt x="29" y="44"/>
                  </a:lnTo>
                  <a:close/>
                  <a:moveTo>
                    <a:pt x="25" y="11"/>
                  </a:moveTo>
                  <a:cubicBezTo>
                    <a:pt x="25" y="11"/>
                    <a:pt x="25" y="10"/>
                    <a:pt x="24" y="10"/>
                  </a:cubicBezTo>
                  <a:cubicBezTo>
                    <a:pt x="5" y="10"/>
                    <a:pt x="5" y="10"/>
                    <a:pt x="5" y="10"/>
                  </a:cubicBezTo>
                  <a:cubicBezTo>
                    <a:pt x="4" y="10"/>
                    <a:pt x="3" y="11"/>
                    <a:pt x="3" y="11"/>
                  </a:cubicBezTo>
                  <a:cubicBezTo>
                    <a:pt x="3" y="38"/>
                    <a:pt x="3" y="38"/>
                    <a:pt x="3" y="38"/>
                  </a:cubicBezTo>
                  <a:cubicBezTo>
                    <a:pt x="3" y="39"/>
                    <a:pt x="4" y="39"/>
                    <a:pt x="5" y="39"/>
                  </a:cubicBezTo>
                  <a:cubicBezTo>
                    <a:pt x="24" y="39"/>
                    <a:pt x="24" y="39"/>
                    <a:pt x="24" y="39"/>
                  </a:cubicBezTo>
                  <a:cubicBezTo>
                    <a:pt x="25" y="39"/>
                    <a:pt x="25" y="39"/>
                    <a:pt x="25" y="38"/>
                  </a:cubicBezTo>
                  <a:lnTo>
                    <a:pt x="25" y="11"/>
                  </a:lnTo>
                  <a:close/>
                  <a:moveTo>
                    <a:pt x="17" y="5"/>
                  </a:moveTo>
                  <a:cubicBezTo>
                    <a:pt x="11" y="5"/>
                    <a:pt x="11" y="5"/>
                    <a:pt x="11" y="5"/>
                  </a:cubicBezTo>
                  <a:cubicBezTo>
                    <a:pt x="11" y="5"/>
                    <a:pt x="11" y="6"/>
                    <a:pt x="11" y="6"/>
                  </a:cubicBezTo>
                  <a:cubicBezTo>
                    <a:pt x="11" y="6"/>
                    <a:pt x="11" y="6"/>
                    <a:pt x="11" y="6"/>
                  </a:cubicBezTo>
                  <a:cubicBezTo>
                    <a:pt x="17" y="6"/>
                    <a:pt x="17" y="6"/>
                    <a:pt x="17" y="6"/>
                  </a:cubicBezTo>
                  <a:cubicBezTo>
                    <a:pt x="18" y="6"/>
                    <a:pt x="18" y="6"/>
                    <a:pt x="18" y="6"/>
                  </a:cubicBezTo>
                  <a:cubicBezTo>
                    <a:pt x="18" y="6"/>
                    <a:pt x="18" y="5"/>
                    <a:pt x="17" y="5"/>
                  </a:cubicBezTo>
                  <a:close/>
                  <a:moveTo>
                    <a:pt x="14" y="41"/>
                  </a:moveTo>
                  <a:cubicBezTo>
                    <a:pt x="13" y="41"/>
                    <a:pt x="11" y="42"/>
                    <a:pt x="11" y="44"/>
                  </a:cubicBezTo>
                  <a:cubicBezTo>
                    <a:pt x="11" y="46"/>
                    <a:pt x="13" y="47"/>
                    <a:pt x="14" y="47"/>
                  </a:cubicBezTo>
                  <a:cubicBezTo>
                    <a:pt x="16" y="47"/>
                    <a:pt x="17" y="46"/>
                    <a:pt x="17" y="44"/>
                  </a:cubicBezTo>
                  <a:cubicBezTo>
                    <a:pt x="17" y="42"/>
                    <a:pt x="16" y="41"/>
                    <a:pt x="14" y="41"/>
                  </a:cubicBezTo>
                  <a:close/>
                </a:path>
              </a:pathLst>
            </a:custGeom>
            <a:solidFill>
              <a:srgbClr val="7030A0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 dirty="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86" name="组合 85"/>
          <p:cNvGrpSpPr/>
          <p:nvPr/>
        </p:nvGrpSpPr>
        <p:grpSpPr>
          <a:xfrm>
            <a:off x="990600" y="3499079"/>
            <a:ext cx="1123617" cy="968636"/>
            <a:chOff x="990600" y="3499079"/>
            <a:chExt cx="1123617" cy="968636"/>
          </a:xfrm>
        </p:grpSpPr>
        <p:sp>
          <p:nvSpPr>
            <p:cNvPr id="47" name="Hexagon 29"/>
            <p:cNvSpPr/>
            <p:nvPr/>
          </p:nvSpPr>
          <p:spPr>
            <a:xfrm>
              <a:off x="990600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3" name="Freeform 31"/>
            <p:cNvSpPr>
              <a:spLocks noEditPoints="1"/>
            </p:cNvSpPr>
            <p:nvPr/>
          </p:nvSpPr>
          <p:spPr bwMode="auto">
            <a:xfrm>
              <a:off x="1356706" y="3829358"/>
              <a:ext cx="391403" cy="336906"/>
            </a:xfrm>
            <a:custGeom>
              <a:avLst/>
              <a:gdLst/>
              <a:ahLst/>
              <a:cxnLst>
                <a:cxn ang="0">
                  <a:pos x="73" y="47"/>
                </a:cxn>
                <a:cxn ang="0">
                  <a:pos x="67" y="53"/>
                </a:cxn>
                <a:cxn ang="0">
                  <a:pos x="46" y="53"/>
                </a:cxn>
                <a:cxn ang="0">
                  <a:pos x="48" y="60"/>
                </a:cxn>
                <a:cxn ang="0">
                  <a:pos x="46" y="63"/>
                </a:cxn>
                <a:cxn ang="0">
                  <a:pos x="26" y="63"/>
                </a:cxn>
                <a:cxn ang="0">
                  <a:pos x="24" y="60"/>
                </a:cxn>
                <a:cxn ang="0">
                  <a:pos x="26" y="53"/>
                </a:cxn>
                <a:cxn ang="0">
                  <a:pos x="6" y="53"/>
                </a:cxn>
                <a:cxn ang="0">
                  <a:pos x="0" y="47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67" y="0"/>
                </a:cxn>
                <a:cxn ang="0">
                  <a:pos x="73" y="6"/>
                </a:cxn>
                <a:cxn ang="0">
                  <a:pos x="73" y="47"/>
                </a:cxn>
                <a:cxn ang="0">
                  <a:pos x="68" y="6"/>
                </a:cxn>
                <a:cxn ang="0">
                  <a:pos x="67" y="5"/>
                </a:cxn>
                <a:cxn ang="0">
                  <a:pos x="6" y="5"/>
                </a:cxn>
                <a:cxn ang="0">
                  <a:pos x="5" y="6"/>
                </a:cxn>
                <a:cxn ang="0">
                  <a:pos x="5" y="37"/>
                </a:cxn>
                <a:cxn ang="0">
                  <a:pos x="6" y="39"/>
                </a:cxn>
                <a:cxn ang="0">
                  <a:pos x="67" y="39"/>
                </a:cxn>
                <a:cxn ang="0">
                  <a:pos x="68" y="37"/>
                </a:cxn>
                <a:cxn ang="0">
                  <a:pos x="68" y="6"/>
                </a:cxn>
              </a:cxnLst>
              <a:rect l="0" t="0" r="r" b="b"/>
              <a:pathLst>
                <a:path w="73" h="63">
                  <a:moveTo>
                    <a:pt x="73" y="47"/>
                  </a:moveTo>
                  <a:cubicBezTo>
                    <a:pt x="73" y="50"/>
                    <a:pt x="70" y="53"/>
                    <a:pt x="67" y="53"/>
                  </a:cubicBezTo>
                  <a:cubicBezTo>
                    <a:pt x="46" y="53"/>
                    <a:pt x="46" y="53"/>
                    <a:pt x="46" y="53"/>
                  </a:cubicBezTo>
                  <a:cubicBezTo>
                    <a:pt x="46" y="56"/>
                    <a:pt x="48" y="59"/>
                    <a:pt x="48" y="60"/>
                  </a:cubicBezTo>
                  <a:cubicBezTo>
                    <a:pt x="48" y="62"/>
                    <a:pt x="47" y="63"/>
                    <a:pt x="46" y="63"/>
                  </a:cubicBezTo>
                  <a:cubicBezTo>
                    <a:pt x="26" y="63"/>
                    <a:pt x="26" y="63"/>
                    <a:pt x="26" y="63"/>
                  </a:cubicBezTo>
                  <a:cubicBezTo>
                    <a:pt x="25" y="63"/>
                    <a:pt x="24" y="62"/>
                    <a:pt x="24" y="60"/>
                  </a:cubicBezTo>
                  <a:cubicBezTo>
                    <a:pt x="24" y="59"/>
                    <a:pt x="26" y="56"/>
                    <a:pt x="26" y="53"/>
                  </a:cubicBezTo>
                  <a:cubicBezTo>
                    <a:pt x="6" y="53"/>
                    <a:pt x="6" y="53"/>
                    <a:pt x="6" y="53"/>
                  </a:cubicBezTo>
                  <a:cubicBezTo>
                    <a:pt x="2" y="53"/>
                    <a:pt x="0" y="50"/>
                    <a:pt x="0" y="47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67" y="0"/>
                    <a:pt x="67" y="0"/>
                    <a:pt x="67" y="0"/>
                  </a:cubicBezTo>
                  <a:cubicBezTo>
                    <a:pt x="70" y="0"/>
                    <a:pt x="73" y="2"/>
                    <a:pt x="73" y="6"/>
                  </a:cubicBezTo>
                  <a:lnTo>
                    <a:pt x="73" y="47"/>
                  </a:lnTo>
                  <a:close/>
                  <a:moveTo>
                    <a:pt x="68" y="6"/>
                  </a:moveTo>
                  <a:cubicBezTo>
                    <a:pt x="68" y="5"/>
                    <a:pt x="67" y="5"/>
                    <a:pt x="67" y="5"/>
                  </a:cubicBezTo>
                  <a:cubicBezTo>
                    <a:pt x="6" y="5"/>
                    <a:pt x="6" y="5"/>
                    <a:pt x="6" y="5"/>
                  </a:cubicBezTo>
                  <a:cubicBezTo>
                    <a:pt x="5" y="5"/>
                    <a:pt x="5" y="5"/>
                    <a:pt x="5" y="6"/>
                  </a:cubicBezTo>
                  <a:cubicBezTo>
                    <a:pt x="5" y="37"/>
                    <a:pt x="5" y="37"/>
                    <a:pt x="5" y="37"/>
                  </a:cubicBezTo>
                  <a:cubicBezTo>
                    <a:pt x="5" y="38"/>
                    <a:pt x="5" y="39"/>
                    <a:pt x="6" y="39"/>
                  </a:cubicBezTo>
                  <a:cubicBezTo>
                    <a:pt x="67" y="39"/>
                    <a:pt x="67" y="39"/>
                    <a:pt x="67" y="39"/>
                  </a:cubicBezTo>
                  <a:cubicBezTo>
                    <a:pt x="67" y="39"/>
                    <a:pt x="68" y="38"/>
                    <a:pt x="68" y="37"/>
                  </a:cubicBezTo>
                  <a:lnTo>
                    <a:pt x="68" y="6"/>
                  </a:lnTo>
                  <a:close/>
                </a:path>
              </a:pathLst>
            </a:custGeom>
            <a:solidFill>
              <a:srgbClr val="7030A0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 dirty="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90" name="组合 89"/>
          <p:cNvGrpSpPr/>
          <p:nvPr/>
        </p:nvGrpSpPr>
        <p:grpSpPr>
          <a:xfrm>
            <a:off x="10077783" y="3499079"/>
            <a:ext cx="1123617" cy="968636"/>
            <a:chOff x="10077783" y="3499079"/>
            <a:chExt cx="1123617" cy="968636"/>
          </a:xfrm>
        </p:grpSpPr>
        <p:sp>
          <p:nvSpPr>
            <p:cNvPr id="51" name="Hexagon 47"/>
            <p:cNvSpPr/>
            <p:nvPr/>
          </p:nvSpPr>
          <p:spPr>
            <a:xfrm>
              <a:off x="10077783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4" name="Freeform 176"/>
            <p:cNvSpPr>
              <a:spLocks noEditPoints="1"/>
            </p:cNvSpPr>
            <p:nvPr/>
          </p:nvSpPr>
          <p:spPr bwMode="auto">
            <a:xfrm>
              <a:off x="10385973" y="3795953"/>
              <a:ext cx="507237" cy="403720"/>
            </a:xfrm>
            <a:custGeom>
              <a:avLst/>
              <a:gdLst/>
              <a:ahLst/>
              <a:cxnLst>
                <a:cxn ang="0">
                  <a:pos x="53" y="20"/>
                </a:cxn>
                <a:cxn ang="0">
                  <a:pos x="26" y="39"/>
                </a:cxn>
                <a:cxn ang="0">
                  <a:pos x="20" y="39"/>
                </a:cxn>
                <a:cxn ang="0">
                  <a:pos x="9" y="44"/>
                </a:cxn>
                <a:cxn ang="0">
                  <a:pos x="6" y="44"/>
                </a:cxn>
                <a:cxn ang="0">
                  <a:pos x="6" y="44"/>
                </a:cxn>
                <a:cxn ang="0">
                  <a:pos x="5" y="43"/>
                </a:cxn>
                <a:cxn ang="0">
                  <a:pos x="5" y="41"/>
                </a:cxn>
                <a:cxn ang="0">
                  <a:pos x="10" y="35"/>
                </a:cxn>
                <a:cxn ang="0">
                  <a:pos x="0" y="20"/>
                </a:cxn>
                <a:cxn ang="0">
                  <a:pos x="26" y="0"/>
                </a:cxn>
                <a:cxn ang="0">
                  <a:pos x="53" y="20"/>
                </a:cxn>
                <a:cxn ang="0">
                  <a:pos x="5" y="20"/>
                </a:cxn>
                <a:cxn ang="0">
                  <a:pos x="12" y="31"/>
                </a:cxn>
                <a:cxn ang="0">
                  <a:pos x="16" y="33"/>
                </a:cxn>
                <a:cxn ang="0">
                  <a:pos x="15" y="36"/>
                </a:cxn>
                <a:cxn ang="0">
                  <a:pos x="17" y="35"/>
                </a:cxn>
                <a:cxn ang="0">
                  <a:pos x="19" y="34"/>
                </a:cxn>
                <a:cxn ang="0">
                  <a:pos x="21" y="34"/>
                </a:cxn>
                <a:cxn ang="0">
                  <a:pos x="26" y="34"/>
                </a:cxn>
                <a:cxn ang="0">
                  <a:pos x="48" y="20"/>
                </a:cxn>
                <a:cxn ang="0">
                  <a:pos x="26" y="5"/>
                </a:cxn>
                <a:cxn ang="0">
                  <a:pos x="5" y="20"/>
                </a:cxn>
                <a:cxn ang="0">
                  <a:pos x="62" y="51"/>
                </a:cxn>
                <a:cxn ang="0">
                  <a:pos x="63" y="53"/>
                </a:cxn>
                <a:cxn ang="0">
                  <a:pos x="62" y="54"/>
                </a:cxn>
                <a:cxn ang="0">
                  <a:pos x="58" y="53"/>
                </a:cxn>
                <a:cxn ang="0">
                  <a:pos x="48" y="48"/>
                </a:cxn>
                <a:cxn ang="0">
                  <a:pos x="41" y="49"/>
                </a:cxn>
                <a:cxn ang="0">
                  <a:pos x="23" y="44"/>
                </a:cxn>
                <a:cxn ang="0">
                  <a:pos x="26" y="44"/>
                </a:cxn>
                <a:cxn ang="0">
                  <a:pos x="48" y="38"/>
                </a:cxn>
                <a:cxn ang="0">
                  <a:pos x="58" y="20"/>
                </a:cxn>
                <a:cxn ang="0">
                  <a:pos x="57" y="14"/>
                </a:cxn>
                <a:cxn ang="0">
                  <a:pos x="68" y="30"/>
                </a:cxn>
                <a:cxn ang="0">
                  <a:pos x="58" y="45"/>
                </a:cxn>
                <a:cxn ang="0">
                  <a:pos x="62" y="51"/>
                </a:cxn>
              </a:cxnLst>
              <a:rect l="0" t="0" r="r" b="b"/>
              <a:pathLst>
                <a:path w="68" h="54">
                  <a:moveTo>
                    <a:pt x="53" y="20"/>
                  </a:moveTo>
                  <a:cubicBezTo>
                    <a:pt x="53" y="31"/>
                    <a:pt x="41" y="39"/>
                    <a:pt x="26" y="39"/>
                  </a:cubicBezTo>
                  <a:cubicBezTo>
                    <a:pt x="24" y="39"/>
                    <a:pt x="22" y="39"/>
                    <a:pt x="20" y="39"/>
                  </a:cubicBezTo>
                  <a:cubicBezTo>
                    <a:pt x="17" y="41"/>
                    <a:pt x="13" y="43"/>
                    <a:pt x="9" y="44"/>
                  </a:cubicBezTo>
                  <a:cubicBezTo>
                    <a:pt x="8" y="44"/>
                    <a:pt x="7" y="44"/>
                    <a:pt x="6" y="44"/>
                  </a:cubicBezTo>
                  <a:cubicBezTo>
                    <a:pt x="6" y="44"/>
                    <a:pt x="6" y="44"/>
                    <a:pt x="6" y="44"/>
                  </a:cubicBezTo>
                  <a:cubicBezTo>
                    <a:pt x="5" y="44"/>
                    <a:pt x="5" y="44"/>
                    <a:pt x="5" y="43"/>
                  </a:cubicBezTo>
                  <a:cubicBezTo>
                    <a:pt x="5" y="42"/>
                    <a:pt x="5" y="42"/>
                    <a:pt x="5" y="41"/>
                  </a:cubicBezTo>
                  <a:cubicBezTo>
                    <a:pt x="7" y="40"/>
                    <a:pt x="9" y="38"/>
                    <a:pt x="10" y="35"/>
                  </a:cubicBezTo>
                  <a:cubicBezTo>
                    <a:pt x="4" y="32"/>
                    <a:pt x="0" y="26"/>
                    <a:pt x="0" y="20"/>
                  </a:cubicBezTo>
                  <a:cubicBezTo>
                    <a:pt x="0" y="9"/>
                    <a:pt x="12" y="0"/>
                    <a:pt x="26" y="0"/>
                  </a:cubicBezTo>
                  <a:cubicBezTo>
                    <a:pt x="41" y="0"/>
                    <a:pt x="53" y="9"/>
                    <a:pt x="53" y="20"/>
                  </a:cubicBezTo>
                  <a:close/>
                  <a:moveTo>
                    <a:pt x="5" y="20"/>
                  </a:moveTo>
                  <a:cubicBezTo>
                    <a:pt x="5" y="24"/>
                    <a:pt x="7" y="28"/>
                    <a:pt x="12" y="31"/>
                  </a:cubicBezTo>
                  <a:cubicBezTo>
                    <a:pt x="16" y="33"/>
                    <a:pt x="16" y="33"/>
                    <a:pt x="16" y="33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6"/>
                    <a:pt x="16" y="35"/>
                    <a:pt x="17" y="35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21" y="34"/>
                    <a:pt x="21" y="34"/>
                    <a:pt x="21" y="34"/>
                  </a:cubicBezTo>
                  <a:cubicBezTo>
                    <a:pt x="23" y="34"/>
                    <a:pt x="25" y="34"/>
                    <a:pt x="26" y="34"/>
                  </a:cubicBezTo>
                  <a:cubicBezTo>
                    <a:pt x="38" y="34"/>
                    <a:pt x="48" y="28"/>
                    <a:pt x="48" y="20"/>
                  </a:cubicBezTo>
                  <a:cubicBezTo>
                    <a:pt x="48" y="12"/>
                    <a:pt x="38" y="5"/>
                    <a:pt x="26" y="5"/>
                  </a:cubicBezTo>
                  <a:cubicBezTo>
                    <a:pt x="15" y="5"/>
                    <a:pt x="5" y="12"/>
                    <a:pt x="5" y="20"/>
                  </a:cubicBezTo>
                  <a:close/>
                  <a:moveTo>
                    <a:pt x="62" y="51"/>
                  </a:moveTo>
                  <a:cubicBezTo>
                    <a:pt x="63" y="52"/>
                    <a:pt x="63" y="52"/>
                    <a:pt x="63" y="53"/>
                  </a:cubicBezTo>
                  <a:cubicBezTo>
                    <a:pt x="63" y="53"/>
                    <a:pt x="62" y="54"/>
                    <a:pt x="62" y="54"/>
                  </a:cubicBezTo>
                  <a:cubicBezTo>
                    <a:pt x="60" y="54"/>
                    <a:pt x="59" y="54"/>
                    <a:pt x="58" y="53"/>
                  </a:cubicBezTo>
                  <a:cubicBezTo>
                    <a:pt x="54" y="52"/>
                    <a:pt x="51" y="51"/>
                    <a:pt x="48" y="48"/>
                  </a:cubicBezTo>
                  <a:cubicBezTo>
                    <a:pt x="46" y="49"/>
                    <a:pt x="43" y="49"/>
                    <a:pt x="41" y="49"/>
                  </a:cubicBezTo>
                  <a:cubicBezTo>
                    <a:pt x="34" y="49"/>
                    <a:pt x="28" y="47"/>
                    <a:pt x="23" y="44"/>
                  </a:cubicBezTo>
                  <a:cubicBezTo>
                    <a:pt x="24" y="44"/>
                    <a:pt x="25" y="44"/>
                    <a:pt x="26" y="44"/>
                  </a:cubicBezTo>
                  <a:cubicBezTo>
                    <a:pt x="35" y="44"/>
                    <a:pt x="42" y="42"/>
                    <a:pt x="48" y="38"/>
                  </a:cubicBezTo>
                  <a:cubicBezTo>
                    <a:pt x="55" y="33"/>
                    <a:pt x="58" y="27"/>
                    <a:pt x="58" y="20"/>
                  </a:cubicBezTo>
                  <a:cubicBezTo>
                    <a:pt x="58" y="18"/>
                    <a:pt x="58" y="16"/>
                    <a:pt x="57" y="14"/>
                  </a:cubicBezTo>
                  <a:cubicBezTo>
                    <a:pt x="64" y="18"/>
                    <a:pt x="68" y="23"/>
                    <a:pt x="68" y="30"/>
                  </a:cubicBezTo>
                  <a:cubicBezTo>
                    <a:pt x="68" y="36"/>
                    <a:pt x="64" y="41"/>
                    <a:pt x="58" y="45"/>
                  </a:cubicBezTo>
                  <a:cubicBezTo>
                    <a:pt x="59" y="48"/>
                    <a:pt x="61" y="49"/>
                    <a:pt x="62" y="51"/>
                  </a:cubicBezTo>
                  <a:close/>
                </a:path>
              </a:pathLst>
            </a:custGeom>
            <a:solidFill>
              <a:srgbClr val="7030A0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89" name="组合 88"/>
          <p:cNvGrpSpPr/>
          <p:nvPr/>
        </p:nvGrpSpPr>
        <p:grpSpPr>
          <a:xfrm>
            <a:off x="7815452" y="3499079"/>
            <a:ext cx="1123617" cy="968636"/>
            <a:chOff x="7815452" y="3499079"/>
            <a:chExt cx="1123617" cy="968636"/>
          </a:xfrm>
        </p:grpSpPr>
        <p:sp>
          <p:nvSpPr>
            <p:cNvPr id="50" name="Hexagon 38"/>
            <p:cNvSpPr/>
            <p:nvPr/>
          </p:nvSpPr>
          <p:spPr>
            <a:xfrm>
              <a:off x="7815452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5" name="Freeform 178"/>
            <p:cNvSpPr>
              <a:spLocks noEditPoints="1"/>
            </p:cNvSpPr>
            <p:nvPr/>
          </p:nvSpPr>
          <p:spPr bwMode="auto">
            <a:xfrm>
              <a:off x="8181559" y="3891805"/>
              <a:ext cx="391403" cy="294792"/>
            </a:xfrm>
            <a:custGeom>
              <a:avLst/>
              <a:gdLst/>
              <a:ahLst/>
              <a:cxnLst>
                <a:cxn ang="0">
                  <a:pos x="158" y="119"/>
                </a:cxn>
                <a:cxn ang="0">
                  <a:pos x="0" y="119"/>
                </a:cxn>
                <a:cxn ang="0">
                  <a:pos x="0" y="0"/>
                </a:cxn>
                <a:cxn ang="0">
                  <a:pos x="9" y="0"/>
                </a:cxn>
                <a:cxn ang="0">
                  <a:pos x="9" y="108"/>
                </a:cxn>
                <a:cxn ang="0">
                  <a:pos x="158" y="108"/>
                </a:cxn>
                <a:cxn ang="0">
                  <a:pos x="158" y="119"/>
                </a:cxn>
                <a:cxn ang="0">
                  <a:pos x="50" y="99"/>
                </a:cxn>
                <a:cxn ang="0">
                  <a:pos x="29" y="99"/>
                </a:cxn>
                <a:cxn ang="0">
                  <a:pos x="29" y="60"/>
                </a:cxn>
                <a:cxn ang="0">
                  <a:pos x="50" y="60"/>
                </a:cxn>
                <a:cxn ang="0">
                  <a:pos x="50" y="99"/>
                </a:cxn>
                <a:cxn ang="0">
                  <a:pos x="78" y="99"/>
                </a:cxn>
                <a:cxn ang="0">
                  <a:pos x="59" y="99"/>
                </a:cxn>
                <a:cxn ang="0">
                  <a:pos x="59" y="19"/>
                </a:cxn>
                <a:cxn ang="0">
                  <a:pos x="78" y="19"/>
                </a:cxn>
                <a:cxn ang="0">
                  <a:pos x="78" y="99"/>
                </a:cxn>
                <a:cxn ang="0">
                  <a:pos x="109" y="99"/>
                </a:cxn>
                <a:cxn ang="0">
                  <a:pos x="89" y="99"/>
                </a:cxn>
                <a:cxn ang="0">
                  <a:pos x="89" y="39"/>
                </a:cxn>
                <a:cxn ang="0">
                  <a:pos x="109" y="39"/>
                </a:cxn>
                <a:cxn ang="0">
                  <a:pos x="109" y="99"/>
                </a:cxn>
                <a:cxn ang="0">
                  <a:pos x="139" y="99"/>
                </a:cxn>
                <a:cxn ang="0">
                  <a:pos x="119" y="99"/>
                </a:cxn>
                <a:cxn ang="0">
                  <a:pos x="119" y="11"/>
                </a:cxn>
                <a:cxn ang="0">
                  <a:pos x="139" y="11"/>
                </a:cxn>
                <a:cxn ang="0">
                  <a:pos x="139" y="99"/>
                </a:cxn>
              </a:cxnLst>
              <a:rect l="0" t="0" r="r" b="b"/>
              <a:pathLst>
                <a:path w="158" h="119">
                  <a:moveTo>
                    <a:pt x="158" y="119"/>
                  </a:moveTo>
                  <a:lnTo>
                    <a:pt x="0" y="119"/>
                  </a:lnTo>
                  <a:lnTo>
                    <a:pt x="0" y="0"/>
                  </a:lnTo>
                  <a:lnTo>
                    <a:pt x="9" y="0"/>
                  </a:lnTo>
                  <a:lnTo>
                    <a:pt x="9" y="108"/>
                  </a:lnTo>
                  <a:lnTo>
                    <a:pt x="158" y="108"/>
                  </a:lnTo>
                  <a:lnTo>
                    <a:pt x="158" y="119"/>
                  </a:lnTo>
                  <a:close/>
                  <a:moveTo>
                    <a:pt x="50" y="99"/>
                  </a:moveTo>
                  <a:lnTo>
                    <a:pt x="29" y="99"/>
                  </a:lnTo>
                  <a:lnTo>
                    <a:pt x="29" y="60"/>
                  </a:lnTo>
                  <a:lnTo>
                    <a:pt x="50" y="60"/>
                  </a:lnTo>
                  <a:lnTo>
                    <a:pt x="50" y="99"/>
                  </a:lnTo>
                  <a:close/>
                  <a:moveTo>
                    <a:pt x="78" y="99"/>
                  </a:moveTo>
                  <a:lnTo>
                    <a:pt x="59" y="99"/>
                  </a:lnTo>
                  <a:lnTo>
                    <a:pt x="59" y="19"/>
                  </a:lnTo>
                  <a:lnTo>
                    <a:pt x="78" y="19"/>
                  </a:lnTo>
                  <a:lnTo>
                    <a:pt x="78" y="99"/>
                  </a:lnTo>
                  <a:close/>
                  <a:moveTo>
                    <a:pt x="109" y="99"/>
                  </a:moveTo>
                  <a:lnTo>
                    <a:pt x="89" y="99"/>
                  </a:lnTo>
                  <a:lnTo>
                    <a:pt x="89" y="39"/>
                  </a:lnTo>
                  <a:lnTo>
                    <a:pt x="109" y="39"/>
                  </a:lnTo>
                  <a:lnTo>
                    <a:pt x="109" y="99"/>
                  </a:lnTo>
                  <a:close/>
                  <a:moveTo>
                    <a:pt x="139" y="99"/>
                  </a:moveTo>
                  <a:lnTo>
                    <a:pt x="119" y="99"/>
                  </a:lnTo>
                  <a:lnTo>
                    <a:pt x="119" y="11"/>
                  </a:lnTo>
                  <a:lnTo>
                    <a:pt x="139" y="11"/>
                  </a:lnTo>
                  <a:lnTo>
                    <a:pt x="139" y="99"/>
                  </a:lnTo>
                  <a:close/>
                </a:path>
              </a:pathLst>
            </a:custGeom>
            <a:solidFill>
              <a:srgbClr val="7030A0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 dirty="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88" name="组合 87"/>
          <p:cNvGrpSpPr/>
          <p:nvPr/>
        </p:nvGrpSpPr>
        <p:grpSpPr>
          <a:xfrm>
            <a:off x="5576492" y="3499079"/>
            <a:ext cx="1123617" cy="968636"/>
            <a:chOff x="5576492" y="3499079"/>
            <a:chExt cx="1123617" cy="968636"/>
          </a:xfrm>
        </p:grpSpPr>
        <p:sp>
          <p:nvSpPr>
            <p:cNvPr id="49" name="Hexagon 35"/>
            <p:cNvSpPr/>
            <p:nvPr/>
          </p:nvSpPr>
          <p:spPr>
            <a:xfrm>
              <a:off x="5576492" y="3499079"/>
              <a:ext cx="1123617" cy="968636"/>
            </a:xfrm>
            <a:prstGeom prst="hexagon">
              <a:avLst/>
            </a:pr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6" name="Freeform 166"/>
            <p:cNvSpPr>
              <a:spLocks noEditPoints="1"/>
            </p:cNvSpPr>
            <p:nvPr/>
          </p:nvSpPr>
          <p:spPr bwMode="auto">
            <a:xfrm>
              <a:off x="5886517" y="3773217"/>
              <a:ext cx="445906" cy="449186"/>
            </a:xfrm>
            <a:custGeom>
              <a:avLst/>
              <a:gdLst/>
              <a:ahLst/>
              <a:cxnLst>
                <a:cxn ang="0">
                  <a:pos x="1" y="42"/>
                </a:cxn>
                <a:cxn ang="0">
                  <a:pos x="1" y="40"/>
                </a:cxn>
                <a:cxn ang="0">
                  <a:pos x="14" y="41"/>
                </a:cxn>
                <a:cxn ang="0">
                  <a:pos x="30" y="19"/>
                </a:cxn>
                <a:cxn ang="0">
                  <a:pos x="17" y="8"/>
                </a:cxn>
                <a:cxn ang="0">
                  <a:pos x="9" y="14"/>
                </a:cxn>
                <a:cxn ang="0">
                  <a:pos x="9" y="19"/>
                </a:cxn>
                <a:cxn ang="0">
                  <a:pos x="18" y="39"/>
                </a:cxn>
                <a:cxn ang="0">
                  <a:pos x="4" y="24"/>
                </a:cxn>
                <a:cxn ang="0">
                  <a:pos x="4" y="9"/>
                </a:cxn>
                <a:cxn ang="0">
                  <a:pos x="17" y="0"/>
                </a:cxn>
                <a:cxn ang="0">
                  <a:pos x="37" y="16"/>
                </a:cxn>
                <a:cxn ang="0">
                  <a:pos x="30" y="19"/>
                </a:cxn>
                <a:cxn ang="0">
                  <a:pos x="6" y="58"/>
                </a:cxn>
                <a:cxn ang="0">
                  <a:pos x="5" y="56"/>
                </a:cxn>
                <a:cxn ang="0">
                  <a:pos x="16" y="46"/>
                </a:cxn>
                <a:cxn ang="0">
                  <a:pos x="7" y="58"/>
                </a:cxn>
                <a:cxn ang="0">
                  <a:pos x="22" y="63"/>
                </a:cxn>
                <a:cxn ang="0">
                  <a:pos x="20" y="49"/>
                </a:cxn>
                <a:cxn ang="0">
                  <a:pos x="23" y="49"/>
                </a:cxn>
                <a:cxn ang="0">
                  <a:pos x="59" y="54"/>
                </a:cxn>
                <a:cxn ang="0">
                  <a:pos x="46" y="62"/>
                </a:cxn>
                <a:cxn ang="0">
                  <a:pos x="25" y="46"/>
                </a:cxn>
                <a:cxn ang="0">
                  <a:pos x="33" y="43"/>
                </a:cxn>
                <a:cxn ang="0">
                  <a:pos x="48" y="54"/>
                </a:cxn>
                <a:cxn ang="0">
                  <a:pos x="55" y="46"/>
                </a:cxn>
                <a:cxn ang="0">
                  <a:pos x="44" y="33"/>
                </a:cxn>
                <a:cxn ang="0">
                  <a:pos x="46" y="25"/>
                </a:cxn>
                <a:cxn ang="0">
                  <a:pos x="62" y="46"/>
                </a:cxn>
                <a:cxn ang="0">
                  <a:pos x="42" y="13"/>
                </a:cxn>
                <a:cxn ang="0">
                  <a:pos x="40" y="13"/>
                </a:cxn>
                <a:cxn ang="0">
                  <a:pos x="41" y="0"/>
                </a:cxn>
                <a:cxn ang="0">
                  <a:pos x="42" y="13"/>
                </a:cxn>
                <a:cxn ang="0">
                  <a:pos x="47" y="17"/>
                </a:cxn>
                <a:cxn ang="0">
                  <a:pos x="46" y="15"/>
                </a:cxn>
                <a:cxn ang="0">
                  <a:pos x="58" y="5"/>
                </a:cxn>
                <a:cxn ang="0">
                  <a:pos x="48" y="16"/>
                </a:cxn>
                <a:cxn ang="0">
                  <a:pos x="50" y="23"/>
                </a:cxn>
                <a:cxn ang="0">
                  <a:pos x="50" y="20"/>
                </a:cxn>
                <a:cxn ang="0">
                  <a:pos x="63" y="22"/>
                </a:cxn>
              </a:cxnLst>
              <a:rect l="0" t="0" r="r" b="b"/>
              <a:pathLst>
                <a:path w="63" h="63">
                  <a:moveTo>
                    <a:pt x="13" y="42"/>
                  </a:moveTo>
                  <a:cubicBezTo>
                    <a:pt x="1" y="42"/>
                    <a:pt x="1" y="42"/>
                    <a:pt x="1" y="42"/>
                  </a:cubicBezTo>
                  <a:cubicBezTo>
                    <a:pt x="0" y="42"/>
                    <a:pt x="0" y="42"/>
                    <a:pt x="0" y="41"/>
                  </a:cubicBezTo>
                  <a:cubicBezTo>
                    <a:pt x="0" y="40"/>
                    <a:pt x="0" y="40"/>
                    <a:pt x="1" y="40"/>
                  </a:cubicBezTo>
                  <a:cubicBezTo>
                    <a:pt x="13" y="40"/>
                    <a:pt x="13" y="40"/>
                    <a:pt x="13" y="40"/>
                  </a:cubicBezTo>
                  <a:cubicBezTo>
                    <a:pt x="14" y="40"/>
                    <a:pt x="14" y="40"/>
                    <a:pt x="14" y="41"/>
                  </a:cubicBezTo>
                  <a:cubicBezTo>
                    <a:pt x="14" y="42"/>
                    <a:pt x="14" y="42"/>
                    <a:pt x="13" y="42"/>
                  </a:cubicBezTo>
                  <a:close/>
                  <a:moveTo>
                    <a:pt x="30" y="19"/>
                  </a:moveTo>
                  <a:cubicBezTo>
                    <a:pt x="19" y="9"/>
                    <a:pt x="19" y="9"/>
                    <a:pt x="19" y="9"/>
                  </a:cubicBezTo>
                  <a:cubicBezTo>
                    <a:pt x="19" y="8"/>
                    <a:pt x="18" y="8"/>
                    <a:pt x="17" y="8"/>
                  </a:cubicBezTo>
                  <a:cubicBezTo>
                    <a:pt x="16" y="8"/>
                    <a:pt x="15" y="8"/>
                    <a:pt x="14" y="9"/>
                  </a:cubicBezTo>
                  <a:cubicBezTo>
                    <a:pt x="9" y="14"/>
                    <a:pt x="9" y="14"/>
                    <a:pt x="9" y="14"/>
                  </a:cubicBezTo>
                  <a:cubicBezTo>
                    <a:pt x="8" y="15"/>
                    <a:pt x="8" y="16"/>
                    <a:pt x="8" y="17"/>
                  </a:cubicBezTo>
                  <a:cubicBezTo>
                    <a:pt x="8" y="18"/>
                    <a:pt x="8" y="19"/>
                    <a:pt x="9" y="19"/>
                  </a:cubicBezTo>
                  <a:cubicBezTo>
                    <a:pt x="19" y="30"/>
                    <a:pt x="19" y="30"/>
                    <a:pt x="19" y="30"/>
                  </a:cubicBezTo>
                  <a:cubicBezTo>
                    <a:pt x="18" y="39"/>
                    <a:pt x="18" y="39"/>
                    <a:pt x="18" y="39"/>
                  </a:cubicBezTo>
                  <a:cubicBezTo>
                    <a:pt x="18" y="38"/>
                    <a:pt x="17" y="38"/>
                    <a:pt x="16" y="37"/>
                  </a:cubicBezTo>
                  <a:cubicBezTo>
                    <a:pt x="4" y="24"/>
                    <a:pt x="4" y="24"/>
                    <a:pt x="4" y="24"/>
                  </a:cubicBezTo>
                  <a:cubicBezTo>
                    <a:pt x="2" y="22"/>
                    <a:pt x="0" y="20"/>
                    <a:pt x="0" y="17"/>
                  </a:cubicBezTo>
                  <a:cubicBezTo>
                    <a:pt x="0" y="14"/>
                    <a:pt x="2" y="11"/>
                    <a:pt x="4" y="9"/>
                  </a:cubicBezTo>
                  <a:cubicBezTo>
                    <a:pt x="9" y="3"/>
                    <a:pt x="9" y="3"/>
                    <a:pt x="9" y="3"/>
                  </a:cubicBezTo>
                  <a:cubicBezTo>
                    <a:pt x="11" y="1"/>
                    <a:pt x="14" y="0"/>
                    <a:pt x="17" y="0"/>
                  </a:cubicBezTo>
                  <a:cubicBezTo>
                    <a:pt x="20" y="0"/>
                    <a:pt x="23" y="1"/>
                    <a:pt x="25" y="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8" y="17"/>
                    <a:pt x="38" y="18"/>
                    <a:pt x="39" y="18"/>
                  </a:cubicBezTo>
                  <a:lnTo>
                    <a:pt x="30" y="19"/>
                  </a:lnTo>
                  <a:close/>
                  <a:moveTo>
                    <a:pt x="7" y="58"/>
                  </a:moveTo>
                  <a:cubicBezTo>
                    <a:pt x="6" y="58"/>
                    <a:pt x="6" y="58"/>
                    <a:pt x="6" y="58"/>
                  </a:cubicBezTo>
                  <a:cubicBezTo>
                    <a:pt x="6" y="58"/>
                    <a:pt x="5" y="58"/>
                    <a:pt x="5" y="58"/>
                  </a:cubicBezTo>
                  <a:cubicBezTo>
                    <a:pt x="5" y="57"/>
                    <a:pt x="5" y="56"/>
                    <a:pt x="5" y="56"/>
                  </a:cubicBezTo>
                  <a:cubicBezTo>
                    <a:pt x="15" y="46"/>
                    <a:pt x="15" y="46"/>
                    <a:pt x="15" y="46"/>
                  </a:cubicBezTo>
                  <a:cubicBezTo>
                    <a:pt x="15" y="46"/>
                    <a:pt x="16" y="46"/>
                    <a:pt x="16" y="46"/>
                  </a:cubicBezTo>
                  <a:cubicBezTo>
                    <a:pt x="17" y="47"/>
                    <a:pt x="17" y="47"/>
                    <a:pt x="16" y="48"/>
                  </a:cubicBezTo>
                  <a:lnTo>
                    <a:pt x="7" y="58"/>
                  </a:lnTo>
                  <a:close/>
                  <a:moveTo>
                    <a:pt x="23" y="62"/>
                  </a:moveTo>
                  <a:cubicBezTo>
                    <a:pt x="23" y="62"/>
                    <a:pt x="22" y="63"/>
                    <a:pt x="22" y="63"/>
                  </a:cubicBezTo>
                  <a:cubicBezTo>
                    <a:pt x="21" y="63"/>
                    <a:pt x="20" y="62"/>
                    <a:pt x="20" y="62"/>
                  </a:cubicBezTo>
                  <a:cubicBezTo>
                    <a:pt x="20" y="49"/>
                    <a:pt x="20" y="49"/>
                    <a:pt x="20" y="49"/>
                  </a:cubicBezTo>
                  <a:cubicBezTo>
                    <a:pt x="20" y="49"/>
                    <a:pt x="21" y="48"/>
                    <a:pt x="22" y="48"/>
                  </a:cubicBezTo>
                  <a:cubicBezTo>
                    <a:pt x="22" y="48"/>
                    <a:pt x="23" y="49"/>
                    <a:pt x="23" y="49"/>
                  </a:cubicBezTo>
                  <a:lnTo>
                    <a:pt x="23" y="62"/>
                  </a:lnTo>
                  <a:close/>
                  <a:moveTo>
                    <a:pt x="59" y="54"/>
                  </a:moveTo>
                  <a:cubicBezTo>
                    <a:pt x="54" y="59"/>
                    <a:pt x="54" y="59"/>
                    <a:pt x="54" y="59"/>
                  </a:cubicBezTo>
                  <a:cubicBezTo>
                    <a:pt x="51" y="61"/>
                    <a:pt x="49" y="62"/>
                    <a:pt x="46" y="62"/>
                  </a:cubicBezTo>
                  <a:cubicBezTo>
                    <a:pt x="43" y="62"/>
                    <a:pt x="40" y="61"/>
                    <a:pt x="38" y="59"/>
                  </a:cubicBezTo>
                  <a:cubicBezTo>
                    <a:pt x="25" y="46"/>
                    <a:pt x="25" y="46"/>
                    <a:pt x="25" y="46"/>
                  </a:cubicBezTo>
                  <a:cubicBezTo>
                    <a:pt x="25" y="46"/>
                    <a:pt x="24" y="45"/>
                    <a:pt x="24" y="44"/>
                  </a:cubicBezTo>
                  <a:cubicBezTo>
                    <a:pt x="33" y="43"/>
                    <a:pt x="33" y="43"/>
                    <a:pt x="33" y="43"/>
                  </a:cubicBezTo>
                  <a:cubicBezTo>
                    <a:pt x="43" y="54"/>
                    <a:pt x="43" y="54"/>
                    <a:pt x="43" y="54"/>
                  </a:cubicBezTo>
                  <a:cubicBezTo>
                    <a:pt x="45" y="55"/>
                    <a:pt x="47" y="55"/>
                    <a:pt x="48" y="54"/>
                  </a:cubicBezTo>
                  <a:cubicBezTo>
                    <a:pt x="54" y="48"/>
                    <a:pt x="54" y="48"/>
                    <a:pt x="54" y="48"/>
                  </a:cubicBezTo>
                  <a:cubicBezTo>
                    <a:pt x="55" y="48"/>
                    <a:pt x="55" y="47"/>
                    <a:pt x="55" y="46"/>
                  </a:cubicBezTo>
                  <a:cubicBezTo>
                    <a:pt x="55" y="45"/>
                    <a:pt x="55" y="44"/>
                    <a:pt x="54" y="4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4" y="24"/>
                    <a:pt x="44" y="24"/>
                    <a:pt x="44" y="24"/>
                  </a:cubicBezTo>
                  <a:cubicBezTo>
                    <a:pt x="45" y="24"/>
                    <a:pt x="46" y="25"/>
                    <a:pt x="46" y="25"/>
                  </a:cubicBezTo>
                  <a:cubicBezTo>
                    <a:pt x="59" y="38"/>
                    <a:pt x="59" y="38"/>
                    <a:pt x="59" y="38"/>
                  </a:cubicBezTo>
                  <a:cubicBezTo>
                    <a:pt x="61" y="40"/>
                    <a:pt x="62" y="43"/>
                    <a:pt x="62" y="46"/>
                  </a:cubicBezTo>
                  <a:cubicBezTo>
                    <a:pt x="62" y="49"/>
                    <a:pt x="61" y="52"/>
                    <a:pt x="59" y="54"/>
                  </a:cubicBezTo>
                  <a:close/>
                  <a:moveTo>
                    <a:pt x="42" y="13"/>
                  </a:moveTo>
                  <a:cubicBezTo>
                    <a:pt x="42" y="14"/>
                    <a:pt x="42" y="14"/>
                    <a:pt x="41" y="14"/>
                  </a:cubicBezTo>
                  <a:cubicBezTo>
                    <a:pt x="40" y="14"/>
                    <a:pt x="40" y="14"/>
                    <a:pt x="40" y="13"/>
                  </a:cubicBezTo>
                  <a:cubicBezTo>
                    <a:pt x="40" y="1"/>
                    <a:pt x="40" y="1"/>
                    <a:pt x="40" y="1"/>
                  </a:cubicBezTo>
                  <a:cubicBezTo>
                    <a:pt x="40" y="0"/>
                    <a:pt x="40" y="0"/>
                    <a:pt x="41" y="0"/>
                  </a:cubicBezTo>
                  <a:cubicBezTo>
                    <a:pt x="42" y="0"/>
                    <a:pt x="42" y="0"/>
                    <a:pt x="42" y="1"/>
                  </a:cubicBezTo>
                  <a:lnTo>
                    <a:pt x="42" y="13"/>
                  </a:lnTo>
                  <a:close/>
                  <a:moveTo>
                    <a:pt x="48" y="16"/>
                  </a:moveTo>
                  <a:cubicBezTo>
                    <a:pt x="48" y="17"/>
                    <a:pt x="47" y="17"/>
                    <a:pt x="47" y="17"/>
                  </a:cubicBezTo>
                  <a:cubicBezTo>
                    <a:pt x="47" y="17"/>
                    <a:pt x="47" y="17"/>
                    <a:pt x="46" y="16"/>
                  </a:cubicBezTo>
                  <a:cubicBezTo>
                    <a:pt x="46" y="16"/>
                    <a:pt x="46" y="15"/>
                    <a:pt x="46" y="15"/>
                  </a:cubicBezTo>
                  <a:cubicBezTo>
                    <a:pt x="56" y="5"/>
                    <a:pt x="56" y="5"/>
                    <a:pt x="56" y="5"/>
                  </a:cubicBezTo>
                  <a:cubicBezTo>
                    <a:pt x="56" y="4"/>
                    <a:pt x="57" y="4"/>
                    <a:pt x="58" y="5"/>
                  </a:cubicBezTo>
                  <a:cubicBezTo>
                    <a:pt x="58" y="5"/>
                    <a:pt x="58" y="6"/>
                    <a:pt x="58" y="7"/>
                  </a:cubicBezTo>
                  <a:lnTo>
                    <a:pt x="48" y="16"/>
                  </a:lnTo>
                  <a:close/>
                  <a:moveTo>
                    <a:pt x="62" y="23"/>
                  </a:moveTo>
                  <a:cubicBezTo>
                    <a:pt x="50" y="23"/>
                    <a:pt x="50" y="23"/>
                    <a:pt x="50" y="23"/>
                  </a:cubicBezTo>
                  <a:cubicBezTo>
                    <a:pt x="49" y="23"/>
                    <a:pt x="48" y="22"/>
                    <a:pt x="48" y="22"/>
                  </a:cubicBezTo>
                  <a:cubicBezTo>
                    <a:pt x="48" y="21"/>
                    <a:pt x="49" y="20"/>
                    <a:pt x="50" y="20"/>
                  </a:cubicBezTo>
                  <a:cubicBezTo>
                    <a:pt x="62" y="20"/>
                    <a:pt x="62" y="20"/>
                    <a:pt x="62" y="20"/>
                  </a:cubicBezTo>
                  <a:cubicBezTo>
                    <a:pt x="62" y="20"/>
                    <a:pt x="63" y="21"/>
                    <a:pt x="63" y="22"/>
                  </a:cubicBezTo>
                  <a:cubicBezTo>
                    <a:pt x="63" y="22"/>
                    <a:pt x="62" y="23"/>
                    <a:pt x="62" y="23"/>
                  </a:cubicBezTo>
                  <a:close/>
                </a:path>
              </a:pathLst>
            </a:custGeom>
            <a:solidFill>
              <a:srgbClr val="7030A0"/>
            </a:solidFill>
            <a:ln w="12700">
              <a:noFill/>
              <a:headEnd type="oval" w="med" len="med"/>
              <a:tailEnd type="oval" w="med" len="med"/>
            </a:ln>
            <a:effectLst>
              <a:outerShdw blurRad="76200" dir="13500000" sy="23000" kx="1200000" algn="br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>
                <a:lnSpc>
                  <a:spcPct val="150000"/>
                </a:lnSpc>
              </a:pPr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85" name="组合 84"/>
          <p:cNvGrpSpPr/>
          <p:nvPr/>
        </p:nvGrpSpPr>
        <p:grpSpPr>
          <a:xfrm>
            <a:off x="5306999" y="1284491"/>
            <a:ext cx="1643058" cy="1643058"/>
            <a:chOff x="5306999" y="1284491"/>
            <a:chExt cx="1643058" cy="1643058"/>
          </a:xfrm>
        </p:grpSpPr>
        <p:grpSp>
          <p:nvGrpSpPr>
            <p:cNvPr id="57" name="Group 1"/>
            <p:cNvGrpSpPr/>
            <p:nvPr/>
          </p:nvGrpSpPr>
          <p:grpSpPr>
            <a:xfrm>
              <a:off x="5306999" y="1284491"/>
              <a:ext cx="1643058" cy="1643058"/>
              <a:chOff x="5369064" y="1918971"/>
              <a:chExt cx="1527035" cy="1527036"/>
            </a:xfrm>
          </p:grpSpPr>
          <p:sp>
            <p:nvSpPr>
              <p:cNvPr id="58" name="Oval 50"/>
              <p:cNvSpPr/>
              <p:nvPr/>
            </p:nvSpPr>
            <p:spPr>
              <a:xfrm>
                <a:off x="5369064" y="1918971"/>
                <a:ext cx="1527035" cy="1527036"/>
              </a:xfrm>
              <a:prstGeom prst="ellipse">
                <a:avLst/>
              </a:prstGeom>
              <a:solidFill>
                <a:schemeClr val="lt1">
                  <a:lumMod val="100000"/>
                </a:schemeClr>
              </a:solidFill>
              <a:ln w="12700">
                <a:noFill/>
                <a:headEnd type="oval" w="med" len="med"/>
                <a:tailEnd type="oval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>
                  <a:lnSpc>
                    <a:spcPct val="150000"/>
                  </a:lnSpc>
                </a:pPr>
                <a:endParaRPr lang="en-US" sz="3600" kern="1200" dirty="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59" name="Oval 48"/>
              <p:cNvSpPr/>
              <p:nvPr/>
            </p:nvSpPr>
            <p:spPr>
              <a:xfrm>
                <a:off x="5454802" y="2006344"/>
                <a:ext cx="1320136" cy="1320137"/>
              </a:xfrm>
              <a:prstGeom prst="ellipse">
                <a:avLst/>
              </a:prstGeom>
              <a:solidFill>
                <a:schemeClr val="lt1">
                  <a:lumMod val="100000"/>
                </a:schemeClr>
              </a:solidFill>
              <a:ln w="12700">
                <a:noFill/>
                <a:headEnd type="oval" w="med" len="med"/>
                <a:tailEnd type="oval" w="med" len="me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>
                  <a:lnSpc>
                    <a:spcPct val="150000"/>
                  </a:lnSpc>
                </a:pPr>
                <a:endParaRPr lang="en-US" sz="3600" kern="1200" dirty="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  <p:grpSp>
          <p:nvGrpSpPr>
            <p:cNvPr id="60" name="Group 30"/>
            <p:cNvGrpSpPr/>
            <p:nvPr/>
          </p:nvGrpSpPr>
          <p:grpSpPr>
            <a:xfrm>
              <a:off x="5784253" y="1624658"/>
              <a:ext cx="708093" cy="914138"/>
              <a:chOff x="7242364" y="3692916"/>
              <a:chExt cx="371475" cy="479569"/>
            </a:xfrm>
            <a:solidFill>
              <a:schemeClr val="bg1"/>
            </a:solidFill>
          </p:grpSpPr>
          <p:sp>
            <p:nvSpPr>
              <p:cNvPr id="61" name="Freeform 11383"/>
              <p:cNvSpPr>
                <a:spLocks noEditPoints="1"/>
              </p:cNvSpPr>
              <p:nvPr/>
            </p:nvSpPr>
            <p:spPr bwMode="auto">
              <a:xfrm>
                <a:off x="7473775" y="3730977"/>
                <a:ext cx="94391" cy="130930"/>
              </a:xfrm>
              <a:custGeom>
                <a:avLst/>
                <a:gdLst>
                  <a:gd name="T0" fmla="*/ 111 w 248"/>
                  <a:gd name="T1" fmla="*/ 0 h 342"/>
                  <a:gd name="T2" fmla="*/ 75 w 248"/>
                  <a:gd name="T3" fmla="*/ 10 h 342"/>
                  <a:gd name="T4" fmla="*/ 45 w 248"/>
                  <a:gd name="T5" fmla="*/ 28 h 342"/>
                  <a:gd name="T6" fmla="*/ 20 w 248"/>
                  <a:gd name="T7" fmla="*/ 57 h 342"/>
                  <a:gd name="T8" fmla="*/ 5 w 248"/>
                  <a:gd name="T9" fmla="*/ 91 h 342"/>
                  <a:gd name="T10" fmla="*/ 0 w 248"/>
                  <a:gd name="T11" fmla="*/ 129 h 342"/>
                  <a:gd name="T12" fmla="*/ 2 w 248"/>
                  <a:gd name="T13" fmla="*/ 155 h 342"/>
                  <a:gd name="T14" fmla="*/ 14 w 248"/>
                  <a:gd name="T15" fmla="*/ 192 h 342"/>
                  <a:gd name="T16" fmla="*/ 36 w 248"/>
                  <a:gd name="T17" fmla="*/ 222 h 342"/>
                  <a:gd name="T18" fmla="*/ 54 w 248"/>
                  <a:gd name="T19" fmla="*/ 265 h 342"/>
                  <a:gd name="T20" fmla="*/ 58 w 248"/>
                  <a:gd name="T21" fmla="*/ 280 h 342"/>
                  <a:gd name="T22" fmla="*/ 60 w 248"/>
                  <a:gd name="T23" fmla="*/ 311 h 342"/>
                  <a:gd name="T24" fmla="*/ 70 w 248"/>
                  <a:gd name="T25" fmla="*/ 328 h 342"/>
                  <a:gd name="T26" fmla="*/ 78 w 248"/>
                  <a:gd name="T27" fmla="*/ 334 h 342"/>
                  <a:gd name="T28" fmla="*/ 108 w 248"/>
                  <a:gd name="T29" fmla="*/ 342 h 342"/>
                  <a:gd name="T30" fmla="*/ 130 w 248"/>
                  <a:gd name="T31" fmla="*/ 342 h 342"/>
                  <a:gd name="T32" fmla="*/ 171 w 248"/>
                  <a:gd name="T33" fmla="*/ 333 h 342"/>
                  <a:gd name="T34" fmla="*/ 172 w 248"/>
                  <a:gd name="T35" fmla="*/ 331 h 342"/>
                  <a:gd name="T36" fmla="*/ 184 w 248"/>
                  <a:gd name="T37" fmla="*/ 318 h 342"/>
                  <a:gd name="T38" fmla="*/ 190 w 248"/>
                  <a:gd name="T39" fmla="*/ 292 h 342"/>
                  <a:gd name="T40" fmla="*/ 189 w 248"/>
                  <a:gd name="T41" fmla="*/ 275 h 342"/>
                  <a:gd name="T42" fmla="*/ 210 w 248"/>
                  <a:gd name="T43" fmla="*/ 224 h 342"/>
                  <a:gd name="T44" fmla="*/ 225 w 248"/>
                  <a:gd name="T45" fmla="*/ 203 h 342"/>
                  <a:gd name="T46" fmla="*/ 242 w 248"/>
                  <a:gd name="T47" fmla="*/ 168 h 342"/>
                  <a:gd name="T48" fmla="*/ 248 w 248"/>
                  <a:gd name="T49" fmla="*/ 129 h 342"/>
                  <a:gd name="T50" fmla="*/ 245 w 248"/>
                  <a:gd name="T51" fmla="*/ 103 h 342"/>
                  <a:gd name="T52" fmla="*/ 233 w 248"/>
                  <a:gd name="T53" fmla="*/ 68 h 342"/>
                  <a:gd name="T54" fmla="*/ 211 w 248"/>
                  <a:gd name="T55" fmla="*/ 38 h 342"/>
                  <a:gd name="T56" fmla="*/ 182 w 248"/>
                  <a:gd name="T57" fmla="*/ 15 h 342"/>
                  <a:gd name="T58" fmla="*/ 148 w 248"/>
                  <a:gd name="T59" fmla="*/ 2 h 342"/>
                  <a:gd name="T60" fmla="*/ 124 w 248"/>
                  <a:gd name="T61" fmla="*/ 0 h 342"/>
                  <a:gd name="T62" fmla="*/ 109 w 248"/>
                  <a:gd name="T63" fmla="*/ 207 h 342"/>
                  <a:gd name="T64" fmla="*/ 71 w 248"/>
                  <a:gd name="T65" fmla="*/ 190 h 342"/>
                  <a:gd name="T66" fmla="*/ 47 w 248"/>
                  <a:gd name="T67" fmla="*/ 158 h 342"/>
                  <a:gd name="T68" fmla="*/ 40 w 248"/>
                  <a:gd name="T69" fmla="*/ 134 h 342"/>
                  <a:gd name="T70" fmla="*/ 40 w 248"/>
                  <a:gd name="T71" fmla="*/ 115 h 342"/>
                  <a:gd name="T72" fmla="*/ 45 w 248"/>
                  <a:gd name="T73" fmla="*/ 91 h 342"/>
                  <a:gd name="T74" fmla="*/ 64 w 248"/>
                  <a:gd name="T75" fmla="*/ 64 h 342"/>
                  <a:gd name="T76" fmla="*/ 91 w 248"/>
                  <a:gd name="T77" fmla="*/ 45 h 342"/>
                  <a:gd name="T78" fmla="*/ 114 w 248"/>
                  <a:gd name="T79" fmla="*/ 39 h 342"/>
                  <a:gd name="T80" fmla="*/ 139 w 248"/>
                  <a:gd name="T81" fmla="*/ 40 h 342"/>
                  <a:gd name="T82" fmla="*/ 178 w 248"/>
                  <a:gd name="T83" fmla="*/ 58 h 342"/>
                  <a:gd name="T84" fmla="*/ 203 w 248"/>
                  <a:gd name="T85" fmla="*/ 94 h 342"/>
                  <a:gd name="T86" fmla="*/ 209 w 248"/>
                  <a:gd name="T87" fmla="*/ 124 h 342"/>
                  <a:gd name="T88" fmla="*/ 207 w 248"/>
                  <a:gd name="T89" fmla="*/ 141 h 342"/>
                  <a:gd name="T90" fmla="*/ 198 w 248"/>
                  <a:gd name="T91" fmla="*/ 164 h 342"/>
                  <a:gd name="T92" fmla="*/ 171 w 248"/>
                  <a:gd name="T93" fmla="*/ 194 h 342"/>
                  <a:gd name="T94" fmla="*/ 148 w 248"/>
                  <a:gd name="T95" fmla="*/ 205 h 342"/>
                  <a:gd name="T96" fmla="*/ 124 w 248"/>
                  <a:gd name="T97" fmla="*/ 209 h 3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48" h="342">
                    <a:moveTo>
                      <a:pt x="124" y="0"/>
                    </a:moveTo>
                    <a:lnTo>
                      <a:pt x="124" y="0"/>
                    </a:lnTo>
                    <a:lnTo>
                      <a:pt x="111" y="0"/>
                    </a:lnTo>
                    <a:lnTo>
                      <a:pt x="99" y="2"/>
                    </a:lnTo>
                    <a:lnTo>
                      <a:pt x="87" y="5"/>
                    </a:lnTo>
                    <a:lnTo>
                      <a:pt x="75" y="10"/>
                    </a:lnTo>
                    <a:lnTo>
                      <a:pt x="65" y="15"/>
                    </a:lnTo>
                    <a:lnTo>
                      <a:pt x="54" y="22"/>
                    </a:lnTo>
                    <a:lnTo>
                      <a:pt x="45" y="28"/>
                    </a:lnTo>
                    <a:lnTo>
                      <a:pt x="36" y="38"/>
                    </a:lnTo>
                    <a:lnTo>
                      <a:pt x="28" y="47"/>
                    </a:lnTo>
                    <a:lnTo>
                      <a:pt x="20" y="57"/>
                    </a:lnTo>
                    <a:lnTo>
                      <a:pt x="14" y="68"/>
                    </a:lnTo>
                    <a:lnTo>
                      <a:pt x="9" y="79"/>
                    </a:lnTo>
                    <a:lnTo>
                      <a:pt x="5" y="91"/>
                    </a:lnTo>
                    <a:lnTo>
                      <a:pt x="2" y="103"/>
                    </a:lnTo>
                    <a:lnTo>
                      <a:pt x="0" y="116"/>
                    </a:lnTo>
                    <a:lnTo>
                      <a:pt x="0" y="129"/>
                    </a:lnTo>
                    <a:lnTo>
                      <a:pt x="0" y="129"/>
                    </a:lnTo>
                    <a:lnTo>
                      <a:pt x="0" y="142"/>
                    </a:lnTo>
                    <a:lnTo>
                      <a:pt x="2" y="155"/>
                    </a:lnTo>
                    <a:lnTo>
                      <a:pt x="5" y="168"/>
                    </a:lnTo>
                    <a:lnTo>
                      <a:pt x="9" y="180"/>
                    </a:lnTo>
                    <a:lnTo>
                      <a:pt x="14" y="192"/>
                    </a:lnTo>
                    <a:lnTo>
                      <a:pt x="20" y="202"/>
                    </a:lnTo>
                    <a:lnTo>
                      <a:pt x="28" y="213"/>
                    </a:lnTo>
                    <a:lnTo>
                      <a:pt x="36" y="222"/>
                    </a:lnTo>
                    <a:lnTo>
                      <a:pt x="36" y="222"/>
                    </a:lnTo>
                    <a:lnTo>
                      <a:pt x="48" y="247"/>
                    </a:lnTo>
                    <a:lnTo>
                      <a:pt x="54" y="265"/>
                    </a:lnTo>
                    <a:lnTo>
                      <a:pt x="57" y="275"/>
                    </a:lnTo>
                    <a:lnTo>
                      <a:pt x="58" y="280"/>
                    </a:lnTo>
                    <a:lnTo>
                      <a:pt x="58" y="280"/>
                    </a:lnTo>
                    <a:lnTo>
                      <a:pt x="56" y="292"/>
                    </a:lnTo>
                    <a:lnTo>
                      <a:pt x="57" y="303"/>
                    </a:lnTo>
                    <a:lnTo>
                      <a:pt x="60" y="311"/>
                    </a:lnTo>
                    <a:lnTo>
                      <a:pt x="62" y="317"/>
                    </a:lnTo>
                    <a:lnTo>
                      <a:pt x="66" y="324"/>
                    </a:lnTo>
                    <a:lnTo>
                      <a:pt x="70" y="328"/>
                    </a:lnTo>
                    <a:lnTo>
                      <a:pt x="75" y="331"/>
                    </a:lnTo>
                    <a:lnTo>
                      <a:pt x="75" y="331"/>
                    </a:lnTo>
                    <a:lnTo>
                      <a:pt x="78" y="334"/>
                    </a:lnTo>
                    <a:lnTo>
                      <a:pt x="86" y="337"/>
                    </a:lnTo>
                    <a:lnTo>
                      <a:pt x="100" y="341"/>
                    </a:lnTo>
                    <a:lnTo>
                      <a:pt x="108" y="342"/>
                    </a:lnTo>
                    <a:lnTo>
                      <a:pt x="118" y="342"/>
                    </a:lnTo>
                    <a:lnTo>
                      <a:pt x="118" y="342"/>
                    </a:lnTo>
                    <a:lnTo>
                      <a:pt x="130" y="342"/>
                    </a:lnTo>
                    <a:lnTo>
                      <a:pt x="143" y="339"/>
                    </a:lnTo>
                    <a:lnTo>
                      <a:pt x="156" y="337"/>
                    </a:lnTo>
                    <a:lnTo>
                      <a:pt x="171" y="333"/>
                    </a:lnTo>
                    <a:lnTo>
                      <a:pt x="171" y="333"/>
                    </a:lnTo>
                    <a:lnTo>
                      <a:pt x="172" y="331"/>
                    </a:lnTo>
                    <a:lnTo>
                      <a:pt x="172" y="331"/>
                    </a:lnTo>
                    <a:lnTo>
                      <a:pt x="176" y="329"/>
                    </a:lnTo>
                    <a:lnTo>
                      <a:pt x="180" y="325"/>
                    </a:lnTo>
                    <a:lnTo>
                      <a:pt x="184" y="318"/>
                    </a:lnTo>
                    <a:lnTo>
                      <a:pt x="188" y="312"/>
                    </a:lnTo>
                    <a:lnTo>
                      <a:pt x="190" y="303"/>
                    </a:lnTo>
                    <a:lnTo>
                      <a:pt x="190" y="292"/>
                    </a:lnTo>
                    <a:lnTo>
                      <a:pt x="189" y="280"/>
                    </a:lnTo>
                    <a:lnTo>
                      <a:pt x="189" y="280"/>
                    </a:lnTo>
                    <a:lnTo>
                      <a:pt x="189" y="275"/>
                    </a:lnTo>
                    <a:lnTo>
                      <a:pt x="192" y="265"/>
                    </a:lnTo>
                    <a:lnTo>
                      <a:pt x="198" y="248"/>
                    </a:lnTo>
                    <a:lnTo>
                      <a:pt x="210" y="224"/>
                    </a:lnTo>
                    <a:lnTo>
                      <a:pt x="210" y="224"/>
                    </a:lnTo>
                    <a:lnTo>
                      <a:pt x="218" y="214"/>
                    </a:lnTo>
                    <a:lnTo>
                      <a:pt x="225" y="203"/>
                    </a:lnTo>
                    <a:lnTo>
                      <a:pt x="232" y="193"/>
                    </a:lnTo>
                    <a:lnTo>
                      <a:pt x="239" y="181"/>
                    </a:lnTo>
                    <a:lnTo>
                      <a:pt x="242" y="168"/>
                    </a:lnTo>
                    <a:lnTo>
                      <a:pt x="245" y="156"/>
                    </a:lnTo>
                    <a:lnTo>
                      <a:pt x="248" y="143"/>
                    </a:lnTo>
                    <a:lnTo>
                      <a:pt x="248" y="129"/>
                    </a:lnTo>
                    <a:lnTo>
                      <a:pt x="248" y="129"/>
                    </a:lnTo>
                    <a:lnTo>
                      <a:pt x="248" y="116"/>
                    </a:lnTo>
                    <a:lnTo>
                      <a:pt x="245" y="103"/>
                    </a:lnTo>
                    <a:lnTo>
                      <a:pt x="242" y="91"/>
                    </a:lnTo>
                    <a:lnTo>
                      <a:pt x="239" y="79"/>
                    </a:lnTo>
                    <a:lnTo>
                      <a:pt x="233" y="68"/>
                    </a:lnTo>
                    <a:lnTo>
                      <a:pt x="227" y="57"/>
                    </a:lnTo>
                    <a:lnTo>
                      <a:pt x="220" y="47"/>
                    </a:lnTo>
                    <a:lnTo>
                      <a:pt x="211" y="38"/>
                    </a:lnTo>
                    <a:lnTo>
                      <a:pt x="203" y="28"/>
                    </a:lnTo>
                    <a:lnTo>
                      <a:pt x="193" y="22"/>
                    </a:lnTo>
                    <a:lnTo>
                      <a:pt x="182" y="15"/>
                    </a:lnTo>
                    <a:lnTo>
                      <a:pt x="172" y="10"/>
                    </a:lnTo>
                    <a:lnTo>
                      <a:pt x="160" y="5"/>
                    </a:lnTo>
                    <a:lnTo>
                      <a:pt x="148" y="2"/>
                    </a:lnTo>
                    <a:lnTo>
                      <a:pt x="137" y="0"/>
                    </a:lnTo>
                    <a:lnTo>
                      <a:pt x="124" y="0"/>
                    </a:lnTo>
                    <a:lnTo>
                      <a:pt x="124" y="0"/>
                    </a:lnTo>
                    <a:close/>
                    <a:moveTo>
                      <a:pt x="124" y="209"/>
                    </a:moveTo>
                    <a:lnTo>
                      <a:pt x="124" y="209"/>
                    </a:lnTo>
                    <a:lnTo>
                      <a:pt x="109" y="207"/>
                    </a:lnTo>
                    <a:lnTo>
                      <a:pt x="96" y="203"/>
                    </a:lnTo>
                    <a:lnTo>
                      <a:pt x="83" y="198"/>
                    </a:lnTo>
                    <a:lnTo>
                      <a:pt x="71" y="190"/>
                    </a:lnTo>
                    <a:lnTo>
                      <a:pt x="61" y="181"/>
                    </a:lnTo>
                    <a:lnTo>
                      <a:pt x="53" y="169"/>
                    </a:lnTo>
                    <a:lnTo>
                      <a:pt x="47" y="158"/>
                    </a:lnTo>
                    <a:lnTo>
                      <a:pt x="41" y="145"/>
                    </a:lnTo>
                    <a:lnTo>
                      <a:pt x="41" y="145"/>
                    </a:lnTo>
                    <a:lnTo>
                      <a:pt x="40" y="134"/>
                    </a:lnTo>
                    <a:lnTo>
                      <a:pt x="39" y="124"/>
                    </a:lnTo>
                    <a:lnTo>
                      <a:pt x="39" y="124"/>
                    </a:lnTo>
                    <a:lnTo>
                      <a:pt x="40" y="115"/>
                    </a:lnTo>
                    <a:lnTo>
                      <a:pt x="41" y="107"/>
                    </a:lnTo>
                    <a:lnTo>
                      <a:pt x="43" y="99"/>
                    </a:lnTo>
                    <a:lnTo>
                      <a:pt x="45" y="91"/>
                    </a:lnTo>
                    <a:lnTo>
                      <a:pt x="49" y="83"/>
                    </a:lnTo>
                    <a:lnTo>
                      <a:pt x="53" y="77"/>
                    </a:lnTo>
                    <a:lnTo>
                      <a:pt x="64" y="64"/>
                    </a:lnTo>
                    <a:lnTo>
                      <a:pt x="77" y="53"/>
                    </a:lnTo>
                    <a:lnTo>
                      <a:pt x="83" y="49"/>
                    </a:lnTo>
                    <a:lnTo>
                      <a:pt x="91" y="45"/>
                    </a:lnTo>
                    <a:lnTo>
                      <a:pt x="99" y="43"/>
                    </a:lnTo>
                    <a:lnTo>
                      <a:pt x="107" y="40"/>
                    </a:lnTo>
                    <a:lnTo>
                      <a:pt x="114" y="39"/>
                    </a:lnTo>
                    <a:lnTo>
                      <a:pt x="124" y="39"/>
                    </a:lnTo>
                    <a:lnTo>
                      <a:pt x="124" y="39"/>
                    </a:lnTo>
                    <a:lnTo>
                      <a:pt x="139" y="40"/>
                    </a:lnTo>
                    <a:lnTo>
                      <a:pt x="154" y="44"/>
                    </a:lnTo>
                    <a:lnTo>
                      <a:pt x="167" y="51"/>
                    </a:lnTo>
                    <a:lnTo>
                      <a:pt x="178" y="58"/>
                    </a:lnTo>
                    <a:lnTo>
                      <a:pt x="189" y="69"/>
                    </a:lnTo>
                    <a:lnTo>
                      <a:pt x="197" y="81"/>
                    </a:lnTo>
                    <a:lnTo>
                      <a:pt x="203" y="94"/>
                    </a:lnTo>
                    <a:lnTo>
                      <a:pt x="207" y="108"/>
                    </a:lnTo>
                    <a:lnTo>
                      <a:pt x="207" y="108"/>
                    </a:lnTo>
                    <a:lnTo>
                      <a:pt x="209" y="124"/>
                    </a:lnTo>
                    <a:lnTo>
                      <a:pt x="209" y="124"/>
                    </a:lnTo>
                    <a:lnTo>
                      <a:pt x="209" y="132"/>
                    </a:lnTo>
                    <a:lnTo>
                      <a:pt x="207" y="141"/>
                    </a:lnTo>
                    <a:lnTo>
                      <a:pt x="205" y="149"/>
                    </a:lnTo>
                    <a:lnTo>
                      <a:pt x="202" y="156"/>
                    </a:lnTo>
                    <a:lnTo>
                      <a:pt x="198" y="164"/>
                    </a:lnTo>
                    <a:lnTo>
                      <a:pt x="194" y="171"/>
                    </a:lnTo>
                    <a:lnTo>
                      <a:pt x="184" y="184"/>
                    </a:lnTo>
                    <a:lnTo>
                      <a:pt x="171" y="194"/>
                    </a:lnTo>
                    <a:lnTo>
                      <a:pt x="164" y="198"/>
                    </a:lnTo>
                    <a:lnTo>
                      <a:pt x="156" y="201"/>
                    </a:lnTo>
                    <a:lnTo>
                      <a:pt x="148" y="205"/>
                    </a:lnTo>
                    <a:lnTo>
                      <a:pt x="141" y="206"/>
                    </a:lnTo>
                    <a:lnTo>
                      <a:pt x="133" y="207"/>
                    </a:lnTo>
                    <a:lnTo>
                      <a:pt x="124" y="209"/>
                    </a:lnTo>
                    <a:lnTo>
                      <a:pt x="124" y="20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62" name="Freeform 11384"/>
              <p:cNvSpPr/>
              <p:nvPr/>
            </p:nvSpPr>
            <p:spPr bwMode="auto">
              <a:xfrm>
                <a:off x="7505746" y="3866474"/>
                <a:ext cx="28926" cy="24359"/>
              </a:xfrm>
              <a:custGeom>
                <a:avLst/>
                <a:gdLst>
                  <a:gd name="T0" fmla="*/ 49 w 76"/>
                  <a:gd name="T1" fmla="*/ 63 h 63"/>
                  <a:gd name="T2" fmla="*/ 70 w 76"/>
                  <a:gd name="T3" fmla="*/ 43 h 63"/>
                  <a:gd name="T4" fmla="*/ 76 w 76"/>
                  <a:gd name="T5" fmla="*/ 0 h 63"/>
                  <a:gd name="T6" fmla="*/ 72 w 76"/>
                  <a:gd name="T7" fmla="*/ 2 h 63"/>
                  <a:gd name="T8" fmla="*/ 72 w 76"/>
                  <a:gd name="T9" fmla="*/ 2 h 63"/>
                  <a:gd name="T10" fmla="*/ 61 w 76"/>
                  <a:gd name="T11" fmla="*/ 4 h 63"/>
                  <a:gd name="T12" fmla="*/ 51 w 76"/>
                  <a:gd name="T13" fmla="*/ 7 h 63"/>
                  <a:gd name="T14" fmla="*/ 36 w 76"/>
                  <a:gd name="T15" fmla="*/ 7 h 63"/>
                  <a:gd name="T16" fmla="*/ 36 w 76"/>
                  <a:gd name="T17" fmla="*/ 7 h 63"/>
                  <a:gd name="T18" fmla="*/ 19 w 76"/>
                  <a:gd name="T19" fmla="*/ 5 h 63"/>
                  <a:gd name="T20" fmla="*/ 4 w 76"/>
                  <a:gd name="T21" fmla="*/ 2 h 63"/>
                  <a:gd name="T22" fmla="*/ 0 w 76"/>
                  <a:gd name="T23" fmla="*/ 0 h 63"/>
                  <a:gd name="T24" fmla="*/ 2 w 76"/>
                  <a:gd name="T25" fmla="*/ 45 h 63"/>
                  <a:gd name="T26" fmla="*/ 23 w 76"/>
                  <a:gd name="T27" fmla="*/ 63 h 63"/>
                  <a:gd name="T28" fmla="*/ 49 w 76"/>
                  <a:gd name="T29" fmla="*/ 63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63">
                    <a:moveTo>
                      <a:pt x="49" y="63"/>
                    </a:moveTo>
                    <a:lnTo>
                      <a:pt x="70" y="43"/>
                    </a:lnTo>
                    <a:lnTo>
                      <a:pt x="76" y="0"/>
                    </a:lnTo>
                    <a:lnTo>
                      <a:pt x="72" y="2"/>
                    </a:lnTo>
                    <a:lnTo>
                      <a:pt x="72" y="2"/>
                    </a:lnTo>
                    <a:lnTo>
                      <a:pt x="61" y="4"/>
                    </a:lnTo>
                    <a:lnTo>
                      <a:pt x="51" y="7"/>
                    </a:lnTo>
                    <a:lnTo>
                      <a:pt x="36" y="7"/>
                    </a:lnTo>
                    <a:lnTo>
                      <a:pt x="36" y="7"/>
                    </a:lnTo>
                    <a:lnTo>
                      <a:pt x="19" y="5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2" y="45"/>
                    </a:lnTo>
                    <a:lnTo>
                      <a:pt x="23" y="63"/>
                    </a:lnTo>
                    <a:lnTo>
                      <a:pt x="49" y="6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63" name="Freeform 11385"/>
              <p:cNvSpPr/>
              <p:nvPr/>
            </p:nvSpPr>
            <p:spPr bwMode="auto">
              <a:xfrm>
                <a:off x="7426579" y="3782740"/>
                <a:ext cx="18269" cy="13702"/>
              </a:xfrm>
              <a:custGeom>
                <a:avLst/>
                <a:gdLst>
                  <a:gd name="T0" fmla="*/ 47 w 49"/>
                  <a:gd name="T1" fmla="*/ 17 h 33"/>
                  <a:gd name="T2" fmla="*/ 47 w 49"/>
                  <a:gd name="T3" fmla="*/ 17 h 33"/>
                  <a:gd name="T4" fmla="*/ 48 w 49"/>
                  <a:gd name="T5" fmla="*/ 9 h 33"/>
                  <a:gd name="T6" fmla="*/ 49 w 49"/>
                  <a:gd name="T7" fmla="*/ 0 h 33"/>
                  <a:gd name="T8" fmla="*/ 0 w 49"/>
                  <a:gd name="T9" fmla="*/ 0 h 33"/>
                  <a:gd name="T10" fmla="*/ 0 w 49"/>
                  <a:gd name="T11" fmla="*/ 33 h 33"/>
                  <a:gd name="T12" fmla="*/ 49 w 49"/>
                  <a:gd name="T13" fmla="*/ 33 h 33"/>
                  <a:gd name="T14" fmla="*/ 49 w 49"/>
                  <a:gd name="T15" fmla="*/ 33 h 33"/>
                  <a:gd name="T16" fmla="*/ 48 w 49"/>
                  <a:gd name="T17" fmla="*/ 26 h 33"/>
                  <a:gd name="T18" fmla="*/ 47 w 49"/>
                  <a:gd name="T19" fmla="*/ 17 h 33"/>
                  <a:gd name="T20" fmla="*/ 47 w 49"/>
                  <a:gd name="T21" fmla="*/ 17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49" h="33">
                    <a:moveTo>
                      <a:pt x="47" y="17"/>
                    </a:moveTo>
                    <a:lnTo>
                      <a:pt x="47" y="17"/>
                    </a:lnTo>
                    <a:lnTo>
                      <a:pt x="48" y="9"/>
                    </a:lnTo>
                    <a:lnTo>
                      <a:pt x="49" y="0"/>
                    </a:lnTo>
                    <a:lnTo>
                      <a:pt x="0" y="0"/>
                    </a:lnTo>
                    <a:lnTo>
                      <a:pt x="0" y="33"/>
                    </a:lnTo>
                    <a:lnTo>
                      <a:pt x="49" y="33"/>
                    </a:lnTo>
                    <a:lnTo>
                      <a:pt x="49" y="33"/>
                    </a:lnTo>
                    <a:lnTo>
                      <a:pt x="48" y="26"/>
                    </a:lnTo>
                    <a:lnTo>
                      <a:pt x="47" y="17"/>
                    </a:lnTo>
                    <a:lnTo>
                      <a:pt x="47" y="1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64" name="Freeform 11386"/>
              <p:cNvSpPr/>
              <p:nvPr/>
            </p:nvSpPr>
            <p:spPr bwMode="auto">
              <a:xfrm>
                <a:off x="7595570" y="3782740"/>
                <a:ext cx="18269" cy="13702"/>
              </a:xfrm>
              <a:custGeom>
                <a:avLst/>
                <a:gdLst>
                  <a:gd name="T0" fmla="*/ 0 w 49"/>
                  <a:gd name="T1" fmla="*/ 0 h 33"/>
                  <a:gd name="T2" fmla="*/ 0 w 49"/>
                  <a:gd name="T3" fmla="*/ 0 h 33"/>
                  <a:gd name="T4" fmla="*/ 1 w 49"/>
                  <a:gd name="T5" fmla="*/ 9 h 33"/>
                  <a:gd name="T6" fmla="*/ 2 w 49"/>
                  <a:gd name="T7" fmla="*/ 17 h 33"/>
                  <a:gd name="T8" fmla="*/ 2 w 49"/>
                  <a:gd name="T9" fmla="*/ 17 h 33"/>
                  <a:gd name="T10" fmla="*/ 1 w 49"/>
                  <a:gd name="T11" fmla="*/ 26 h 33"/>
                  <a:gd name="T12" fmla="*/ 0 w 49"/>
                  <a:gd name="T13" fmla="*/ 33 h 33"/>
                  <a:gd name="T14" fmla="*/ 49 w 49"/>
                  <a:gd name="T15" fmla="*/ 33 h 33"/>
                  <a:gd name="T16" fmla="*/ 49 w 49"/>
                  <a:gd name="T17" fmla="*/ 0 h 33"/>
                  <a:gd name="T18" fmla="*/ 0 w 49"/>
                  <a:gd name="T19" fmla="*/ 0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49" h="33">
                    <a:moveTo>
                      <a:pt x="0" y="0"/>
                    </a:moveTo>
                    <a:lnTo>
                      <a:pt x="0" y="0"/>
                    </a:lnTo>
                    <a:lnTo>
                      <a:pt x="1" y="9"/>
                    </a:lnTo>
                    <a:lnTo>
                      <a:pt x="2" y="17"/>
                    </a:lnTo>
                    <a:lnTo>
                      <a:pt x="2" y="17"/>
                    </a:lnTo>
                    <a:lnTo>
                      <a:pt x="1" y="26"/>
                    </a:lnTo>
                    <a:lnTo>
                      <a:pt x="0" y="33"/>
                    </a:lnTo>
                    <a:lnTo>
                      <a:pt x="49" y="33"/>
                    </a:lnTo>
                    <a:lnTo>
                      <a:pt x="49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65" name="Freeform 11387"/>
              <p:cNvSpPr/>
              <p:nvPr/>
            </p:nvSpPr>
            <p:spPr bwMode="auto">
              <a:xfrm>
                <a:off x="7517926" y="3692916"/>
                <a:ext cx="13702" cy="21314"/>
              </a:xfrm>
              <a:custGeom>
                <a:avLst/>
                <a:gdLst>
                  <a:gd name="T0" fmla="*/ 34 w 34"/>
                  <a:gd name="T1" fmla="*/ 57 h 57"/>
                  <a:gd name="T2" fmla="*/ 34 w 34"/>
                  <a:gd name="T3" fmla="*/ 0 h 57"/>
                  <a:gd name="T4" fmla="*/ 0 w 34"/>
                  <a:gd name="T5" fmla="*/ 0 h 57"/>
                  <a:gd name="T6" fmla="*/ 0 w 34"/>
                  <a:gd name="T7" fmla="*/ 54 h 57"/>
                  <a:gd name="T8" fmla="*/ 0 w 34"/>
                  <a:gd name="T9" fmla="*/ 54 h 57"/>
                  <a:gd name="T10" fmla="*/ 6 w 34"/>
                  <a:gd name="T11" fmla="*/ 54 h 57"/>
                  <a:gd name="T12" fmla="*/ 6 w 34"/>
                  <a:gd name="T13" fmla="*/ 54 h 57"/>
                  <a:gd name="T14" fmla="*/ 20 w 34"/>
                  <a:gd name="T15" fmla="*/ 54 h 57"/>
                  <a:gd name="T16" fmla="*/ 34 w 34"/>
                  <a:gd name="T17" fmla="*/ 57 h 57"/>
                  <a:gd name="T18" fmla="*/ 34 w 34"/>
                  <a:gd name="T19" fmla="*/ 57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4" h="57">
                    <a:moveTo>
                      <a:pt x="34" y="57"/>
                    </a:moveTo>
                    <a:lnTo>
                      <a:pt x="34" y="0"/>
                    </a:lnTo>
                    <a:lnTo>
                      <a:pt x="0" y="0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6" y="54"/>
                    </a:lnTo>
                    <a:lnTo>
                      <a:pt x="6" y="54"/>
                    </a:lnTo>
                    <a:lnTo>
                      <a:pt x="20" y="54"/>
                    </a:lnTo>
                    <a:lnTo>
                      <a:pt x="34" y="57"/>
                    </a:lnTo>
                    <a:lnTo>
                      <a:pt x="34" y="5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66" name="Freeform 11388"/>
              <p:cNvSpPr/>
              <p:nvPr/>
            </p:nvSpPr>
            <p:spPr bwMode="auto">
              <a:xfrm>
                <a:off x="7447893" y="3718797"/>
                <a:ext cx="22837" cy="22837"/>
              </a:xfrm>
              <a:custGeom>
                <a:avLst/>
                <a:gdLst>
                  <a:gd name="T0" fmla="*/ 61 w 61"/>
                  <a:gd name="T1" fmla="*/ 38 h 62"/>
                  <a:gd name="T2" fmla="*/ 23 w 61"/>
                  <a:gd name="T3" fmla="*/ 0 h 62"/>
                  <a:gd name="T4" fmla="*/ 0 w 61"/>
                  <a:gd name="T5" fmla="*/ 25 h 62"/>
                  <a:gd name="T6" fmla="*/ 38 w 61"/>
                  <a:gd name="T7" fmla="*/ 62 h 62"/>
                  <a:gd name="T8" fmla="*/ 38 w 61"/>
                  <a:gd name="T9" fmla="*/ 62 h 62"/>
                  <a:gd name="T10" fmla="*/ 48 w 61"/>
                  <a:gd name="T11" fmla="*/ 49 h 62"/>
                  <a:gd name="T12" fmla="*/ 61 w 61"/>
                  <a:gd name="T13" fmla="*/ 38 h 62"/>
                  <a:gd name="T14" fmla="*/ 61 w 61"/>
                  <a:gd name="T15" fmla="*/ 3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61" h="62">
                    <a:moveTo>
                      <a:pt x="61" y="38"/>
                    </a:moveTo>
                    <a:lnTo>
                      <a:pt x="23" y="0"/>
                    </a:lnTo>
                    <a:lnTo>
                      <a:pt x="0" y="25"/>
                    </a:lnTo>
                    <a:lnTo>
                      <a:pt x="38" y="62"/>
                    </a:lnTo>
                    <a:lnTo>
                      <a:pt x="38" y="62"/>
                    </a:lnTo>
                    <a:lnTo>
                      <a:pt x="48" y="49"/>
                    </a:lnTo>
                    <a:lnTo>
                      <a:pt x="61" y="38"/>
                    </a:lnTo>
                    <a:lnTo>
                      <a:pt x="61" y="38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67" name="Freeform 11389"/>
              <p:cNvSpPr/>
              <p:nvPr/>
            </p:nvSpPr>
            <p:spPr bwMode="auto">
              <a:xfrm>
                <a:off x="7569689" y="3718797"/>
                <a:ext cx="21314" cy="22837"/>
              </a:xfrm>
              <a:custGeom>
                <a:avLst/>
                <a:gdLst>
                  <a:gd name="T0" fmla="*/ 0 w 58"/>
                  <a:gd name="T1" fmla="*/ 35 h 60"/>
                  <a:gd name="T2" fmla="*/ 0 w 58"/>
                  <a:gd name="T3" fmla="*/ 35 h 60"/>
                  <a:gd name="T4" fmla="*/ 13 w 58"/>
                  <a:gd name="T5" fmla="*/ 47 h 60"/>
                  <a:gd name="T6" fmla="*/ 23 w 58"/>
                  <a:gd name="T7" fmla="*/ 60 h 60"/>
                  <a:gd name="T8" fmla="*/ 58 w 58"/>
                  <a:gd name="T9" fmla="*/ 25 h 60"/>
                  <a:gd name="T10" fmla="*/ 34 w 58"/>
                  <a:gd name="T11" fmla="*/ 0 h 60"/>
                  <a:gd name="T12" fmla="*/ 0 w 58"/>
                  <a:gd name="T13" fmla="*/ 35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8" h="60">
                    <a:moveTo>
                      <a:pt x="0" y="35"/>
                    </a:moveTo>
                    <a:lnTo>
                      <a:pt x="0" y="35"/>
                    </a:lnTo>
                    <a:lnTo>
                      <a:pt x="13" y="47"/>
                    </a:lnTo>
                    <a:lnTo>
                      <a:pt x="23" y="60"/>
                    </a:lnTo>
                    <a:lnTo>
                      <a:pt x="58" y="25"/>
                    </a:lnTo>
                    <a:lnTo>
                      <a:pt x="34" y="0"/>
                    </a:lnTo>
                    <a:lnTo>
                      <a:pt x="0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68" name="Freeform 11390"/>
              <p:cNvSpPr/>
              <p:nvPr/>
            </p:nvSpPr>
            <p:spPr bwMode="auto">
              <a:xfrm>
                <a:off x="7242364" y="3804054"/>
                <a:ext cx="310578" cy="368431"/>
              </a:xfrm>
              <a:custGeom>
                <a:avLst/>
                <a:gdLst>
                  <a:gd name="T0" fmla="*/ 812 w 815"/>
                  <a:gd name="T1" fmla="*/ 776 h 971"/>
                  <a:gd name="T2" fmla="*/ 787 w 815"/>
                  <a:gd name="T3" fmla="*/ 706 h 971"/>
                  <a:gd name="T4" fmla="*/ 743 w 815"/>
                  <a:gd name="T5" fmla="*/ 657 h 971"/>
                  <a:gd name="T6" fmla="*/ 682 w 815"/>
                  <a:gd name="T7" fmla="*/ 629 h 971"/>
                  <a:gd name="T8" fmla="*/ 612 w 815"/>
                  <a:gd name="T9" fmla="*/ 613 h 971"/>
                  <a:gd name="T10" fmla="*/ 542 w 815"/>
                  <a:gd name="T11" fmla="*/ 592 h 971"/>
                  <a:gd name="T12" fmla="*/ 508 w 815"/>
                  <a:gd name="T13" fmla="*/ 559 h 971"/>
                  <a:gd name="T14" fmla="*/ 503 w 815"/>
                  <a:gd name="T15" fmla="*/ 498 h 971"/>
                  <a:gd name="T16" fmla="*/ 522 w 815"/>
                  <a:gd name="T17" fmla="*/ 464 h 971"/>
                  <a:gd name="T18" fmla="*/ 568 w 815"/>
                  <a:gd name="T19" fmla="*/ 397 h 971"/>
                  <a:gd name="T20" fmla="*/ 605 w 815"/>
                  <a:gd name="T21" fmla="*/ 363 h 971"/>
                  <a:gd name="T22" fmla="*/ 616 w 815"/>
                  <a:gd name="T23" fmla="*/ 316 h 971"/>
                  <a:gd name="T24" fmla="*/ 608 w 815"/>
                  <a:gd name="T25" fmla="*/ 265 h 971"/>
                  <a:gd name="T26" fmla="*/ 586 w 815"/>
                  <a:gd name="T27" fmla="*/ 252 h 971"/>
                  <a:gd name="T28" fmla="*/ 590 w 815"/>
                  <a:gd name="T29" fmla="*/ 169 h 971"/>
                  <a:gd name="T30" fmla="*/ 586 w 815"/>
                  <a:gd name="T31" fmla="*/ 90 h 971"/>
                  <a:gd name="T32" fmla="*/ 563 w 815"/>
                  <a:gd name="T33" fmla="*/ 55 h 971"/>
                  <a:gd name="T34" fmla="*/ 546 w 815"/>
                  <a:gd name="T35" fmla="*/ 50 h 971"/>
                  <a:gd name="T36" fmla="*/ 514 w 815"/>
                  <a:gd name="T37" fmla="*/ 51 h 971"/>
                  <a:gd name="T38" fmla="*/ 487 w 815"/>
                  <a:gd name="T39" fmla="*/ 43 h 971"/>
                  <a:gd name="T40" fmla="*/ 464 w 815"/>
                  <a:gd name="T41" fmla="*/ 15 h 971"/>
                  <a:gd name="T42" fmla="*/ 441 w 815"/>
                  <a:gd name="T43" fmla="*/ 0 h 971"/>
                  <a:gd name="T44" fmla="*/ 402 w 815"/>
                  <a:gd name="T45" fmla="*/ 10 h 971"/>
                  <a:gd name="T46" fmla="*/ 321 w 815"/>
                  <a:gd name="T47" fmla="*/ 28 h 971"/>
                  <a:gd name="T48" fmla="*/ 283 w 815"/>
                  <a:gd name="T49" fmla="*/ 36 h 971"/>
                  <a:gd name="T50" fmla="*/ 260 w 815"/>
                  <a:gd name="T51" fmla="*/ 47 h 971"/>
                  <a:gd name="T52" fmla="*/ 235 w 815"/>
                  <a:gd name="T53" fmla="*/ 76 h 971"/>
                  <a:gd name="T54" fmla="*/ 225 w 815"/>
                  <a:gd name="T55" fmla="*/ 109 h 971"/>
                  <a:gd name="T56" fmla="*/ 219 w 815"/>
                  <a:gd name="T57" fmla="*/ 175 h 971"/>
                  <a:gd name="T58" fmla="*/ 208 w 815"/>
                  <a:gd name="T59" fmla="*/ 259 h 971"/>
                  <a:gd name="T60" fmla="*/ 193 w 815"/>
                  <a:gd name="T61" fmla="*/ 288 h 971"/>
                  <a:gd name="T62" fmla="*/ 192 w 815"/>
                  <a:gd name="T63" fmla="*/ 315 h 971"/>
                  <a:gd name="T64" fmla="*/ 197 w 815"/>
                  <a:gd name="T65" fmla="*/ 345 h 971"/>
                  <a:gd name="T66" fmla="*/ 214 w 815"/>
                  <a:gd name="T67" fmla="*/ 369 h 971"/>
                  <a:gd name="T68" fmla="*/ 240 w 815"/>
                  <a:gd name="T69" fmla="*/ 392 h 971"/>
                  <a:gd name="T70" fmla="*/ 278 w 815"/>
                  <a:gd name="T71" fmla="*/ 450 h 971"/>
                  <a:gd name="T72" fmla="*/ 295 w 815"/>
                  <a:gd name="T73" fmla="*/ 471 h 971"/>
                  <a:gd name="T74" fmla="*/ 311 w 815"/>
                  <a:gd name="T75" fmla="*/ 478 h 971"/>
                  <a:gd name="T76" fmla="*/ 290 w 815"/>
                  <a:gd name="T77" fmla="*/ 579 h 971"/>
                  <a:gd name="T78" fmla="*/ 242 w 815"/>
                  <a:gd name="T79" fmla="*/ 605 h 971"/>
                  <a:gd name="T80" fmla="*/ 125 w 815"/>
                  <a:gd name="T81" fmla="*/ 636 h 971"/>
                  <a:gd name="T82" fmla="*/ 56 w 815"/>
                  <a:gd name="T83" fmla="*/ 665 h 971"/>
                  <a:gd name="T84" fmla="*/ 20 w 815"/>
                  <a:gd name="T85" fmla="*/ 706 h 971"/>
                  <a:gd name="T86" fmla="*/ 9 w 815"/>
                  <a:gd name="T87" fmla="*/ 741 h 971"/>
                  <a:gd name="T88" fmla="*/ 0 w 815"/>
                  <a:gd name="T89" fmla="*/ 817 h 971"/>
                  <a:gd name="T90" fmla="*/ 0 w 815"/>
                  <a:gd name="T91" fmla="*/ 830 h 971"/>
                  <a:gd name="T92" fmla="*/ 5 w 815"/>
                  <a:gd name="T93" fmla="*/ 849 h 971"/>
                  <a:gd name="T94" fmla="*/ 37 w 815"/>
                  <a:gd name="T95" fmla="*/ 886 h 971"/>
                  <a:gd name="T96" fmla="*/ 93 w 815"/>
                  <a:gd name="T97" fmla="*/ 919 h 971"/>
                  <a:gd name="T98" fmla="*/ 214 w 815"/>
                  <a:gd name="T99" fmla="*/ 954 h 971"/>
                  <a:gd name="T100" fmla="*/ 260 w 815"/>
                  <a:gd name="T101" fmla="*/ 960 h 971"/>
                  <a:gd name="T102" fmla="*/ 407 w 815"/>
                  <a:gd name="T103" fmla="*/ 971 h 971"/>
                  <a:gd name="T104" fmla="*/ 445 w 815"/>
                  <a:gd name="T105" fmla="*/ 946 h 971"/>
                  <a:gd name="T106" fmla="*/ 529 w 815"/>
                  <a:gd name="T107" fmla="*/ 963 h 971"/>
                  <a:gd name="T108" fmla="*/ 675 w 815"/>
                  <a:gd name="T109" fmla="*/ 937 h 971"/>
                  <a:gd name="T110" fmla="*/ 747 w 815"/>
                  <a:gd name="T111" fmla="*/ 904 h 971"/>
                  <a:gd name="T112" fmla="*/ 798 w 815"/>
                  <a:gd name="T113" fmla="*/ 865 h 971"/>
                  <a:gd name="T114" fmla="*/ 812 w 815"/>
                  <a:gd name="T115" fmla="*/ 839 h 971"/>
                  <a:gd name="T116" fmla="*/ 815 w 815"/>
                  <a:gd name="T117" fmla="*/ 824 h 971"/>
                  <a:gd name="T118" fmla="*/ 815 w 815"/>
                  <a:gd name="T119" fmla="*/ 822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815" h="971">
                    <a:moveTo>
                      <a:pt x="815" y="822"/>
                    </a:moveTo>
                    <a:lnTo>
                      <a:pt x="815" y="822"/>
                    </a:lnTo>
                    <a:lnTo>
                      <a:pt x="815" y="798"/>
                    </a:lnTo>
                    <a:lnTo>
                      <a:pt x="812" y="776"/>
                    </a:lnTo>
                    <a:lnTo>
                      <a:pt x="808" y="757"/>
                    </a:lnTo>
                    <a:lnTo>
                      <a:pt x="802" y="738"/>
                    </a:lnTo>
                    <a:lnTo>
                      <a:pt x="795" y="721"/>
                    </a:lnTo>
                    <a:lnTo>
                      <a:pt x="787" y="706"/>
                    </a:lnTo>
                    <a:lnTo>
                      <a:pt x="778" y="691"/>
                    </a:lnTo>
                    <a:lnTo>
                      <a:pt x="768" y="680"/>
                    </a:lnTo>
                    <a:lnTo>
                      <a:pt x="756" y="668"/>
                    </a:lnTo>
                    <a:lnTo>
                      <a:pt x="743" y="657"/>
                    </a:lnTo>
                    <a:lnTo>
                      <a:pt x="729" y="649"/>
                    </a:lnTo>
                    <a:lnTo>
                      <a:pt x="714" y="642"/>
                    </a:lnTo>
                    <a:lnTo>
                      <a:pt x="699" y="634"/>
                    </a:lnTo>
                    <a:lnTo>
                      <a:pt x="682" y="629"/>
                    </a:lnTo>
                    <a:lnTo>
                      <a:pt x="665" y="623"/>
                    </a:lnTo>
                    <a:lnTo>
                      <a:pt x="646" y="619"/>
                    </a:lnTo>
                    <a:lnTo>
                      <a:pt x="646" y="619"/>
                    </a:lnTo>
                    <a:lnTo>
                      <a:pt x="612" y="613"/>
                    </a:lnTo>
                    <a:lnTo>
                      <a:pt x="582" y="606"/>
                    </a:lnTo>
                    <a:lnTo>
                      <a:pt x="568" y="602"/>
                    </a:lnTo>
                    <a:lnTo>
                      <a:pt x="555" y="597"/>
                    </a:lnTo>
                    <a:lnTo>
                      <a:pt x="542" y="592"/>
                    </a:lnTo>
                    <a:lnTo>
                      <a:pt x="531" y="587"/>
                    </a:lnTo>
                    <a:lnTo>
                      <a:pt x="522" y="579"/>
                    </a:lnTo>
                    <a:lnTo>
                      <a:pt x="514" y="570"/>
                    </a:lnTo>
                    <a:lnTo>
                      <a:pt x="508" y="559"/>
                    </a:lnTo>
                    <a:lnTo>
                      <a:pt x="504" y="548"/>
                    </a:lnTo>
                    <a:lnTo>
                      <a:pt x="501" y="533"/>
                    </a:lnTo>
                    <a:lnTo>
                      <a:pt x="501" y="518"/>
                    </a:lnTo>
                    <a:lnTo>
                      <a:pt x="503" y="498"/>
                    </a:lnTo>
                    <a:lnTo>
                      <a:pt x="508" y="477"/>
                    </a:lnTo>
                    <a:lnTo>
                      <a:pt x="508" y="477"/>
                    </a:lnTo>
                    <a:lnTo>
                      <a:pt x="516" y="471"/>
                    </a:lnTo>
                    <a:lnTo>
                      <a:pt x="522" y="464"/>
                    </a:lnTo>
                    <a:lnTo>
                      <a:pt x="535" y="448"/>
                    </a:lnTo>
                    <a:lnTo>
                      <a:pt x="547" y="431"/>
                    </a:lnTo>
                    <a:lnTo>
                      <a:pt x="558" y="414"/>
                    </a:lnTo>
                    <a:lnTo>
                      <a:pt x="568" y="397"/>
                    </a:lnTo>
                    <a:lnTo>
                      <a:pt x="581" y="382"/>
                    </a:lnTo>
                    <a:lnTo>
                      <a:pt x="589" y="375"/>
                    </a:lnTo>
                    <a:lnTo>
                      <a:pt x="597" y="369"/>
                    </a:lnTo>
                    <a:lnTo>
                      <a:pt x="605" y="363"/>
                    </a:lnTo>
                    <a:lnTo>
                      <a:pt x="614" y="360"/>
                    </a:lnTo>
                    <a:lnTo>
                      <a:pt x="614" y="360"/>
                    </a:lnTo>
                    <a:lnTo>
                      <a:pt x="616" y="336"/>
                    </a:lnTo>
                    <a:lnTo>
                      <a:pt x="616" y="316"/>
                    </a:lnTo>
                    <a:lnTo>
                      <a:pt x="614" y="272"/>
                    </a:lnTo>
                    <a:lnTo>
                      <a:pt x="614" y="272"/>
                    </a:lnTo>
                    <a:lnTo>
                      <a:pt x="612" y="268"/>
                    </a:lnTo>
                    <a:lnTo>
                      <a:pt x="608" y="265"/>
                    </a:lnTo>
                    <a:lnTo>
                      <a:pt x="601" y="263"/>
                    </a:lnTo>
                    <a:lnTo>
                      <a:pt x="592" y="259"/>
                    </a:lnTo>
                    <a:lnTo>
                      <a:pt x="589" y="256"/>
                    </a:lnTo>
                    <a:lnTo>
                      <a:pt x="586" y="252"/>
                    </a:lnTo>
                    <a:lnTo>
                      <a:pt x="586" y="252"/>
                    </a:lnTo>
                    <a:lnTo>
                      <a:pt x="586" y="226"/>
                    </a:lnTo>
                    <a:lnTo>
                      <a:pt x="588" y="198"/>
                    </a:lnTo>
                    <a:lnTo>
                      <a:pt x="590" y="169"/>
                    </a:lnTo>
                    <a:lnTo>
                      <a:pt x="592" y="141"/>
                    </a:lnTo>
                    <a:lnTo>
                      <a:pt x="590" y="114"/>
                    </a:lnTo>
                    <a:lnTo>
                      <a:pt x="588" y="102"/>
                    </a:lnTo>
                    <a:lnTo>
                      <a:pt x="586" y="90"/>
                    </a:lnTo>
                    <a:lnTo>
                      <a:pt x="582" y="80"/>
                    </a:lnTo>
                    <a:lnTo>
                      <a:pt x="577" y="71"/>
                    </a:lnTo>
                    <a:lnTo>
                      <a:pt x="571" y="62"/>
                    </a:lnTo>
                    <a:lnTo>
                      <a:pt x="563" y="55"/>
                    </a:lnTo>
                    <a:lnTo>
                      <a:pt x="563" y="55"/>
                    </a:lnTo>
                    <a:lnTo>
                      <a:pt x="558" y="53"/>
                    </a:lnTo>
                    <a:lnTo>
                      <a:pt x="552" y="50"/>
                    </a:lnTo>
                    <a:lnTo>
                      <a:pt x="546" y="50"/>
                    </a:lnTo>
                    <a:lnTo>
                      <a:pt x="541" y="49"/>
                    </a:lnTo>
                    <a:lnTo>
                      <a:pt x="541" y="49"/>
                    </a:lnTo>
                    <a:lnTo>
                      <a:pt x="514" y="51"/>
                    </a:lnTo>
                    <a:lnTo>
                      <a:pt x="514" y="51"/>
                    </a:lnTo>
                    <a:lnTo>
                      <a:pt x="505" y="50"/>
                    </a:lnTo>
                    <a:lnTo>
                      <a:pt x="496" y="47"/>
                    </a:lnTo>
                    <a:lnTo>
                      <a:pt x="496" y="47"/>
                    </a:lnTo>
                    <a:lnTo>
                      <a:pt x="487" y="43"/>
                    </a:lnTo>
                    <a:lnTo>
                      <a:pt x="481" y="37"/>
                    </a:lnTo>
                    <a:lnTo>
                      <a:pt x="475" y="29"/>
                    </a:lnTo>
                    <a:lnTo>
                      <a:pt x="470" y="21"/>
                    </a:lnTo>
                    <a:lnTo>
                      <a:pt x="464" y="15"/>
                    </a:lnTo>
                    <a:lnTo>
                      <a:pt x="458" y="8"/>
                    </a:lnTo>
                    <a:lnTo>
                      <a:pt x="450" y="3"/>
                    </a:lnTo>
                    <a:lnTo>
                      <a:pt x="447" y="2"/>
                    </a:lnTo>
                    <a:lnTo>
                      <a:pt x="441" y="0"/>
                    </a:lnTo>
                    <a:lnTo>
                      <a:pt x="441" y="0"/>
                    </a:lnTo>
                    <a:lnTo>
                      <a:pt x="418" y="0"/>
                    </a:lnTo>
                    <a:lnTo>
                      <a:pt x="418" y="0"/>
                    </a:lnTo>
                    <a:lnTo>
                      <a:pt x="402" y="10"/>
                    </a:lnTo>
                    <a:lnTo>
                      <a:pt x="386" y="16"/>
                    </a:lnTo>
                    <a:lnTo>
                      <a:pt x="371" y="20"/>
                    </a:lnTo>
                    <a:lnTo>
                      <a:pt x="354" y="23"/>
                    </a:lnTo>
                    <a:lnTo>
                      <a:pt x="321" y="28"/>
                    </a:lnTo>
                    <a:lnTo>
                      <a:pt x="306" y="30"/>
                    </a:lnTo>
                    <a:lnTo>
                      <a:pt x="290" y="34"/>
                    </a:lnTo>
                    <a:lnTo>
                      <a:pt x="290" y="34"/>
                    </a:lnTo>
                    <a:lnTo>
                      <a:pt x="283" y="36"/>
                    </a:lnTo>
                    <a:lnTo>
                      <a:pt x="283" y="36"/>
                    </a:lnTo>
                    <a:lnTo>
                      <a:pt x="275" y="40"/>
                    </a:lnTo>
                    <a:lnTo>
                      <a:pt x="268" y="43"/>
                    </a:lnTo>
                    <a:lnTo>
                      <a:pt x="260" y="47"/>
                    </a:lnTo>
                    <a:lnTo>
                      <a:pt x="255" y="53"/>
                    </a:lnTo>
                    <a:lnTo>
                      <a:pt x="248" y="58"/>
                    </a:lnTo>
                    <a:lnTo>
                      <a:pt x="244" y="63"/>
                    </a:lnTo>
                    <a:lnTo>
                      <a:pt x="235" y="76"/>
                    </a:lnTo>
                    <a:lnTo>
                      <a:pt x="235" y="76"/>
                    </a:lnTo>
                    <a:lnTo>
                      <a:pt x="231" y="87"/>
                    </a:lnTo>
                    <a:lnTo>
                      <a:pt x="227" y="97"/>
                    </a:lnTo>
                    <a:lnTo>
                      <a:pt x="225" y="109"/>
                    </a:lnTo>
                    <a:lnTo>
                      <a:pt x="223" y="122"/>
                    </a:lnTo>
                    <a:lnTo>
                      <a:pt x="221" y="148"/>
                    </a:lnTo>
                    <a:lnTo>
                      <a:pt x="219" y="175"/>
                    </a:lnTo>
                    <a:lnTo>
                      <a:pt x="219" y="175"/>
                    </a:lnTo>
                    <a:lnTo>
                      <a:pt x="221" y="249"/>
                    </a:lnTo>
                    <a:lnTo>
                      <a:pt x="221" y="249"/>
                    </a:lnTo>
                    <a:lnTo>
                      <a:pt x="213" y="254"/>
                    </a:lnTo>
                    <a:lnTo>
                      <a:pt x="208" y="259"/>
                    </a:lnTo>
                    <a:lnTo>
                      <a:pt x="202" y="265"/>
                    </a:lnTo>
                    <a:lnTo>
                      <a:pt x="198" y="272"/>
                    </a:lnTo>
                    <a:lnTo>
                      <a:pt x="196" y="280"/>
                    </a:lnTo>
                    <a:lnTo>
                      <a:pt x="193" y="288"/>
                    </a:lnTo>
                    <a:lnTo>
                      <a:pt x="192" y="297"/>
                    </a:lnTo>
                    <a:lnTo>
                      <a:pt x="192" y="305"/>
                    </a:lnTo>
                    <a:lnTo>
                      <a:pt x="192" y="305"/>
                    </a:lnTo>
                    <a:lnTo>
                      <a:pt x="192" y="315"/>
                    </a:lnTo>
                    <a:lnTo>
                      <a:pt x="192" y="326"/>
                    </a:lnTo>
                    <a:lnTo>
                      <a:pt x="195" y="335"/>
                    </a:lnTo>
                    <a:lnTo>
                      <a:pt x="197" y="345"/>
                    </a:lnTo>
                    <a:lnTo>
                      <a:pt x="197" y="345"/>
                    </a:lnTo>
                    <a:lnTo>
                      <a:pt x="200" y="352"/>
                    </a:lnTo>
                    <a:lnTo>
                      <a:pt x="204" y="358"/>
                    </a:lnTo>
                    <a:lnTo>
                      <a:pt x="209" y="363"/>
                    </a:lnTo>
                    <a:lnTo>
                      <a:pt x="214" y="369"/>
                    </a:lnTo>
                    <a:lnTo>
                      <a:pt x="227" y="379"/>
                    </a:lnTo>
                    <a:lnTo>
                      <a:pt x="234" y="384"/>
                    </a:lnTo>
                    <a:lnTo>
                      <a:pt x="240" y="392"/>
                    </a:lnTo>
                    <a:lnTo>
                      <a:pt x="240" y="392"/>
                    </a:lnTo>
                    <a:lnTo>
                      <a:pt x="247" y="401"/>
                    </a:lnTo>
                    <a:lnTo>
                      <a:pt x="253" y="410"/>
                    </a:lnTo>
                    <a:lnTo>
                      <a:pt x="266" y="431"/>
                    </a:lnTo>
                    <a:lnTo>
                      <a:pt x="278" y="450"/>
                    </a:lnTo>
                    <a:lnTo>
                      <a:pt x="283" y="459"/>
                    </a:lnTo>
                    <a:lnTo>
                      <a:pt x="290" y="465"/>
                    </a:lnTo>
                    <a:lnTo>
                      <a:pt x="290" y="465"/>
                    </a:lnTo>
                    <a:lnTo>
                      <a:pt x="295" y="471"/>
                    </a:lnTo>
                    <a:lnTo>
                      <a:pt x="300" y="474"/>
                    </a:lnTo>
                    <a:lnTo>
                      <a:pt x="306" y="477"/>
                    </a:lnTo>
                    <a:lnTo>
                      <a:pt x="311" y="478"/>
                    </a:lnTo>
                    <a:lnTo>
                      <a:pt x="311" y="478"/>
                    </a:lnTo>
                    <a:lnTo>
                      <a:pt x="311" y="555"/>
                    </a:lnTo>
                    <a:lnTo>
                      <a:pt x="311" y="555"/>
                    </a:lnTo>
                    <a:lnTo>
                      <a:pt x="302" y="568"/>
                    </a:lnTo>
                    <a:lnTo>
                      <a:pt x="290" y="579"/>
                    </a:lnTo>
                    <a:lnTo>
                      <a:pt x="290" y="579"/>
                    </a:lnTo>
                    <a:lnTo>
                      <a:pt x="275" y="589"/>
                    </a:lnTo>
                    <a:lnTo>
                      <a:pt x="260" y="599"/>
                    </a:lnTo>
                    <a:lnTo>
                      <a:pt x="242" y="605"/>
                    </a:lnTo>
                    <a:lnTo>
                      <a:pt x="223" y="612"/>
                    </a:lnTo>
                    <a:lnTo>
                      <a:pt x="184" y="622"/>
                    </a:lnTo>
                    <a:lnTo>
                      <a:pt x="145" y="631"/>
                    </a:lnTo>
                    <a:lnTo>
                      <a:pt x="125" y="636"/>
                    </a:lnTo>
                    <a:lnTo>
                      <a:pt x="107" y="642"/>
                    </a:lnTo>
                    <a:lnTo>
                      <a:pt x="89" y="648"/>
                    </a:lnTo>
                    <a:lnTo>
                      <a:pt x="72" y="656"/>
                    </a:lnTo>
                    <a:lnTo>
                      <a:pt x="56" y="665"/>
                    </a:lnTo>
                    <a:lnTo>
                      <a:pt x="42" y="677"/>
                    </a:lnTo>
                    <a:lnTo>
                      <a:pt x="30" y="690"/>
                    </a:lnTo>
                    <a:lnTo>
                      <a:pt x="25" y="698"/>
                    </a:lnTo>
                    <a:lnTo>
                      <a:pt x="20" y="706"/>
                    </a:lnTo>
                    <a:lnTo>
                      <a:pt x="20" y="706"/>
                    </a:lnTo>
                    <a:lnTo>
                      <a:pt x="14" y="717"/>
                    </a:lnTo>
                    <a:lnTo>
                      <a:pt x="12" y="729"/>
                    </a:lnTo>
                    <a:lnTo>
                      <a:pt x="9" y="741"/>
                    </a:lnTo>
                    <a:lnTo>
                      <a:pt x="8" y="755"/>
                    </a:lnTo>
                    <a:lnTo>
                      <a:pt x="5" y="784"/>
                    </a:lnTo>
                    <a:lnTo>
                      <a:pt x="3" y="800"/>
                    </a:lnTo>
                    <a:lnTo>
                      <a:pt x="0" y="817"/>
                    </a:lnTo>
                    <a:lnTo>
                      <a:pt x="0" y="818"/>
                    </a:lnTo>
                    <a:lnTo>
                      <a:pt x="0" y="818"/>
                    </a:lnTo>
                    <a:lnTo>
                      <a:pt x="0" y="828"/>
                    </a:lnTo>
                    <a:lnTo>
                      <a:pt x="0" y="830"/>
                    </a:lnTo>
                    <a:lnTo>
                      <a:pt x="0" y="830"/>
                    </a:lnTo>
                    <a:lnTo>
                      <a:pt x="0" y="830"/>
                    </a:lnTo>
                    <a:lnTo>
                      <a:pt x="1" y="839"/>
                    </a:lnTo>
                    <a:lnTo>
                      <a:pt x="5" y="849"/>
                    </a:lnTo>
                    <a:lnTo>
                      <a:pt x="10" y="858"/>
                    </a:lnTo>
                    <a:lnTo>
                      <a:pt x="18" y="868"/>
                    </a:lnTo>
                    <a:lnTo>
                      <a:pt x="26" y="877"/>
                    </a:lnTo>
                    <a:lnTo>
                      <a:pt x="37" y="886"/>
                    </a:lnTo>
                    <a:lnTo>
                      <a:pt x="48" y="895"/>
                    </a:lnTo>
                    <a:lnTo>
                      <a:pt x="61" y="903"/>
                    </a:lnTo>
                    <a:lnTo>
                      <a:pt x="77" y="911"/>
                    </a:lnTo>
                    <a:lnTo>
                      <a:pt x="93" y="919"/>
                    </a:lnTo>
                    <a:lnTo>
                      <a:pt x="110" y="925"/>
                    </a:lnTo>
                    <a:lnTo>
                      <a:pt x="128" y="932"/>
                    </a:lnTo>
                    <a:lnTo>
                      <a:pt x="168" y="945"/>
                    </a:lnTo>
                    <a:lnTo>
                      <a:pt x="214" y="954"/>
                    </a:lnTo>
                    <a:lnTo>
                      <a:pt x="214" y="954"/>
                    </a:lnTo>
                    <a:lnTo>
                      <a:pt x="215" y="954"/>
                    </a:lnTo>
                    <a:lnTo>
                      <a:pt x="215" y="954"/>
                    </a:lnTo>
                    <a:lnTo>
                      <a:pt x="260" y="960"/>
                    </a:lnTo>
                    <a:lnTo>
                      <a:pt x="307" y="966"/>
                    </a:lnTo>
                    <a:lnTo>
                      <a:pt x="356" y="969"/>
                    </a:lnTo>
                    <a:lnTo>
                      <a:pt x="407" y="971"/>
                    </a:lnTo>
                    <a:lnTo>
                      <a:pt x="407" y="971"/>
                    </a:lnTo>
                    <a:lnTo>
                      <a:pt x="450" y="969"/>
                    </a:lnTo>
                    <a:lnTo>
                      <a:pt x="450" y="969"/>
                    </a:lnTo>
                    <a:lnTo>
                      <a:pt x="448" y="958"/>
                    </a:lnTo>
                    <a:lnTo>
                      <a:pt x="445" y="946"/>
                    </a:lnTo>
                    <a:lnTo>
                      <a:pt x="450" y="969"/>
                    </a:lnTo>
                    <a:lnTo>
                      <a:pt x="450" y="969"/>
                    </a:lnTo>
                    <a:lnTo>
                      <a:pt x="488" y="967"/>
                    </a:lnTo>
                    <a:lnTo>
                      <a:pt x="529" y="963"/>
                    </a:lnTo>
                    <a:lnTo>
                      <a:pt x="576" y="958"/>
                    </a:lnTo>
                    <a:lnTo>
                      <a:pt x="627" y="949"/>
                    </a:lnTo>
                    <a:lnTo>
                      <a:pt x="652" y="943"/>
                    </a:lnTo>
                    <a:lnTo>
                      <a:pt x="675" y="937"/>
                    </a:lnTo>
                    <a:lnTo>
                      <a:pt x="697" y="930"/>
                    </a:lnTo>
                    <a:lnTo>
                      <a:pt x="717" y="922"/>
                    </a:lnTo>
                    <a:lnTo>
                      <a:pt x="734" y="915"/>
                    </a:lnTo>
                    <a:lnTo>
                      <a:pt x="747" y="904"/>
                    </a:lnTo>
                    <a:lnTo>
                      <a:pt x="747" y="904"/>
                    </a:lnTo>
                    <a:lnTo>
                      <a:pt x="768" y="892"/>
                    </a:lnTo>
                    <a:lnTo>
                      <a:pt x="785" y="879"/>
                    </a:lnTo>
                    <a:lnTo>
                      <a:pt x="798" y="865"/>
                    </a:lnTo>
                    <a:lnTo>
                      <a:pt x="803" y="858"/>
                    </a:lnTo>
                    <a:lnTo>
                      <a:pt x="808" y="851"/>
                    </a:lnTo>
                    <a:lnTo>
                      <a:pt x="808" y="851"/>
                    </a:lnTo>
                    <a:lnTo>
                      <a:pt x="812" y="839"/>
                    </a:lnTo>
                    <a:lnTo>
                      <a:pt x="815" y="828"/>
                    </a:lnTo>
                    <a:lnTo>
                      <a:pt x="815" y="828"/>
                    </a:lnTo>
                    <a:lnTo>
                      <a:pt x="815" y="828"/>
                    </a:lnTo>
                    <a:lnTo>
                      <a:pt x="815" y="824"/>
                    </a:lnTo>
                    <a:lnTo>
                      <a:pt x="815" y="823"/>
                    </a:lnTo>
                    <a:lnTo>
                      <a:pt x="815" y="823"/>
                    </a:lnTo>
                    <a:lnTo>
                      <a:pt x="815" y="822"/>
                    </a:lnTo>
                    <a:lnTo>
                      <a:pt x="815" y="822"/>
                    </a:lnTo>
                    <a:close/>
                  </a:path>
                </a:pathLst>
              </a:custGeom>
              <a:solidFill>
                <a:srgbClr val="7030A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69" name="Freeform 11391"/>
              <p:cNvSpPr/>
              <p:nvPr/>
            </p:nvSpPr>
            <p:spPr bwMode="auto">
              <a:xfrm>
                <a:off x="7502701" y="3762948"/>
                <a:ext cx="35016" cy="33494"/>
              </a:xfrm>
              <a:custGeom>
                <a:avLst/>
                <a:gdLst>
                  <a:gd name="T0" fmla="*/ 85 w 90"/>
                  <a:gd name="T1" fmla="*/ 35 h 90"/>
                  <a:gd name="T2" fmla="*/ 55 w 90"/>
                  <a:gd name="T3" fmla="*/ 35 h 90"/>
                  <a:gd name="T4" fmla="*/ 55 w 90"/>
                  <a:gd name="T5" fmla="*/ 5 h 90"/>
                  <a:gd name="T6" fmla="*/ 55 w 90"/>
                  <a:gd name="T7" fmla="*/ 5 h 90"/>
                  <a:gd name="T8" fmla="*/ 55 w 90"/>
                  <a:gd name="T9" fmla="*/ 3 h 90"/>
                  <a:gd name="T10" fmla="*/ 53 w 90"/>
                  <a:gd name="T11" fmla="*/ 1 h 90"/>
                  <a:gd name="T12" fmla="*/ 52 w 90"/>
                  <a:gd name="T13" fmla="*/ 0 h 90"/>
                  <a:gd name="T14" fmla="*/ 50 w 90"/>
                  <a:gd name="T15" fmla="*/ 0 h 90"/>
                  <a:gd name="T16" fmla="*/ 40 w 90"/>
                  <a:gd name="T17" fmla="*/ 0 h 90"/>
                  <a:gd name="T18" fmla="*/ 40 w 90"/>
                  <a:gd name="T19" fmla="*/ 0 h 90"/>
                  <a:gd name="T20" fmla="*/ 39 w 90"/>
                  <a:gd name="T21" fmla="*/ 0 h 90"/>
                  <a:gd name="T22" fmla="*/ 36 w 90"/>
                  <a:gd name="T23" fmla="*/ 1 h 90"/>
                  <a:gd name="T24" fmla="*/ 35 w 90"/>
                  <a:gd name="T25" fmla="*/ 3 h 90"/>
                  <a:gd name="T26" fmla="*/ 35 w 90"/>
                  <a:gd name="T27" fmla="*/ 5 h 90"/>
                  <a:gd name="T28" fmla="*/ 35 w 90"/>
                  <a:gd name="T29" fmla="*/ 35 h 90"/>
                  <a:gd name="T30" fmla="*/ 5 w 90"/>
                  <a:gd name="T31" fmla="*/ 35 h 90"/>
                  <a:gd name="T32" fmla="*/ 5 w 90"/>
                  <a:gd name="T33" fmla="*/ 35 h 90"/>
                  <a:gd name="T34" fmla="*/ 4 w 90"/>
                  <a:gd name="T35" fmla="*/ 35 h 90"/>
                  <a:gd name="T36" fmla="*/ 1 w 90"/>
                  <a:gd name="T37" fmla="*/ 37 h 90"/>
                  <a:gd name="T38" fmla="*/ 1 w 90"/>
                  <a:gd name="T39" fmla="*/ 38 h 90"/>
                  <a:gd name="T40" fmla="*/ 0 w 90"/>
                  <a:gd name="T41" fmla="*/ 40 h 90"/>
                  <a:gd name="T42" fmla="*/ 0 w 90"/>
                  <a:gd name="T43" fmla="*/ 50 h 90"/>
                  <a:gd name="T44" fmla="*/ 0 w 90"/>
                  <a:gd name="T45" fmla="*/ 50 h 90"/>
                  <a:gd name="T46" fmla="*/ 1 w 90"/>
                  <a:gd name="T47" fmla="*/ 51 h 90"/>
                  <a:gd name="T48" fmla="*/ 1 w 90"/>
                  <a:gd name="T49" fmla="*/ 54 h 90"/>
                  <a:gd name="T50" fmla="*/ 4 w 90"/>
                  <a:gd name="T51" fmla="*/ 54 h 90"/>
                  <a:gd name="T52" fmla="*/ 5 w 90"/>
                  <a:gd name="T53" fmla="*/ 55 h 90"/>
                  <a:gd name="T54" fmla="*/ 35 w 90"/>
                  <a:gd name="T55" fmla="*/ 55 h 90"/>
                  <a:gd name="T56" fmla="*/ 35 w 90"/>
                  <a:gd name="T57" fmla="*/ 85 h 90"/>
                  <a:gd name="T58" fmla="*/ 35 w 90"/>
                  <a:gd name="T59" fmla="*/ 85 h 90"/>
                  <a:gd name="T60" fmla="*/ 35 w 90"/>
                  <a:gd name="T61" fmla="*/ 86 h 90"/>
                  <a:gd name="T62" fmla="*/ 36 w 90"/>
                  <a:gd name="T63" fmla="*/ 89 h 90"/>
                  <a:gd name="T64" fmla="*/ 39 w 90"/>
                  <a:gd name="T65" fmla="*/ 89 h 90"/>
                  <a:gd name="T66" fmla="*/ 40 w 90"/>
                  <a:gd name="T67" fmla="*/ 90 h 90"/>
                  <a:gd name="T68" fmla="*/ 50 w 90"/>
                  <a:gd name="T69" fmla="*/ 90 h 90"/>
                  <a:gd name="T70" fmla="*/ 50 w 90"/>
                  <a:gd name="T71" fmla="*/ 90 h 90"/>
                  <a:gd name="T72" fmla="*/ 52 w 90"/>
                  <a:gd name="T73" fmla="*/ 89 h 90"/>
                  <a:gd name="T74" fmla="*/ 53 w 90"/>
                  <a:gd name="T75" fmla="*/ 89 h 90"/>
                  <a:gd name="T76" fmla="*/ 55 w 90"/>
                  <a:gd name="T77" fmla="*/ 86 h 90"/>
                  <a:gd name="T78" fmla="*/ 55 w 90"/>
                  <a:gd name="T79" fmla="*/ 85 h 90"/>
                  <a:gd name="T80" fmla="*/ 55 w 90"/>
                  <a:gd name="T81" fmla="*/ 55 h 90"/>
                  <a:gd name="T82" fmla="*/ 85 w 90"/>
                  <a:gd name="T83" fmla="*/ 55 h 90"/>
                  <a:gd name="T84" fmla="*/ 85 w 90"/>
                  <a:gd name="T85" fmla="*/ 55 h 90"/>
                  <a:gd name="T86" fmla="*/ 87 w 90"/>
                  <a:gd name="T87" fmla="*/ 54 h 90"/>
                  <a:gd name="T88" fmla="*/ 89 w 90"/>
                  <a:gd name="T89" fmla="*/ 54 h 90"/>
                  <a:gd name="T90" fmla="*/ 90 w 90"/>
                  <a:gd name="T91" fmla="*/ 51 h 90"/>
                  <a:gd name="T92" fmla="*/ 90 w 90"/>
                  <a:gd name="T93" fmla="*/ 50 h 90"/>
                  <a:gd name="T94" fmla="*/ 90 w 90"/>
                  <a:gd name="T95" fmla="*/ 40 h 90"/>
                  <a:gd name="T96" fmla="*/ 90 w 90"/>
                  <a:gd name="T97" fmla="*/ 40 h 90"/>
                  <a:gd name="T98" fmla="*/ 90 w 90"/>
                  <a:gd name="T99" fmla="*/ 38 h 90"/>
                  <a:gd name="T100" fmla="*/ 89 w 90"/>
                  <a:gd name="T101" fmla="*/ 37 h 90"/>
                  <a:gd name="T102" fmla="*/ 87 w 90"/>
                  <a:gd name="T103" fmla="*/ 35 h 90"/>
                  <a:gd name="T104" fmla="*/ 85 w 90"/>
                  <a:gd name="T105" fmla="*/ 35 h 90"/>
                  <a:gd name="T106" fmla="*/ 85 w 90"/>
                  <a:gd name="T107" fmla="*/ 35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0" h="90">
                    <a:moveTo>
                      <a:pt x="85" y="35"/>
                    </a:moveTo>
                    <a:lnTo>
                      <a:pt x="55" y="35"/>
                    </a:lnTo>
                    <a:lnTo>
                      <a:pt x="55" y="5"/>
                    </a:lnTo>
                    <a:lnTo>
                      <a:pt x="55" y="5"/>
                    </a:lnTo>
                    <a:lnTo>
                      <a:pt x="55" y="3"/>
                    </a:lnTo>
                    <a:lnTo>
                      <a:pt x="53" y="1"/>
                    </a:lnTo>
                    <a:lnTo>
                      <a:pt x="52" y="0"/>
                    </a:lnTo>
                    <a:lnTo>
                      <a:pt x="5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9" y="0"/>
                    </a:lnTo>
                    <a:lnTo>
                      <a:pt x="36" y="1"/>
                    </a:lnTo>
                    <a:lnTo>
                      <a:pt x="35" y="3"/>
                    </a:lnTo>
                    <a:lnTo>
                      <a:pt x="35" y="5"/>
                    </a:lnTo>
                    <a:lnTo>
                      <a:pt x="35" y="35"/>
                    </a:lnTo>
                    <a:lnTo>
                      <a:pt x="5" y="35"/>
                    </a:lnTo>
                    <a:lnTo>
                      <a:pt x="5" y="35"/>
                    </a:lnTo>
                    <a:lnTo>
                      <a:pt x="4" y="35"/>
                    </a:lnTo>
                    <a:lnTo>
                      <a:pt x="1" y="37"/>
                    </a:lnTo>
                    <a:lnTo>
                      <a:pt x="1" y="38"/>
                    </a:lnTo>
                    <a:lnTo>
                      <a:pt x="0" y="4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1" y="51"/>
                    </a:lnTo>
                    <a:lnTo>
                      <a:pt x="1" y="54"/>
                    </a:lnTo>
                    <a:lnTo>
                      <a:pt x="4" y="54"/>
                    </a:lnTo>
                    <a:lnTo>
                      <a:pt x="5" y="55"/>
                    </a:lnTo>
                    <a:lnTo>
                      <a:pt x="35" y="55"/>
                    </a:lnTo>
                    <a:lnTo>
                      <a:pt x="35" y="85"/>
                    </a:lnTo>
                    <a:lnTo>
                      <a:pt x="35" y="85"/>
                    </a:lnTo>
                    <a:lnTo>
                      <a:pt x="35" y="86"/>
                    </a:lnTo>
                    <a:lnTo>
                      <a:pt x="36" y="89"/>
                    </a:lnTo>
                    <a:lnTo>
                      <a:pt x="39" y="89"/>
                    </a:lnTo>
                    <a:lnTo>
                      <a:pt x="4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2" y="89"/>
                    </a:lnTo>
                    <a:lnTo>
                      <a:pt x="53" y="89"/>
                    </a:lnTo>
                    <a:lnTo>
                      <a:pt x="55" y="86"/>
                    </a:lnTo>
                    <a:lnTo>
                      <a:pt x="55" y="85"/>
                    </a:lnTo>
                    <a:lnTo>
                      <a:pt x="55" y="55"/>
                    </a:lnTo>
                    <a:lnTo>
                      <a:pt x="85" y="55"/>
                    </a:lnTo>
                    <a:lnTo>
                      <a:pt x="85" y="55"/>
                    </a:lnTo>
                    <a:lnTo>
                      <a:pt x="87" y="54"/>
                    </a:lnTo>
                    <a:lnTo>
                      <a:pt x="89" y="54"/>
                    </a:lnTo>
                    <a:lnTo>
                      <a:pt x="90" y="51"/>
                    </a:lnTo>
                    <a:lnTo>
                      <a:pt x="90" y="50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0" y="38"/>
                    </a:lnTo>
                    <a:lnTo>
                      <a:pt x="89" y="37"/>
                    </a:lnTo>
                    <a:lnTo>
                      <a:pt x="87" y="35"/>
                    </a:lnTo>
                    <a:lnTo>
                      <a:pt x="85" y="35"/>
                    </a:lnTo>
                    <a:lnTo>
                      <a:pt x="85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</p:grpSp>
      <p:grpSp>
        <p:nvGrpSpPr>
          <p:cNvPr id="70" name="组合 69"/>
          <p:cNvGrpSpPr/>
          <p:nvPr/>
        </p:nvGrpSpPr>
        <p:grpSpPr>
          <a:xfrm>
            <a:off x="732343" y="4813234"/>
            <a:ext cx="1640128" cy="1054930"/>
            <a:chOff x="3212892" y="1799802"/>
            <a:chExt cx="1640128" cy="1054930"/>
          </a:xfrm>
        </p:grpSpPr>
        <p:sp>
          <p:nvSpPr>
            <p:cNvPr id="71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72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73" name="组合 72"/>
          <p:cNvGrpSpPr/>
          <p:nvPr/>
        </p:nvGrpSpPr>
        <p:grpSpPr>
          <a:xfrm>
            <a:off x="3004139" y="4813234"/>
            <a:ext cx="1640128" cy="1054930"/>
            <a:chOff x="3212892" y="1799802"/>
            <a:chExt cx="1640128" cy="1054930"/>
          </a:xfrm>
        </p:grpSpPr>
        <p:sp>
          <p:nvSpPr>
            <p:cNvPr id="74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75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76" name="组合 75"/>
          <p:cNvGrpSpPr/>
          <p:nvPr/>
        </p:nvGrpSpPr>
        <p:grpSpPr>
          <a:xfrm>
            <a:off x="5275935" y="4813234"/>
            <a:ext cx="1640128" cy="1054930"/>
            <a:chOff x="3212892" y="1799802"/>
            <a:chExt cx="1640128" cy="1054930"/>
          </a:xfrm>
        </p:grpSpPr>
        <p:sp>
          <p:nvSpPr>
            <p:cNvPr id="77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78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79" name="组合 78"/>
          <p:cNvGrpSpPr/>
          <p:nvPr/>
        </p:nvGrpSpPr>
        <p:grpSpPr>
          <a:xfrm>
            <a:off x="7547731" y="4813234"/>
            <a:ext cx="1640128" cy="1054930"/>
            <a:chOff x="3212892" y="1799802"/>
            <a:chExt cx="1640128" cy="1054930"/>
          </a:xfrm>
        </p:grpSpPr>
        <p:sp>
          <p:nvSpPr>
            <p:cNvPr id="80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1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82" name="组合 81"/>
          <p:cNvGrpSpPr/>
          <p:nvPr/>
        </p:nvGrpSpPr>
        <p:grpSpPr>
          <a:xfrm>
            <a:off x="9819527" y="4813234"/>
            <a:ext cx="1640128" cy="1054930"/>
            <a:chOff x="3212892" y="1799802"/>
            <a:chExt cx="1640128" cy="1054930"/>
          </a:xfrm>
        </p:grpSpPr>
        <p:sp>
          <p:nvSpPr>
            <p:cNvPr id="83" name="TextBox 53"/>
            <p:cNvSpPr txBox="1"/>
            <p:nvPr/>
          </p:nvSpPr>
          <p:spPr>
            <a:xfrm>
              <a:off x="3212894" y="2245334"/>
              <a:ext cx="164012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内容文字内容需概括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4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91" name="文本框 9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不足之处</a:t>
            </a:r>
          </a:p>
        </p:txBody>
      </p:sp>
      <p:sp>
        <p:nvSpPr>
          <p:cNvPr id="92" name="文本框 91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8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8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000"/>
                            </p:stCondLst>
                            <p:childTnLst>
                              <p:par>
                                <p:cTn id="41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7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2" presetClass="entr" presetSubtype="4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7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" presetClass="entr" presetSubtype="4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5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7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2" presetClass="entr" presetSubtype="4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9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0" dur="500" fill="hold"/>
                                        <p:tgtEl>
                                          <p:spTgt spid="8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îṧľïḓé"/>
          <p:cNvSpPr/>
          <p:nvPr/>
        </p:nvSpPr>
        <p:spPr>
          <a:xfrm>
            <a:off x="1088573" y="1582609"/>
            <a:ext cx="10014856" cy="2246026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 w="381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5213739" y="2946375"/>
            <a:ext cx="1764524" cy="1764522"/>
            <a:chOff x="5294144" y="3200400"/>
            <a:chExt cx="1603714" cy="1603712"/>
          </a:xfrm>
        </p:grpSpPr>
        <p:sp>
          <p:nvSpPr>
            <p:cNvPr id="15" name="íšļîďé"/>
            <p:cNvSpPr/>
            <p:nvPr/>
          </p:nvSpPr>
          <p:spPr>
            <a:xfrm>
              <a:off x="5294144" y="3200400"/>
              <a:ext cx="1603714" cy="1603712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 w="38100" cap="flat" cmpd="sng" algn="ctr">
              <a:solidFill>
                <a:schemeClr val="lt1">
                  <a:lumMod val="95000"/>
                </a:schemeClr>
              </a:solidFill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 dirty="0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6" name="íšļîďé"/>
            <p:cNvSpPr/>
            <p:nvPr/>
          </p:nvSpPr>
          <p:spPr>
            <a:xfrm>
              <a:off x="5700545" y="3614509"/>
              <a:ext cx="790912" cy="775491"/>
            </a:xfrm>
            <a:custGeom>
              <a:avLst/>
              <a:gdLst>
                <a:gd name="T0" fmla="*/ 1312 w 1990"/>
                <a:gd name="T1" fmla="*/ 1552 h 1954"/>
                <a:gd name="T2" fmla="*/ 291 w 1990"/>
                <a:gd name="T3" fmla="*/ 1746 h 1954"/>
                <a:gd name="T4" fmla="*/ 0 w 1990"/>
                <a:gd name="T5" fmla="*/ 540 h 1954"/>
                <a:gd name="T6" fmla="*/ 515 w 1990"/>
                <a:gd name="T7" fmla="*/ 249 h 1954"/>
                <a:gd name="T8" fmla="*/ 1205 w 1990"/>
                <a:gd name="T9" fmla="*/ 0 h 1954"/>
                <a:gd name="T10" fmla="*/ 1496 w 1990"/>
                <a:gd name="T11" fmla="*/ 489 h 1954"/>
                <a:gd name="T12" fmla="*/ 1413 w 1990"/>
                <a:gd name="T13" fmla="*/ 291 h 1954"/>
                <a:gd name="T14" fmla="*/ 802 w 1990"/>
                <a:gd name="T15" fmla="*/ 83 h 1954"/>
                <a:gd name="T16" fmla="*/ 1039 w 1990"/>
                <a:gd name="T17" fmla="*/ 249 h 1954"/>
                <a:gd name="T18" fmla="*/ 1243 w 1990"/>
                <a:gd name="T19" fmla="*/ 499 h 1954"/>
                <a:gd name="T20" fmla="*/ 291 w 1990"/>
                <a:gd name="T21" fmla="*/ 333 h 1954"/>
                <a:gd name="T22" fmla="*/ 83 w 1990"/>
                <a:gd name="T23" fmla="*/ 1455 h 1954"/>
                <a:gd name="T24" fmla="*/ 1039 w 1990"/>
                <a:gd name="T25" fmla="*/ 1663 h 1954"/>
                <a:gd name="T26" fmla="*/ 1641 w 1990"/>
                <a:gd name="T27" fmla="*/ 1453 h 1954"/>
                <a:gd name="T28" fmla="*/ 1138 w 1990"/>
                <a:gd name="T29" fmla="*/ 583 h 1954"/>
                <a:gd name="T30" fmla="*/ 1641 w 1990"/>
                <a:gd name="T31" fmla="*/ 1453 h 1954"/>
                <a:gd name="T32" fmla="*/ 1752 w 1990"/>
                <a:gd name="T33" fmla="*/ 809 h 1954"/>
                <a:gd name="T34" fmla="*/ 1026 w 1990"/>
                <a:gd name="T35" fmla="*/ 1228 h 1954"/>
                <a:gd name="T36" fmla="*/ 1767 w 1990"/>
                <a:gd name="T37" fmla="*/ 1422 h 1954"/>
                <a:gd name="T38" fmla="*/ 1717 w 1990"/>
                <a:gd name="T39" fmla="*/ 1835 h 1954"/>
                <a:gd name="T40" fmla="*/ 1767 w 1990"/>
                <a:gd name="T41" fmla="*/ 1422 h 1954"/>
                <a:gd name="T42" fmla="*/ 1739 w 1990"/>
                <a:gd name="T43" fmla="*/ 1874 h 1954"/>
                <a:gd name="T44" fmla="*/ 1956 w 1990"/>
                <a:gd name="T45" fmla="*/ 1749 h 1954"/>
                <a:gd name="T46" fmla="*/ 249 w 1990"/>
                <a:gd name="T47" fmla="*/ 551 h 1954"/>
                <a:gd name="T48" fmla="*/ 803 w 1990"/>
                <a:gd name="T49" fmla="*/ 613 h 1954"/>
                <a:gd name="T50" fmla="*/ 675 w 1990"/>
                <a:gd name="T51" fmla="*/ 828 h 1954"/>
                <a:gd name="T52" fmla="*/ 249 w 1990"/>
                <a:gd name="T53" fmla="*/ 890 h 1954"/>
                <a:gd name="T54" fmla="*/ 675 w 1990"/>
                <a:gd name="T55" fmla="*/ 828 h 1954"/>
                <a:gd name="T56" fmla="*/ 675 w 1990"/>
                <a:gd name="T57" fmla="*/ 1167 h 1954"/>
                <a:gd name="T58" fmla="*/ 249 w 1990"/>
                <a:gd name="T59" fmla="*/ 1105 h 1954"/>
                <a:gd name="T60" fmla="*/ 249 w 1990"/>
                <a:gd name="T61" fmla="*/ 1444 h 1954"/>
                <a:gd name="T62" fmla="*/ 803 w 1990"/>
                <a:gd name="T63" fmla="*/ 1382 h 1954"/>
                <a:gd name="T64" fmla="*/ 249 w 1990"/>
                <a:gd name="T65" fmla="*/ 1444 h 1954"/>
                <a:gd name="T66" fmla="*/ 1179 w 1990"/>
                <a:gd name="T67" fmla="*/ 961 h 1954"/>
                <a:gd name="T68" fmla="*/ 1300 w 1990"/>
                <a:gd name="T69" fmla="*/ 1219 h 1954"/>
                <a:gd name="T70" fmla="*/ 1604 w 1990"/>
                <a:gd name="T71" fmla="*/ 858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990" h="1954">
                  <a:moveTo>
                    <a:pt x="1231" y="1534"/>
                  </a:moveTo>
                  <a:cubicBezTo>
                    <a:pt x="1258" y="1542"/>
                    <a:pt x="1285" y="1548"/>
                    <a:pt x="1312" y="1552"/>
                  </a:cubicBezTo>
                  <a:cubicBezTo>
                    <a:pt x="1272" y="1665"/>
                    <a:pt x="1165" y="1746"/>
                    <a:pt x="1039" y="1746"/>
                  </a:cubicBezTo>
                  <a:lnTo>
                    <a:pt x="291" y="1746"/>
                  </a:lnTo>
                  <a:cubicBezTo>
                    <a:pt x="131" y="1746"/>
                    <a:pt x="0" y="1615"/>
                    <a:pt x="0" y="1455"/>
                  </a:cubicBezTo>
                  <a:lnTo>
                    <a:pt x="0" y="540"/>
                  </a:lnTo>
                  <a:cubicBezTo>
                    <a:pt x="0" y="380"/>
                    <a:pt x="131" y="249"/>
                    <a:pt x="291" y="249"/>
                  </a:cubicBezTo>
                  <a:lnTo>
                    <a:pt x="515" y="249"/>
                  </a:lnTo>
                  <a:cubicBezTo>
                    <a:pt x="535" y="109"/>
                    <a:pt x="656" y="0"/>
                    <a:pt x="802" y="0"/>
                  </a:cubicBezTo>
                  <a:lnTo>
                    <a:pt x="1205" y="0"/>
                  </a:lnTo>
                  <a:cubicBezTo>
                    <a:pt x="1366" y="0"/>
                    <a:pt x="1496" y="131"/>
                    <a:pt x="1496" y="291"/>
                  </a:cubicBezTo>
                  <a:lnTo>
                    <a:pt x="1496" y="489"/>
                  </a:lnTo>
                  <a:cubicBezTo>
                    <a:pt x="1469" y="484"/>
                    <a:pt x="1441" y="480"/>
                    <a:pt x="1413" y="479"/>
                  </a:cubicBezTo>
                  <a:lnTo>
                    <a:pt x="1413" y="291"/>
                  </a:lnTo>
                  <a:cubicBezTo>
                    <a:pt x="1413" y="176"/>
                    <a:pt x="1320" y="83"/>
                    <a:pt x="1205" y="83"/>
                  </a:cubicBezTo>
                  <a:lnTo>
                    <a:pt x="802" y="83"/>
                  </a:lnTo>
                  <a:cubicBezTo>
                    <a:pt x="701" y="83"/>
                    <a:pt x="617" y="155"/>
                    <a:pt x="598" y="249"/>
                  </a:cubicBezTo>
                  <a:lnTo>
                    <a:pt x="1039" y="249"/>
                  </a:lnTo>
                  <a:cubicBezTo>
                    <a:pt x="1180" y="249"/>
                    <a:pt x="1297" y="349"/>
                    <a:pt x="1324" y="482"/>
                  </a:cubicBezTo>
                  <a:cubicBezTo>
                    <a:pt x="1297" y="485"/>
                    <a:pt x="1270" y="491"/>
                    <a:pt x="1243" y="499"/>
                  </a:cubicBezTo>
                  <a:cubicBezTo>
                    <a:pt x="1224" y="404"/>
                    <a:pt x="1140" y="333"/>
                    <a:pt x="1039" y="333"/>
                  </a:cubicBezTo>
                  <a:lnTo>
                    <a:pt x="291" y="333"/>
                  </a:lnTo>
                  <a:cubicBezTo>
                    <a:pt x="177" y="333"/>
                    <a:pt x="83" y="426"/>
                    <a:pt x="83" y="540"/>
                  </a:cubicBezTo>
                  <a:lnTo>
                    <a:pt x="83" y="1455"/>
                  </a:lnTo>
                  <a:cubicBezTo>
                    <a:pt x="83" y="1569"/>
                    <a:pt x="177" y="1663"/>
                    <a:pt x="291" y="1663"/>
                  </a:cubicBezTo>
                  <a:lnTo>
                    <a:pt x="1039" y="1663"/>
                  </a:lnTo>
                  <a:cubicBezTo>
                    <a:pt x="1126" y="1663"/>
                    <a:pt x="1200" y="1609"/>
                    <a:pt x="1231" y="1534"/>
                  </a:cubicBezTo>
                  <a:close/>
                  <a:moveTo>
                    <a:pt x="1641" y="1453"/>
                  </a:moveTo>
                  <a:cubicBezTo>
                    <a:pt x="1401" y="1591"/>
                    <a:pt x="1093" y="1509"/>
                    <a:pt x="955" y="1269"/>
                  </a:cubicBezTo>
                  <a:cubicBezTo>
                    <a:pt x="816" y="1029"/>
                    <a:pt x="899" y="722"/>
                    <a:pt x="1138" y="583"/>
                  </a:cubicBezTo>
                  <a:cubicBezTo>
                    <a:pt x="1378" y="445"/>
                    <a:pt x="1686" y="527"/>
                    <a:pt x="1824" y="767"/>
                  </a:cubicBezTo>
                  <a:cubicBezTo>
                    <a:pt x="1963" y="1007"/>
                    <a:pt x="1880" y="1314"/>
                    <a:pt x="1641" y="1453"/>
                  </a:cubicBezTo>
                  <a:close/>
                  <a:moveTo>
                    <a:pt x="1599" y="1381"/>
                  </a:moveTo>
                  <a:cubicBezTo>
                    <a:pt x="1799" y="1266"/>
                    <a:pt x="1868" y="1009"/>
                    <a:pt x="1752" y="809"/>
                  </a:cubicBezTo>
                  <a:cubicBezTo>
                    <a:pt x="1637" y="608"/>
                    <a:pt x="1380" y="539"/>
                    <a:pt x="1180" y="655"/>
                  </a:cubicBezTo>
                  <a:cubicBezTo>
                    <a:pt x="980" y="771"/>
                    <a:pt x="911" y="1027"/>
                    <a:pt x="1026" y="1228"/>
                  </a:cubicBezTo>
                  <a:cubicBezTo>
                    <a:pt x="1142" y="1428"/>
                    <a:pt x="1399" y="1497"/>
                    <a:pt x="1599" y="1381"/>
                  </a:cubicBezTo>
                  <a:close/>
                  <a:moveTo>
                    <a:pt x="1767" y="1422"/>
                  </a:moveTo>
                  <a:lnTo>
                    <a:pt x="1551" y="1547"/>
                  </a:lnTo>
                  <a:lnTo>
                    <a:pt x="1717" y="1835"/>
                  </a:lnTo>
                  <a:lnTo>
                    <a:pt x="1933" y="1710"/>
                  </a:lnTo>
                  <a:lnTo>
                    <a:pt x="1767" y="1422"/>
                  </a:lnTo>
                  <a:close/>
                  <a:moveTo>
                    <a:pt x="1956" y="1749"/>
                  </a:moveTo>
                  <a:lnTo>
                    <a:pt x="1739" y="1874"/>
                  </a:lnTo>
                  <a:cubicBezTo>
                    <a:pt x="1774" y="1934"/>
                    <a:pt x="1850" y="1954"/>
                    <a:pt x="1910" y="1919"/>
                  </a:cubicBezTo>
                  <a:cubicBezTo>
                    <a:pt x="1969" y="1885"/>
                    <a:pt x="1990" y="1809"/>
                    <a:pt x="1956" y="1749"/>
                  </a:cubicBezTo>
                  <a:close/>
                  <a:moveTo>
                    <a:pt x="803" y="551"/>
                  </a:moveTo>
                  <a:lnTo>
                    <a:pt x="249" y="551"/>
                  </a:lnTo>
                  <a:lnTo>
                    <a:pt x="249" y="613"/>
                  </a:lnTo>
                  <a:lnTo>
                    <a:pt x="803" y="613"/>
                  </a:lnTo>
                  <a:lnTo>
                    <a:pt x="803" y="551"/>
                  </a:lnTo>
                  <a:close/>
                  <a:moveTo>
                    <a:pt x="675" y="828"/>
                  </a:moveTo>
                  <a:lnTo>
                    <a:pt x="249" y="828"/>
                  </a:lnTo>
                  <a:lnTo>
                    <a:pt x="249" y="890"/>
                  </a:lnTo>
                  <a:lnTo>
                    <a:pt x="675" y="890"/>
                  </a:lnTo>
                  <a:lnTo>
                    <a:pt x="675" y="828"/>
                  </a:lnTo>
                  <a:close/>
                  <a:moveTo>
                    <a:pt x="249" y="1167"/>
                  </a:moveTo>
                  <a:lnTo>
                    <a:pt x="675" y="1167"/>
                  </a:lnTo>
                  <a:lnTo>
                    <a:pt x="675" y="1105"/>
                  </a:lnTo>
                  <a:lnTo>
                    <a:pt x="249" y="1105"/>
                  </a:lnTo>
                  <a:lnTo>
                    <a:pt x="249" y="1167"/>
                  </a:lnTo>
                  <a:close/>
                  <a:moveTo>
                    <a:pt x="249" y="1444"/>
                  </a:moveTo>
                  <a:lnTo>
                    <a:pt x="803" y="1444"/>
                  </a:lnTo>
                  <a:lnTo>
                    <a:pt x="803" y="1382"/>
                  </a:lnTo>
                  <a:lnTo>
                    <a:pt x="249" y="1382"/>
                  </a:lnTo>
                  <a:lnTo>
                    <a:pt x="249" y="1444"/>
                  </a:lnTo>
                  <a:close/>
                  <a:moveTo>
                    <a:pt x="1308" y="1105"/>
                  </a:moveTo>
                  <a:lnTo>
                    <a:pt x="1179" y="961"/>
                  </a:lnTo>
                  <a:lnTo>
                    <a:pt x="1118" y="1017"/>
                  </a:lnTo>
                  <a:lnTo>
                    <a:pt x="1300" y="1219"/>
                  </a:lnTo>
                  <a:lnTo>
                    <a:pt x="1657" y="922"/>
                  </a:lnTo>
                  <a:lnTo>
                    <a:pt x="1604" y="858"/>
                  </a:lnTo>
                  <a:lnTo>
                    <a:pt x="1308" y="1105"/>
                  </a:lnTo>
                  <a:close/>
                </a:path>
              </a:pathLst>
            </a:custGeom>
            <a:solidFill>
              <a:srgbClr val="7030A0"/>
            </a:solidFill>
            <a:ln w="38100" cap="flat" cmpd="sng" algn="ctr">
              <a:noFill/>
              <a:prstDash val="solid"/>
              <a:miter lim="800000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en-US"/>
              </a:defPPr>
              <a:lvl1pPr marL="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4572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6978263" y="4565592"/>
            <a:ext cx="3740263" cy="978730"/>
            <a:chOff x="1969913" y="1876002"/>
            <a:chExt cx="3740263" cy="978730"/>
          </a:xfrm>
        </p:grpSpPr>
        <p:sp>
          <p:nvSpPr>
            <p:cNvPr id="19" name="TextBox 53"/>
            <p:cNvSpPr txBox="1"/>
            <p:nvPr/>
          </p:nvSpPr>
          <p:spPr>
            <a:xfrm>
              <a:off x="1977501" y="2245334"/>
              <a:ext cx="3732675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0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1353341" y="4565592"/>
            <a:ext cx="3848084" cy="978730"/>
            <a:chOff x="1977502" y="1876002"/>
            <a:chExt cx="3848084" cy="978730"/>
          </a:xfrm>
        </p:grpSpPr>
        <p:sp>
          <p:nvSpPr>
            <p:cNvPr id="22" name="TextBox 53"/>
            <p:cNvSpPr txBox="1"/>
            <p:nvPr/>
          </p:nvSpPr>
          <p:spPr>
            <a:xfrm>
              <a:off x="1977502" y="2245334"/>
              <a:ext cx="3848084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3" name="TextBox 42"/>
            <p:cNvSpPr txBox="1"/>
            <p:nvPr/>
          </p:nvSpPr>
          <p:spPr>
            <a:xfrm>
              <a:off x="4185458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cxnSp>
        <p:nvCxnSpPr>
          <p:cNvPr id="25" name="直接连接符 24"/>
          <p:cNvCxnSpPr/>
          <p:nvPr/>
        </p:nvCxnSpPr>
        <p:spPr>
          <a:xfrm>
            <a:off x="6096001" y="4565592"/>
            <a:ext cx="0" cy="1099595"/>
          </a:xfrm>
          <a:prstGeom prst="line">
            <a:avLst/>
          </a:prstGeom>
          <a:ln w="19050" cap="rnd">
            <a:solidFill>
              <a:schemeClr val="lt1">
                <a:lumMod val="100000"/>
              </a:schemeClr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文本框 23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不足之处</a:t>
            </a:r>
          </a:p>
        </p:txBody>
      </p:sp>
      <p:sp>
        <p:nvSpPr>
          <p:cNvPr id="26" name="文本框 25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1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26"/>
          <p:cNvSpPr>
            <a:spLocks noEditPoints="1"/>
          </p:cNvSpPr>
          <p:nvPr/>
        </p:nvSpPr>
        <p:spPr bwMode="auto">
          <a:xfrm>
            <a:off x="6366845" y="1799693"/>
            <a:ext cx="400902" cy="471756"/>
          </a:xfrm>
          <a:custGeom>
            <a:avLst/>
            <a:gdLst>
              <a:gd name="T0" fmla="*/ 625 w 859"/>
              <a:gd name="T1" fmla="*/ 820 h 1015"/>
              <a:gd name="T2" fmla="*/ 625 w 859"/>
              <a:gd name="T3" fmla="*/ 351 h 1015"/>
              <a:gd name="T4" fmla="*/ 429 w 859"/>
              <a:gd name="T5" fmla="*/ 156 h 1015"/>
              <a:gd name="T6" fmla="*/ 274 w 859"/>
              <a:gd name="T7" fmla="*/ 156 h 1015"/>
              <a:gd name="T8" fmla="*/ 274 w 859"/>
              <a:gd name="T9" fmla="*/ 39 h 1015"/>
              <a:gd name="T10" fmla="*/ 625 w 859"/>
              <a:gd name="T11" fmla="*/ 39 h 1015"/>
              <a:gd name="T12" fmla="*/ 625 w 859"/>
              <a:gd name="T13" fmla="*/ 234 h 1015"/>
              <a:gd name="T14" fmla="*/ 820 w 859"/>
              <a:gd name="T15" fmla="*/ 234 h 1015"/>
              <a:gd name="T16" fmla="*/ 820 w 859"/>
              <a:gd name="T17" fmla="*/ 820 h 1015"/>
              <a:gd name="T18" fmla="*/ 625 w 859"/>
              <a:gd name="T19" fmla="*/ 820 h 1015"/>
              <a:gd name="T20" fmla="*/ 429 w 859"/>
              <a:gd name="T21" fmla="*/ 211 h 1015"/>
              <a:gd name="T22" fmla="*/ 570 w 859"/>
              <a:gd name="T23" fmla="*/ 351 h 1015"/>
              <a:gd name="T24" fmla="*/ 429 w 859"/>
              <a:gd name="T25" fmla="*/ 351 h 1015"/>
              <a:gd name="T26" fmla="*/ 429 w 859"/>
              <a:gd name="T27" fmla="*/ 211 h 1015"/>
              <a:gd name="T28" fmla="*/ 39 w 859"/>
              <a:gd name="T29" fmla="*/ 976 h 1015"/>
              <a:gd name="T30" fmla="*/ 39 w 859"/>
              <a:gd name="T31" fmla="*/ 195 h 1015"/>
              <a:gd name="T32" fmla="*/ 390 w 859"/>
              <a:gd name="T33" fmla="*/ 195 h 1015"/>
              <a:gd name="T34" fmla="*/ 390 w 859"/>
              <a:gd name="T35" fmla="*/ 390 h 1015"/>
              <a:gd name="T36" fmla="*/ 586 w 859"/>
              <a:gd name="T37" fmla="*/ 390 h 1015"/>
              <a:gd name="T38" fmla="*/ 586 w 859"/>
              <a:gd name="T39" fmla="*/ 976 h 1015"/>
              <a:gd name="T40" fmla="*/ 39 w 859"/>
              <a:gd name="T41" fmla="*/ 976 h 1015"/>
              <a:gd name="T42" fmla="*/ 664 w 859"/>
              <a:gd name="T43" fmla="*/ 56 h 1015"/>
              <a:gd name="T44" fmla="*/ 804 w 859"/>
              <a:gd name="T45" fmla="*/ 195 h 1015"/>
              <a:gd name="T46" fmla="*/ 664 w 859"/>
              <a:gd name="T47" fmla="*/ 195 h 1015"/>
              <a:gd name="T48" fmla="*/ 664 w 859"/>
              <a:gd name="T49" fmla="*/ 56 h 1015"/>
              <a:gd name="T50" fmla="*/ 859 w 859"/>
              <a:gd name="T51" fmla="*/ 195 h 1015"/>
              <a:gd name="T52" fmla="*/ 664 w 859"/>
              <a:gd name="T53" fmla="*/ 0 h 1015"/>
              <a:gd name="T54" fmla="*/ 235 w 859"/>
              <a:gd name="T55" fmla="*/ 0 h 1015"/>
              <a:gd name="T56" fmla="*/ 235 w 859"/>
              <a:gd name="T57" fmla="*/ 156 h 1015"/>
              <a:gd name="T58" fmla="*/ 0 w 859"/>
              <a:gd name="T59" fmla="*/ 156 h 1015"/>
              <a:gd name="T60" fmla="*/ 0 w 859"/>
              <a:gd name="T61" fmla="*/ 1015 h 1015"/>
              <a:gd name="T62" fmla="*/ 625 w 859"/>
              <a:gd name="T63" fmla="*/ 1015 h 1015"/>
              <a:gd name="T64" fmla="*/ 625 w 859"/>
              <a:gd name="T65" fmla="*/ 859 h 1015"/>
              <a:gd name="T66" fmla="*/ 859 w 859"/>
              <a:gd name="T67" fmla="*/ 859 h 1015"/>
              <a:gd name="T68" fmla="*/ 859 w 859"/>
              <a:gd name="T69" fmla="*/ 195 h 10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59" h="1015">
                <a:moveTo>
                  <a:pt x="625" y="820"/>
                </a:moveTo>
                <a:lnTo>
                  <a:pt x="625" y="351"/>
                </a:lnTo>
                <a:lnTo>
                  <a:pt x="429" y="156"/>
                </a:lnTo>
                <a:lnTo>
                  <a:pt x="274" y="156"/>
                </a:lnTo>
                <a:lnTo>
                  <a:pt x="274" y="39"/>
                </a:lnTo>
                <a:lnTo>
                  <a:pt x="625" y="39"/>
                </a:lnTo>
                <a:lnTo>
                  <a:pt x="625" y="234"/>
                </a:lnTo>
                <a:lnTo>
                  <a:pt x="820" y="234"/>
                </a:lnTo>
                <a:lnTo>
                  <a:pt x="820" y="820"/>
                </a:lnTo>
                <a:lnTo>
                  <a:pt x="625" y="820"/>
                </a:lnTo>
                <a:close/>
                <a:moveTo>
                  <a:pt x="429" y="211"/>
                </a:moveTo>
                <a:lnTo>
                  <a:pt x="570" y="351"/>
                </a:lnTo>
                <a:lnTo>
                  <a:pt x="429" y="351"/>
                </a:lnTo>
                <a:lnTo>
                  <a:pt x="429" y="211"/>
                </a:lnTo>
                <a:close/>
                <a:moveTo>
                  <a:pt x="39" y="976"/>
                </a:moveTo>
                <a:lnTo>
                  <a:pt x="39" y="195"/>
                </a:lnTo>
                <a:lnTo>
                  <a:pt x="390" y="195"/>
                </a:lnTo>
                <a:lnTo>
                  <a:pt x="390" y="390"/>
                </a:lnTo>
                <a:lnTo>
                  <a:pt x="586" y="390"/>
                </a:lnTo>
                <a:lnTo>
                  <a:pt x="586" y="976"/>
                </a:lnTo>
                <a:lnTo>
                  <a:pt x="39" y="976"/>
                </a:lnTo>
                <a:close/>
                <a:moveTo>
                  <a:pt x="664" y="56"/>
                </a:moveTo>
                <a:lnTo>
                  <a:pt x="804" y="195"/>
                </a:lnTo>
                <a:lnTo>
                  <a:pt x="664" y="195"/>
                </a:lnTo>
                <a:lnTo>
                  <a:pt x="664" y="56"/>
                </a:lnTo>
                <a:close/>
                <a:moveTo>
                  <a:pt x="859" y="195"/>
                </a:moveTo>
                <a:lnTo>
                  <a:pt x="664" y="0"/>
                </a:lnTo>
                <a:lnTo>
                  <a:pt x="235" y="0"/>
                </a:lnTo>
                <a:lnTo>
                  <a:pt x="235" y="156"/>
                </a:lnTo>
                <a:lnTo>
                  <a:pt x="0" y="156"/>
                </a:lnTo>
                <a:lnTo>
                  <a:pt x="0" y="1015"/>
                </a:lnTo>
                <a:lnTo>
                  <a:pt x="625" y="1015"/>
                </a:lnTo>
                <a:lnTo>
                  <a:pt x="625" y="859"/>
                </a:lnTo>
                <a:lnTo>
                  <a:pt x="859" y="859"/>
                </a:lnTo>
                <a:lnTo>
                  <a:pt x="859" y="195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>
              <a:solidFill>
                <a:prstClr val="black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33" name="Freeform 143"/>
          <p:cNvSpPr>
            <a:spLocks noEditPoints="1"/>
          </p:cNvSpPr>
          <p:nvPr/>
        </p:nvSpPr>
        <p:spPr bwMode="auto">
          <a:xfrm>
            <a:off x="9049253" y="1873065"/>
            <a:ext cx="415127" cy="415127"/>
          </a:xfrm>
          <a:custGeom>
            <a:avLst/>
            <a:gdLst>
              <a:gd name="T0" fmla="*/ 378 w 897"/>
              <a:gd name="T1" fmla="*/ 548 h 899"/>
              <a:gd name="T2" fmla="*/ 352 w 897"/>
              <a:gd name="T3" fmla="*/ 517 h 899"/>
              <a:gd name="T4" fmla="*/ 828 w 897"/>
              <a:gd name="T5" fmla="*/ 42 h 899"/>
              <a:gd name="T6" fmla="*/ 836 w 897"/>
              <a:gd name="T7" fmla="*/ 39 h 899"/>
              <a:gd name="T8" fmla="*/ 841 w 897"/>
              <a:gd name="T9" fmla="*/ 39 h 899"/>
              <a:gd name="T10" fmla="*/ 849 w 897"/>
              <a:gd name="T11" fmla="*/ 42 h 899"/>
              <a:gd name="T12" fmla="*/ 855 w 897"/>
              <a:gd name="T13" fmla="*/ 49 h 899"/>
              <a:gd name="T14" fmla="*/ 857 w 897"/>
              <a:gd name="T15" fmla="*/ 56 h 899"/>
              <a:gd name="T16" fmla="*/ 857 w 897"/>
              <a:gd name="T17" fmla="*/ 62 h 899"/>
              <a:gd name="T18" fmla="*/ 855 w 897"/>
              <a:gd name="T19" fmla="*/ 68 h 899"/>
              <a:gd name="T20" fmla="*/ 703 w 897"/>
              <a:gd name="T21" fmla="*/ 860 h 899"/>
              <a:gd name="T22" fmla="*/ 40 w 897"/>
              <a:gd name="T23" fmla="*/ 196 h 899"/>
              <a:gd name="T24" fmla="*/ 313 w 897"/>
              <a:gd name="T25" fmla="*/ 501 h 899"/>
              <a:gd name="T26" fmla="*/ 394 w 897"/>
              <a:gd name="T27" fmla="*/ 587 h 899"/>
              <a:gd name="T28" fmla="*/ 703 w 897"/>
              <a:gd name="T29" fmla="*/ 860 h 899"/>
              <a:gd name="T30" fmla="*/ 876 w 897"/>
              <a:gd name="T31" fmla="*/ 13 h 899"/>
              <a:gd name="T32" fmla="*/ 866 w 897"/>
              <a:gd name="T33" fmla="*/ 7 h 899"/>
              <a:gd name="T34" fmla="*/ 855 w 897"/>
              <a:gd name="T35" fmla="*/ 2 h 899"/>
              <a:gd name="T36" fmla="*/ 844 w 897"/>
              <a:gd name="T37" fmla="*/ 0 h 899"/>
              <a:gd name="T38" fmla="*/ 832 w 897"/>
              <a:gd name="T39" fmla="*/ 0 h 899"/>
              <a:gd name="T40" fmla="*/ 822 w 897"/>
              <a:gd name="T41" fmla="*/ 2 h 899"/>
              <a:gd name="T42" fmla="*/ 811 w 897"/>
              <a:gd name="T43" fmla="*/ 7 h 899"/>
              <a:gd name="T44" fmla="*/ 801 w 897"/>
              <a:gd name="T45" fmla="*/ 13 h 899"/>
              <a:gd name="T46" fmla="*/ 625 w 897"/>
              <a:gd name="T47" fmla="*/ 189 h 899"/>
              <a:gd name="T48" fmla="*/ 0 w 897"/>
              <a:gd name="T49" fmla="*/ 157 h 899"/>
              <a:gd name="T50" fmla="*/ 742 w 897"/>
              <a:gd name="T51" fmla="*/ 899 h 899"/>
              <a:gd name="T52" fmla="*/ 706 w 897"/>
              <a:gd name="T53" fmla="*/ 274 h 899"/>
              <a:gd name="T54" fmla="*/ 884 w 897"/>
              <a:gd name="T55" fmla="*/ 95 h 899"/>
              <a:gd name="T56" fmla="*/ 891 w 897"/>
              <a:gd name="T57" fmla="*/ 85 h 899"/>
              <a:gd name="T58" fmla="*/ 895 w 897"/>
              <a:gd name="T59" fmla="*/ 76 h 899"/>
              <a:gd name="T60" fmla="*/ 897 w 897"/>
              <a:gd name="T61" fmla="*/ 64 h 899"/>
              <a:gd name="T62" fmla="*/ 897 w 897"/>
              <a:gd name="T63" fmla="*/ 53 h 899"/>
              <a:gd name="T64" fmla="*/ 895 w 897"/>
              <a:gd name="T65" fmla="*/ 42 h 899"/>
              <a:gd name="T66" fmla="*/ 891 w 897"/>
              <a:gd name="T67" fmla="*/ 31 h 899"/>
              <a:gd name="T68" fmla="*/ 884 w 897"/>
              <a:gd name="T69" fmla="*/ 22 h 8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897" h="899">
                <a:moveTo>
                  <a:pt x="852" y="72"/>
                </a:moveTo>
                <a:lnTo>
                  <a:pt x="378" y="548"/>
                </a:lnTo>
                <a:lnTo>
                  <a:pt x="352" y="548"/>
                </a:lnTo>
                <a:lnTo>
                  <a:pt x="352" y="517"/>
                </a:lnTo>
                <a:lnTo>
                  <a:pt x="825" y="44"/>
                </a:lnTo>
                <a:lnTo>
                  <a:pt x="828" y="42"/>
                </a:lnTo>
                <a:lnTo>
                  <a:pt x="832" y="40"/>
                </a:lnTo>
                <a:lnTo>
                  <a:pt x="836" y="39"/>
                </a:lnTo>
                <a:lnTo>
                  <a:pt x="839" y="39"/>
                </a:lnTo>
                <a:lnTo>
                  <a:pt x="841" y="39"/>
                </a:lnTo>
                <a:lnTo>
                  <a:pt x="844" y="40"/>
                </a:lnTo>
                <a:lnTo>
                  <a:pt x="849" y="42"/>
                </a:lnTo>
                <a:lnTo>
                  <a:pt x="852" y="44"/>
                </a:lnTo>
                <a:lnTo>
                  <a:pt x="855" y="49"/>
                </a:lnTo>
                <a:lnTo>
                  <a:pt x="857" y="52"/>
                </a:lnTo>
                <a:lnTo>
                  <a:pt x="857" y="56"/>
                </a:lnTo>
                <a:lnTo>
                  <a:pt x="858" y="58"/>
                </a:lnTo>
                <a:lnTo>
                  <a:pt x="857" y="62"/>
                </a:lnTo>
                <a:lnTo>
                  <a:pt x="857" y="65"/>
                </a:lnTo>
                <a:lnTo>
                  <a:pt x="855" y="68"/>
                </a:lnTo>
                <a:lnTo>
                  <a:pt x="852" y="72"/>
                </a:lnTo>
                <a:close/>
                <a:moveTo>
                  <a:pt x="703" y="860"/>
                </a:moveTo>
                <a:lnTo>
                  <a:pt x="40" y="860"/>
                </a:lnTo>
                <a:lnTo>
                  <a:pt x="40" y="196"/>
                </a:lnTo>
                <a:lnTo>
                  <a:pt x="619" y="196"/>
                </a:lnTo>
                <a:lnTo>
                  <a:pt x="313" y="501"/>
                </a:lnTo>
                <a:lnTo>
                  <a:pt x="313" y="587"/>
                </a:lnTo>
                <a:lnTo>
                  <a:pt x="394" y="587"/>
                </a:lnTo>
                <a:lnTo>
                  <a:pt x="703" y="277"/>
                </a:lnTo>
                <a:lnTo>
                  <a:pt x="703" y="860"/>
                </a:lnTo>
                <a:close/>
                <a:moveTo>
                  <a:pt x="880" y="17"/>
                </a:moveTo>
                <a:lnTo>
                  <a:pt x="876" y="13"/>
                </a:lnTo>
                <a:lnTo>
                  <a:pt x="870" y="10"/>
                </a:lnTo>
                <a:lnTo>
                  <a:pt x="866" y="7"/>
                </a:lnTo>
                <a:lnTo>
                  <a:pt x="861" y="4"/>
                </a:lnTo>
                <a:lnTo>
                  <a:pt x="855" y="2"/>
                </a:lnTo>
                <a:lnTo>
                  <a:pt x="850" y="1"/>
                </a:lnTo>
                <a:lnTo>
                  <a:pt x="844" y="0"/>
                </a:lnTo>
                <a:lnTo>
                  <a:pt x="839" y="0"/>
                </a:lnTo>
                <a:lnTo>
                  <a:pt x="832" y="0"/>
                </a:lnTo>
                <a:lnTo>
                  <a:pt x="827" y="1"/>
                </a:lnTo>
                <a:lnTo>
                  <a:pt x="822" y="2"/>
                </a:lnTo>
                <a:lnTo>
                  <a:pt x="816" y="4"/>
                </a:lnTo>
                <a:lnTo>
                  <a:pt x="811" y="7"/>
                </a:lnTo>
                <a:lnTo>
                  <a:pt x="807" y="10"/>
                </a:lnTo>
                <a:lnTo>
                  <a:pt x="801" y="13"/>
                </a:lnTo>
                <a:lnTo>
                  <a:pt x="797" y="17"/>
                </a:lnTo>
                <a:lnTo>
                  <a:pt x="625" y="189"/>
                </a:lnTo>
                <a:lnTo>
                  <a:pt x="625" y="157"/>
                </a:lnTo>
                <a:lnTo>
                  <a:pt x="0" y="157"/>
                </a:lnTo>
                <a:lnTo>
                  <a:pt x="0" y="899"/>
                </a:lnTo>
                <a:lnTo>
                  <a:pt x="742" y="899"/>
                </a:lnTo>
                <a:lnTo>
                  <a:pt x="742" y="274"/>
                </a:lnTo>
                <a:lnTo>
                  <a:pt x="706" y="274"/>
                </a:lnTo>
                <a:lnTo>
                  <a:pt x="880" y="101"/>
                </a:lnTo>
                <a:lnTo>
                  <a:pt x="884" y="95"/>
                </a:lnTo>
                <a:lnTo>
                  <a:pt x="888" y="91"/>
                </a:lnTo>
                <a:lnTo>
                  <a:pt x="891" y="85"/>
                </a:lnTo>
                <a:lnTo>
                  <a:pt x="893" y="81"/>
                </a:lnTo>
                <a:lnTo>
                  <a:pt x="895" y="76"/>
                </a:lnTo>
                <a:lnTo>
                  <a:pt x="896" y="70"/>
                </a:lnTo>
                <a:lnTo>
                  <a:pt x="897" y="64"/>
                </a:lnTo>
                <a:lnTo>
                  <a:pt x="897" y="58"/>
                </a:lnTo>
                <a:lnTo>
                  <a:pt x="897" y="53"/>
                </a:lnTo>
                <a:lnTo>
                  <a:pt x="896" y="48"/>
                </a:lnTo>
                <a:lnTo>
                  <a:pt x="895" y="42"/>
                </a:lnTo>
                <a:lnTo>
                  <a:pt x="893" y="37"/>
                </a:lnTo>
                <a:lnTo>
                  <a:pt x="891" y="31"/>
                </a:lnTo>
                <a:lnTo>
                  <a:pt x="888" y="26"/>
                </a:lnTo>
                <a:lnTo>
                  <a:pt x="884" y="22"/>
                </a:lnTo>
                <a:lnTo>
                  <a:pt x="880" y="17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>
              <a:solidFill>
                <a:prstClr val="black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34" name="Freeform 144"/>
          <p:cNvSpPr>
            <a:spLocks noEditPoints="1"/>
          </p:cNvSpPr>
          <p:nvPr/>
        </p:nvSpPr>
        <p:spPr bwMode="auto">
          <a:xfrm>
            <a:off x="6407292" y="3889765"/>
            <a:ext cx="343290" cy="417408"/>
          </a:xfrm>
          <a:custGeom>
            <a:avLst/>
            <a:gdLst>
              <a:gd name="T0" fmla="*/ 638 w 702"/>
              <a:gd name="T1" fmla="*/ 461 h 859"/>
              <a:gd name="T2" fmla="*/ 578 w 702"/>
              <a:gd name="T3" fmla="*/ 471 h 859"/>
              <a:gd name="T4" fmla="*/ 495 w 702"/>
              <a:gd name="T5" fmla="*/ 475 h 859"/>
              <a:gd name="T6" fmla="*/ 432 w 702"/>
              <a:gd name="T7" fmla="*/ 471 h 859"/>
              <a:gd name="T8" fmla="*/ 372 w 702"/>
              <a:gd name="T9" fmla="*/ 461 h 859"/>
              <a:gd name="T10" fmla="*/ 312 w 702"/>
              <a:gd name="T11" fmla="*/ 448 h 859"/>
              <a:gd name="T12" fmla="*/ 251 w 702"/>
              <a:gd name="T13" fmla="*/ 438 h 859"/>
              <a:gd name="T14" fmla="*/ 188 w 702"/>
              <a:gd name="T15" fmla="*/ 430 h 859"/>
              <a:gd name="T16" fmla="*/ 123 w 702"/>
              <a:gd name="T17" fmla="*/ 431 h 859"/>
              <a:gd name="T18" fmla="*/ 61 w 702"/>
              <a:gd name="T19" fmla="*/ 440 h 859"/>
              <a:gd name="T20" fmla="*/ 55 w 702"/>
              <a:gd name="T21" fmla="*/ 51 h 859"/>
              <a:gd name="T22" fmla="*/ 118 w 702"/>
              <a:gd name="T23" fmla="*/ 41 h 859"/>
              <a:gd name="T24" fmla="*/ 187 w 702"/>
              <a:gd name="T25" fmla="*/ 40 h 859"/>
              <a:gd name="T26" fmla="*/ 245 w 702"/>
              <a:gd name="T27" fmla="*/ 47 h 859"/>
              <a:gd name="T28" fmla="*/ 344 w 702"/>
              <a:gd name="T29" fmla="*/ 66 h 859"/>
              <a:gd name="T30" fmla="*/ 406 w 702"/>
              <a:gd name="T31" fmla="*/ 78 h 859"/>
              <a:gd name="T32" fmla="*/ 472 w 702"/>
              <a:gd name="T33" fmla="*/ 84 h 859"/>
              <a:gd name="T34" fmla="*/ 550 w 702"/>
              <a:gd name="T35" fmla="*/ 83 h 859"/>
              <a:gd name="T36" fmla="*/ 617 w 702"/>
              <a:gd name="T37" fmla="*/ 76 h 859"/>
              <a:gd name="T38" fmla="*/ 663 w 702"/>
              <a:gd name="T39" fmla="*/ 66 h 859"/>
              <a:gd name="T40" fmla="*/ 676 w 702"/>
              <a:gd name="T41" fmla="*/ 22 h 859"/>
              <a:gd name="T42" fmla="*/ 648 w 702"/>
              <a:gd name="T43" fmla="*/ 29 h 859"/>
              <a:gd name="T44" fmla="*/ 569 w 702"/>
              <a:gd name="T45" fmla="*/ 42 h 859"/>
              <a:gd name="T46" fmla="*/ 473 w 702"/>
              <a:gd name="T47" fmla="*/ 45 h 859"/>
              <a:gd name="T48" fmla="*/ 412 w 702"/>
              <a:gd name="T49" fmla="*/ 39 h 859"/>
              <a:gd name="T50" fmla="*/ 351 w 702"/>
              <a:gd name="T51" fmla="*/ 27 h 859"/>
              <a:gd name="T52" fmla="*/ 292 w 702"/>
              <a:gd name="T53" fmla="*/ 15 h 859"/>
              <a:gd name="T54" fmla="*/ 230 w 702"/>
              <a:gd name="T55" fmla="*/ 4 h 859"/>
              <a:gd name="T56" fmla="*/ 166 w 702"/>
              <a:gd name="T57" fmla="*/ 0 h 859"/>
              <a:gd name="T58" fmla="*/ 67 w 702"/>
              <a:gd name="T59" fmla="*/ 9 h 859"/>
              <a:gd name="T60" fmla="*/ 18 w 702"/>
              <a:gd name="T61" fmla="*/ 23 h 859"/>
              <a:gd name="T62" fmla="*/ 0 w 702"/>
              <a:gd name="T63" fmla="*/ 34 h 859"/>
              <a:gd name="T64" fmla="*/ 0 w 702"/>
              <a:gd name="T65" fmla="*/ 859 h 859"/>
              <a:gd name="T66" fmla="*/ 55 w 702"/>
              <a:gd name="T67" fmla="*/ 481 h 859"/>
              <a:gd name="T68" fmla="*/ 118 w 702"/>
              <a:gd name="T69" fmla="*/ 471 h 859"/>
              <a:gd name="T70" fmla="*/ 187 w 702"/>
              <a:gd name="T71" fmla="*/ 470 h 859"/>
              <a:gd name="T72" fmla="*/ 245 w 702"/>
              <a:gd name="T73" fmla="*/ 475 h 859"/>
              <a:gd name="T74" fmla="*/ 344 w 702"/>
              <a:gd name="T75" fmla="*/ 496 h 859"/>
              <a:gd name="T76" fmla="*/ 406 w 702"/>
              <a:gd name="T77" fmla="*/ 507 h 859"/>
              <a:gd name="T78" fmla="*/ 472 w 702"/>
              <a:gd name="T79" fmla="*/ 514 h 859"/>
              <a:gd name="T80" fmla="*/ 575 w 702"/>
              <a:gd name="T81" fmla="*/ 511 h 859"/>
              <a:gd name="T82" fmla="*/ 658 w 702"/>
              <a:gd name="T83" fmla="*/ 497 h 859"/>
              <a:gd name="T84" fmla="*/ 689 w 702"/>
              <a:gd name="T85" fmla="*/ 488 h 8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702" h="859">
                <a:moveTo>
                  <a:pt x="663" y="455"/>
                </a:moveTo>
                <a:lnTo>
                  <a:pt x="652" y="458"/>
                </a:lnTo>
                <a:lnTo>
                  <a:pt x="638" y="461"/>
                </a:lnTo>
                <a:lnTo>
                  <a:pt x="621" y="465"/>
                </a:lnTo>
                <a:lnTo>
                  <a:pt x="601" y="468"/>
                </a:lnTo>
                <a:lnTo>
                  <a:pt x="578" y="471"/>
                </a:lnTo>
                <a:lnTo>
                  <a:pt x="553" y="473"/>
                </a:lnTo>
                <a:lnTo>
                  <a:pt x="525" y="475"/>
                </a:lnTo>
                <a:lnTo>
                  <a:pt x="495" y="475"/>
                </a:lnTo>
                <a:lnTo>
                  <a:pt x="473" y="475"/>
                </a:lnTo>
                <a:lnTo>
                  <a:pt x="453" y="473"/>
                </a:lnTo>
                <a:lnTo>
                  <a:pt x="432" y="471"/>
                </a:lnTo>
                <a:lnTo>
                  <a:pt x="412" y="469"/>
                </a:lnTo>
                <a:lnTo>
                  <a:pt x="391" y="465"/>
                </a:lnTo>
                <a:lnTo>
                  <a:pt x="372" y="461"/>
                </a:lnTo>
                <a:lnTo>
                  <a:pt x="351" y="457"/>
                </a:lnTo>
                <a:lnTo>
                  <a:pt x="332" y="453"/>
                </a:lnTo>
                <a:lnTo>
                  <a:pt x="312" y="448"/>
                </a:lnTo>
                <a:lnTo>
                  <a:pt x="292" y="444"/>
                </a:lnTo>
                <a:lnTo>
                  <a:pt x="271" y="441"/>
                </a:lnTo>
                <a:lnTo>
                  <a:pt x="251" y="438"/>
                </a:lnTo>
                <a:lnTo>
                  <a:pt x="230" y="434"/>
                </a:lnTo>
                <a:lnTo>
                  <a:pt x="210" y="432"/>
                </a:lnTo>
                <a:lnTo>
                  <a:pt x="188" y="430"/>
                </a:lnTo>
                <a:lnTo>
                  <a:pt x="166" y="430"/>
                </a:lnTo>
                <a:lnTo>
                  <a:pt x="144" y="430"/>
                </a:lnTo>
                <a:lnTo>
                  <a:pt x="123" y="431"/>
                </a:lnTo>
                <a:lnTo>
                  <a:pt x="105" y="433"/>
                </a:lnTo>
                <a:lnTo>
                  <a:pt x="89" y="434"/>
                </a:lnTo>
                <a:lnTo>
                  <a:pt x="61" y="440"/>
                </a:lnTo>
                <a:lnTo>
                  <a:pt x="39" y="445"/>
                </a:lnTo>
                <a:lnTo>
                  <a:pt x="39" y="56"/>
                </a:lnTo>
                <a:lnTo>
                  <a:pt x="55" y="51"/>
                </a:lnTo>
                <a:lnTo>
                  <a:pt x="81" y="45"/>
                </a:lnTo>
                <a:lnTo>
                  <a:pt x="98" y="43"/>
                </a:lnTo>
                <a:lnTo>
                  <a:pt x="118" y="41"/>
                </a:lnTo>
                <a:lnTo>
                  <a:pt x="140" y="40"/>
                </a:lnTo>
                <a:lnTo>
                  <a:pt x="166" y="39"/>
                </a:lnTo>
                <a:lnTo>
                  <a:pt x="187" y="40"/>
                </a:lnTo>
                <a:lnTo>
                  <a:pt x="206" y="41"/>
                </a:lnTo>
                <a:lnTo>
                  <a:pt x="226" y="43"/>
                </a:lnTo>
                <a:lnTo>
                  <a:pt x="245" y="47"/>
                </a:lnTo>
                <a:lnTo>
                  <a:pt x="284" y="53"/>
                </a:lnTo>
                <a:lnTo>
                  <a:pt x="324" y="62"/>
                </a:lnTo>
                <a:lnTo>
                  <a:pt x="344" y="66"/>
                </a:lnTo>
                <a:lnTo>
                  <a:pt x="364" y="70"/>
                </a:lnTo>
                <a:lnTo>
                  <a:pt x="386" y="74"/>
                </a:lnTo>
                <a:lnTo>
                  <a:pt x="406" y="78"/>
                </a:lnTo>
                <a:lnTo>
                  <a:pt x="428" y="80"/>
                </a:lnTo>
                <a:lnTo>
                  <a:pt x="449" y="83"/>
                </a:lnTo>
                <a:lnTo>
                  <a:pt x="472" y="84"/>
                </a:lnTo>
                <a:lnTo>
                  <a:pt x="495" y="84"/>
                </a:lnTo>
                <a:lnTo>
                  <a:pt x="523" y="84"/>
                </a:lnTo>
                <a:lnTo>
                  <a:pt x="550" y="83"/>
                </a:lnTo>
                <a:lnTo>
                  <a:pt x="575" y="81"/>
                </a:lnTo>
                <a:lnTo>
                  <a:pt x="596" y="78"/>
                </a:lnTo>
                <a:lnTo>
                  <a:pt x="617" y="76"/>
                </a:lnTo>
                <a:lnTo>
                  <a:pt x="635" y="72"/>
                </a:lnTo>
                <a:lnTo>
                  <a:pt x="650" y="69"/>
                </a:lnTo>
                <a:lnTo>
                  <a:pt x="663" y="66"/>
                </a:lnTo>
                <a:lnTo>
                  <a:pt x="663" y="455"/>
                </a:lnTo>
                <a:close/>
                <a:moveTo>
                  <a:pt x="702" y="12"/>
                </a:moveTo>
                <a:lnTo>
                  <a:pt x="676" y="22"/>
                </a:lnTo>
                <a:lnTo>
                  <a:pt x="673" y="23"/>
                </a:lnTo>
                <a:lnTo>
                  <a:pt x="663" y="25"/>
                </a:lnTo>
                <a:lnTo>
                  <a:pt x="648" y="29"/>
                </a:lnTo>
                <a:lnTo>
                  <a:pt x="627" y="34"/>
                </a:lnTo>
                <a:lnTo>
                  <a:pt x="601" y="38"/>
                </a:lnTo>
                <a:lnTo>
                  <a:pt x="569" y="42"/>
                </a:lnTo>
                <a:lnTo>
                  <a:pt x="535" y="44"/>
                </a:lnTo>
                <a:lnTo>
                  <a:pt x="495" y="45"/>
                </a:lnTo>
                <a:lnTo>
                  <a:pt x="473" y="45"/>
                </a:lnTo>
                <a:lnTo>
                  <a:pt x="453" y="44"/>
                </a:lnTo>
                <a:lnTo>
                  <a:pt x="432" y="41"/>
                </a:lnTo>
                <a:lnTo>
                  <a:pt x="412" y="39"/>
                </a:lnTo>
                <a:lnTo>
                  <a:pt x="391" y="36"/>
                </a:lnTo>
                <a:lnTo>
                  <a:pt x="372" y="31"/>
                </a:lnTo>
                <a:lnTo>
                  <a:pt x="351" y="27"/>
                </a:lnTo>
                <a:lnTo>
                  <a:pt x="332" y="23"/>
                </a:lnTo>
                <a:lnTo>
                  <a:pt x="312" y="20"/>
                </a:lnTo>
                <a:lnTo>
                  <a:pt x="292" y="15"/>
                </a:lnTo>
                <a:lnTo>
                  <a:pt x="271" y="11"/>
                </a:lnTo>
                <a:lnTo>
                  <a:pt x="251" y="8"/>
                </a:lnTo>
                <a:lnTo>
                  <a:pt x="230" y="4"/>
                </a:lnTo>
                <a:lnTo>
                  <a:pt x="210" y="2"/>
                </a:lnTo>
                <a:lnTo>
                  <a:pt x="188" y="1"/>
                </a:lnTo>
                <a:lnTo>
                  <a:pt x="166" y="0"/>
                </a:lnTo>
                <a:lnTo>
                  <a:pt x="126" y="1"/>
                </a:lnTo>
                <a:lnTo>
                  <a:pt x="94" y="4"/>
                </a:lnTo>
                <a:lnTo>
                  <a:pt x="67" y="9"/>
                </a:lnTo>
                <a:lnTo>
                  <a:pt x="45" y="13"/>
                </a:lnTo>
                <a:lnTo>
                  <a:pt x="30" y="18"/>
                </a:lnTo>
                <a:lnTo>
                  <a:pt x="18" y="23"/>
                </a:lnTo>
                <a:lnTo>
                  <a:pt x="12" y="26"/>
                </a:lnTo>
                <a:lnTo>
                  <a:pt x="9" y="28"/>
                </a:lnTo>
                <a:lnTo>
                  <a:pt x="0" y="34"/>
                </a:lnTo>
                <a:lnTo>
                  <a:pt x="0" y="40"/>
                </a:lnTo>
                <a:lnTo>
                  <a:pt x="0" y="479"/>
                </a:lnTo>
                <a:lnTo>
                  <a:pt x="0" y="859"/>
                </a:lnTo>
                <a:lnTo>
                  <a:pt x="39" y="859"/>
                </a:lnTo>
                <a:lnTo>
                  <a:pt x="39" y="486"/>
                </a:lnTo>
                <a:lnTo>
                  <a:pt x="55" y="481"/>
                </a:lnTo>
                <a:lnTo>
                  <a:pt x="81" y="475"/>
                </a:lnTo>
                <a:lnTo>
                  <a:pt x="98" y="473"/>
                </a:lnTo>
                <a:lnTo>
                  <a:pt x="118" y="471"/>
                </a:lnTo>
                <a:lnTo>
                  <a:pt x="140" y="470"/>
                </a:lnTo>
                <a:lnTo>
                  <a:pt x="166" y="469"/>
                </a:lnTo>
                <a:lnTo>
                  <a:pt x="187" y="470"/>
                </a:lnTo>
                <a:lnTo>
                  <a:pt x="206" y="471"/>
                </a:lnTo>
                <a:lnTo>
                  <a:pt x="226" y="473"/>
                </a:lnTo>
                <a:lnTo>
                  <a:pt x="245" y="475"/>
                </a:lnTo>
                <a:lnTo>
                  <a:pt x="284" y="483"/>
                </a:lnTo>
                <a:lnTo>
                  <a:pt x="324" y="492"/>
                </a:lnTo>
                <a:lnTo>
                  <a:pt x="344" y="496"/>
                </a:lnTo>
                <a:lnTo>
                  <a:pt x="364" y="499"/>
                </a:lnTo>
                <a:lnTo>
                  <a:pt x="386" y="503"/>
                </a:lnTo>
                <a:lnTo>
                  <a:pt x="406" y="507"/>
                </a:lnTo>
                <a:lnTo>
                  <a:pt x="428" y="510"/>
                </a:lnTo>
                <a:lnTo>
                  <a:pt x="449" y="512"/>
                </a:lnTo>
                <a:lnTo>
                  <a:pt x="472" y="514"/>
                </a:lnTo>
                <a:lnTo>
                  <a:pt x="495" y="514"/>
                </a:lnTo>
                <a:lnTo>
                  <a:pt x="537" y="513"/>
                </a:lnTo>
                <a:lnTo>
                  <a:pt x="575" y="511"/>
                </a:lnTo>
                <a:lnTo>
                  <a:pt x="607" y="507"/>
                </a:lnTo>
                <a:lnTo>
                  <a:pt x="635" y="501"/>
                </a:lnTo>
                <a:lnTo>
                  <a:pt x="658" y="497"/>
                </a:lnTo>
                <a:lnTo>
                  <a:pt x="674" y="493"/>
                </a:lnTo>
                <a:lnTo>
                  <a:pt x="685" y="489"/>
                </a:lnTo>
                <a:lnTo>
                  <a:pt x="689" y="488"/>
                </a:lnTo>
                <a:lnTo>
                  <a:pt x="702" y="483"/>
                </a:lnTo>
                <a:lnTo>
                  <a:pt x="702" y="12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>
            <a:noFill/>
          </a:ln>
        </p:spPr>
        <p:txBody>
          <a:bodyPr vert="horz" wrap="square" lIns="182880" tIns="91440" rIns="182880" bIns="91440" numCol="1" anchor="t" anchorCtr="0" compatLnSpc="1"/>
          <a:lstStyle/>
          <a:p>
            <a:pPr algn="l" defTabSz="1828800" rtl="0"/>
            <a:endParaRPr lang="en-US" sz="3600" kern="1200">
              <a:solidFill>
                <a:prstClr val="black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35" name="Group 788"/>
          <p:cNvGrpSpPr/>
          <p:nvPr/>
        </p:nvGrpSpPr>
        <p:grpSpPr>
          <a:xfrm>
            <a:off x="9175317" y="3854913"/>
            <a:ext cx="268432" cy="472441"/>
            <a:chOff x="6971668" y="569796"/>
            <a:chExt cx="238125" cy="419100"/>
          </a:xfrm>
          <a:solidFill>
            <a:schemeClr val="bg1"/>
          </a:solidFill>
        </p:grpSpPr>
        <p:sp>
          <p:nvSpPr>
            <p:cNvPr id="36" name="Freeform 195"/>
            <p:cNvSpPr>
              <a:spLocks noEditPoints="1"/>
            </p:cNvSpPr>
            <p:nvPr/>
          </p:nvSpPr>
          <p:spPr bwMode="auto">
            <a:xfrm>
              <a:off x="7012943" y="569796"/>
              <a:ext cx="153988" cy="293688"/>
            </a:xfrm>
            <a:custGeom>
              <a:avLst/>
              <a:gdLst>
                <a:gd name="T0" fmla="*/ 38 w 388"/>
                <a:gd name="T1" fmla="*/ 162 h 740"/>
                <a:gd name="T2" fmla="*/ 54 w 388"/>
                <a:gd name="T3" fmla="*/ 118 h 740"/>
                <a:gd name="T4" fmla="*/ 81 w 388"/>
                <a:gd name="T5" fmla="*/ 81 h 740"/>
                <a:gd name="T6" fmla="*/ 118 w 388"/>
                <a:gd name="T7" fmla="*/ 54 h 740"/>
                <a:gd name="T8" fmla="*/ 162 w 388"/>
                <a:gd name="T9" fmla="*/ 38 h 740"/>
                <a:gd name="T10" fmla="*/ 210 w 388"/>
                <a:gd name="T11" fmla="*/ 36 h 740"/>
                <a:gd name="T12" fmla="*/ 255 w 388"/>
                <a:gd name="T13" fmla="*/ 48 h 740"/>
                <a:gd name="T14" fmla="*/ 295 w 388"/>
                <a:gd name="T15" fmla="*/ 72 h 740"/>
                <a:gd name="T16" fmla="*/ 325 w 388"/>
                <a:gd name="T17" fmla="*/ 105 h 740"/>
                <a:gd name="T18" fmla="*/ 346 w 388"/>
                <a:gd name="T19" fmla="*/ 146 h 740"/>
                <a:gd name="T20" fmla="*/ 352 w 388"/>
                <a:gd name="T21" fmla="*/ 194 h 740"/>
                <a:gd name="T22" fmla="*/ 349 w 388"/>
                <a:gd name="T23" fmla="*/ 578 h 740"/>
                <a:gd name="T24" fmla="*/ 333 w 388"/>
                <a:gd name="T25" fmla="*/ 622 h 740"/>
                <a:gd name="T26" fmla="*/ 306 w 388"/>
                <a:gd name="T27" fmla="*/ 659 h 740"/>
                <a:gd name="T28" fmla="*/ 269 w 388"/>
                <a:gd name="T29" fmla="*/ 686 h 740"/>
                <a:gd name="T30" fmla="*/ 226 w 388"/>
                <a:gd name="T31" fmla="*/ 702 h 740"/>
                <a:gd name="T32" fmla="*/ 177 w 388"/>
                <a:gd name="T33" fmla="*/ 705 h 740"/>
                <a:gd name="T34" fmla="*/ 132 w 388"/>
                <a:gd name="T35" fmla="*/ 693 h 740"/>
                <a:gd name="T36" fmla="*/ 93 w 388"/>
                <a:gd name="T37" fmla="*/ 669 h 740"/>
                <a:gd name="T38" fmla="*/ 62 w 388"/>
                <a:gd name="T39" fmla="*/ 635 h 740"/>
                <a:gd name="T40" fmla="*/ 42 w 388"/>
                <a:gd name="T41" fmla="*/ 593 h 740"/>
                <a:gd name="T42" fmla="*/ 35 w 388"/>
                <a:gd name="T43" fmla="*/ 547 h 740"/>
                <a:gd name="T44" fmla="*/ 214 w 388"/>
                <a:gd name="T45" fmla="*/ 739 h 740"/>
                <a:gd name="T46" fmla="*/ 269 w 388"/>
                <a:gd name="T47" fmla="*/ 725 h 740"/>
                <a:gd name="T48" fmla="*/ 317 w 388"/>
                <a:gd name="T49" fmla="*/ 696 h 740"/>
                <a:gd name="T50" fmla="*/ 355 w 388"/>
                <a:gd name="T51" fmla="*/ 655 h 740"/>
                <a:gd name="T52" fmla="*/ 379 w 388"/>
                <a:gd name="T53" fmla="*/ 604 h 740"/>
                <a:gd name="T54" fmla="*/ 388 w 388"/>
                <a:gd name="T55" fmla="*/ 547 h 740"/>
                <a:gd name="T56" fmla="*/ 384 w 388"/>
                <a:gd name="T57" fmla="*/ 155 h 740"/>
                <a:gd name="T58" fmla="*/ 364 w 388"/>
                <a:gd name="T59" fmla="*/ 102 h 740"/>
                <a:gd name="T60" fmla="*/ 331 w 388"/>
                <a:gd name="T61" fmla="*/ 57 h 740"/>
                <a:gd name="T62" fmla="*/ 287 w 388"/>
                <a:gd name="T63" fmla="*/ 23 h 740"/>
                <a:gd name="T64" fmla="*/ 233 w 388"/>
                <a:gd name="T65" fmla="*/ 4 h 740"/>
                <a:gd name="T66" fmla="*/ 174 w 388"/>
                <a:gd name="T67" fmla="*/ 0 h 740"/>
                <a:gd name="T68" fmla="*/ 118 w 388"/>
                <a:gd name="T69" fmla="*/ 15 h 740"/>
                <a:gd name="T70" fmla="*/ 70 w 388"/>
                <a:gd name="T71" fmla="*/ 45 h 740"/>
                <a:gd name="T72" fmla="*/ 33 w 388"/>
                <a:gd name="T73" fmla="*/ 86 h 740"/>
                <a:gd name="T74" fmla="*/ 9 w 388"/>
                <a:gd name="T75" fmla="*/ 136 h 740"/>
                <a:gd name="T76" fmla="*/ 0 w 388"/>
                <a:gd name="T77" fmla="*/ 194 h 740"/>
                <a:gd name="T78" fmla="*/ 4 w 388"/>
                <a:gd name="T79" fmla="*/ 586 h 740"/>
                <a:gd name="T80" fmla="*/ 23 w 388"/>
                <a:gd name="T81" fmla="*/ 639 h 740"/>
                <a:gd name="T82" fmla="*/ 56 w 388"/>
                <a:gd name="T83" fmla="*/ 684 h 740"/>
                <a:gd name="T84" fmla="*/ 102 w 388"/>
                <a:gd name="T85" fmla="*/ 717 h 740"/>
                <a:gd name="T86" fmla="*/ 155 w 388"/>
                <a:gd name="T87" fmla="*/ 737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388" h="740">
                  <a:moveTo>
                    <a:pt x="35" y="194"/>
                  </a:moveTo>
                  <a:lnTo>
                    <a:pt x="36" y="177"/>
                  </a:lnTo>
                  <a:lnTo>
                    <a:pt x="38" y="162"/>
                  </a:lnTo>
                  <a:lnTo>
                    <a:pt x="42" y="146"/>
                  </a:lnTo>
                  <a:lnTo>
                    <a:pt x="48" y="132"/>
                  </a:lnTo>
                  <a:lnTo>
                    <a:pt x="54" y="118"/>
                  </a:lnTo>
                  <a:lnTo>
                    <a:pt x="62" y="105"/>
                  </a:lnTo>
                  <a:lnTo>
                    <a:pt x="72" y="93"/>
                  </a:lnTo>
                  <a:lnTo>
                    <a:pt x="81" y="81"/>
                  </a:lnTo>
                  <a:lnTo>
                    <a:pt x="93" y="72"/>
                  </a:lnTo>
                  <a:lnTo>
                    <a:pt x="105" y="62"/>
                  </a:lnTo>
                  <a:lnTo>
                    <a:pt x="118" y="54"/>
                  </a:lnTo>
                  <a:lnTo>
                    <a:pt x="132" y="48"/>
                  </a:lnTo>
                  <a:lnTo>
                    <a:pt x="147" y="42"/>
                  </a:lnTo>
                  <a:lnTo>
                    <a:pt x="162" y="38"/>
                  </a:lnTo>
                  <a:lnTo>
                    <a:pt x="177" y="36"/>
                  </a:lnTo>
                  <a:lnTo>
                    <a:pt x="194" y="35"/>
                  </a:lnTo>
                  <a:lnTo>
                    <a:pt x="210" y="36"/>
                  </a:lnTo>
                  <a:lnTo>
                    <a:pt x="226" y="38"/>
                  </a:lnTo>
                  <a:lnTo>
                    <a:pt x="241" y="42"/>
                  </a:lnTo>
                  <a:lnTo>
                    <a:pt x="255" y="48"/>
                  </a:lnTo>
                  <a:lnTo>
                    <a:pt x="269" y="54"/>
                  </a:lnTo>
                  <a:lnTo>
                    <a:pt x="282" y="62"/>
                  </a:lnTo>
                  <a:lnTo>
                    <a:pt x="295" y="72"/>
                  </a:lnTo>
                  <a:lnTo>
                    <a:pt x="306" y="81"/>
                  </a:lnTo>
                  <a:lnTo>
                    <a:pt x="317" y="93"/>
                  </a:lnTo>
                  <a:lnTo>
                    <a:pt x="325" y="105"/>
                  </a:lnTo>
                  <a:lnTo>
                    <a:pt x="333" y="118"/>
                  </a:lnTo>
                  <a:lnTo>
                    <a:pt x="341" y="132"/>
                  </a:lnTo>
                  <a:lnTo>
                    <a:pt x="346" y="146"/>
                  </a:lnTo>
                  <a:lnTo>
                    <a:pt x="349" y="162"/>
                  </a:lnTo>
                  <a:lnTo>
                    <a:pt x="351" y="177"/>
                  </a:lnTo>
                  <a:lnTo>
                    <a:pt x="352" y="194"/>
                  </a:lnTo>
                  <a:lnTo>
                    <a:pt x="352" y="547"/>
                  </a:lnTo>
                  <a:lnTo>
                    <a:pt x="351" y="563"/>
                  </a:lnTo>
                  <a:lnTo>
                    <a:pt x="349" y="578"/>
                  </a:lnTo>
                  <a:lnTo>
                    <a:pt x="346" y="593"/>
                  </a:lnTo>
                  <a:lnTo>
                    <a:pt x="341" y="608"/>
                  </a:lnTo>
                  <a:lnTo>
                    <a:pt x="333" y="622"/>
                  </a:lnTo>
                  <a:lnTo>
                    <a:pt x="325" y="635"/>
                  </a:lnTo>
                  <a:lnTo>
                    <a:pt x="317" y="647"/>
                  </a:lnTo>
                  <a:lnTo>
                    <a:pt x="306" y="659"/>
                  </a:lnTo>
                  <a:lnTo>
                    <a:pt x="295" y="669"/>
                  </a:lnTo>
                  <a:lnTo>
                    <a:pt x="282" y="679"/>
                  </a:lnTo>
                  <a:lnTo>
                    <a:pt x="269" y="686"/>
                  </a:lnTo>
                  <a:lnTo>
                    <a:pt x="255" y="693"/>
                  </a:lnTo>
                  <a:lnTo>
                    <a:pt x="241" y="698"/>
                  </a:lnTo>
                  <a:lnTo>
                    <a:pt x="226" y="702"/>
                  </a:lnTo>
                  <a:lnTo>
                    <a:pt x="210" y="705"/>
                  </a:lnTo>
                  <a:lnTo>
                    <a:pt x="194" y="706"/>
                  </a:lnTo>
                  <a:lnTo>
                    <a:pt x="177" y="705"/>
                  </a:lnTo>
                  <a:lnTo>
                    <a:pt x="162" y="702"/>
                  </a:lnTo>
                  <a:lnTo>
                    <a:pt x="147" y="698"/>
                  </a:lnTo>
                  <a:lnTo>
                    <a:pt x="132" y="693"/>
                  </a:lnTo>
                  <a:lnTo>
                    <a:pt x="118" y="686"/>
                  </a:lnTo>
                  <a:lnTo>
                    <a:pt x="105" y="679"/>
                  </a:lnTo>
                  <a:lnTo>
                    <a:pt x="93" y="669"/>
                  </a:lnTo>
                  <a:lnTo>
                    <a:pt x="81" y="659"/>
                  </a:lnTo>
                  <a:lnTo>
                    <a:pt x="72" y="647"/>
                  </a:lnTo>
                  <a:lnTo>
                    <a:pt x="62" y="635"/>
                  </a:lnTo>
                  <a:lnTo>
                    <a:pt x="54" y="622"/>
                  </a:lnTo>
                  <a:lnTo>
                    <a:pt x="48" y="608"/>
                  </a:lnTo>
                  <a:lnTo>
                    <a:pt x="42" y="593"/>
                  </a:lnTo>
                  <a:lnTo>
                    <a:pt x="38" y="578"/>
                  </a:lnTo>
                  <a:lnTo>
                    <a:pt x="36" y="563"/>
                  </a:lnTo>
                  <a:lnTo>
                    <a:pt x="35" y="547"/>
                  </a:lnTo>
                  <a:lnTo>
                    <a:pt x="35" y="194"/>
                  </a:lnTo>
                  <a:close/>
                  <a:moveTo>
                    <a:pt x="194" y="740"/>
                  </a:moveTo>
                  <a:lnTo>
                    <a:pt x="214" y="739"/>
                  </a:lnTo>
                  <a:lnTo>
                    <a:pt x="233" y="737"/>
                  </a:lnTo>
                  <a:lnTo>
                    <a:pt x="252" y="732"/>
                  </a:lnTo>
                  <a:lnTo>
                    <a:pt x="269" y="725"/>
                  </a:lnTo>
                  <a:lnTo>
                    <a:pt x="287" y="717"/>
                  </a:lnTo>
                  <a:lnTo>
                    <a:pt x="303" y="708"/>
                  </a:lnTo>
                  <a:lnTo>
                    <a:pt x="317" y="696"/>
                  </a:lnTo>
                  <a:lnTo>
                    <a:pt x="331" y="684"/>
                  </a:lnTo>
                  <a:lnTo>
                    <a:pt x="344" y="670"/>
                  </a:lnTo>
                  <a:lnTo>
                    <a:pt x="355" y="655"/>
                  </a:lnTo>
                  <a:lnTo>
                    <a:pt x="364" y="639"/>
                  </a:lnTo>
                  <a:lnTo>
                    <a:pt x="373" y="622"/>
                  </a:lnTo>
                  <a:lnTo>
                    <a:pt x="379" y="604"/>
                  </a:lnTo>
                  <a:lnTo>
                    <a:pt x="384" y="586"/>
                  </a:lnTo>
                  <a:lnTo>
                    <a:pt x="387" y="566"/>
                  </a:lnTo>
                  <a:lnTo>
                    <a:pt x="388" y="547"/>
                  </a:lnTo>
                  <a:lnTo>
                    <a:pt x="388" y="194"/>
                  </a:lnTo>
                  <a:lnTo>
                    <a:pt x="387" y="174"/>
                  </a:lnTo>
                  <a:lnTo>
                    <a:pt x="384" y="155"/>
                  </a:lnTo>
                  <a:lnTo>
                    <a:pt x="379" y="136"/>
                  </a:lnTo>
                  <a:lnTo>
                    <a:pt x="373" y="118"/>
                  </a:lnTo>
                  <a:lnTo>
                    <a:pt x="364" y="102"/>
                  </a:lnTo>
                  <a:lnTo>
                    <a:pt x="355" y="86"/>
                  </a:lnTo>
                  <a:lnTo>
                    <a:pt x="344" y="71"/>
                  </a:lnTo>
                  <a:lnTo>
                    <a:pt x="331" y="57"/>
                  </a:lnTo>
                  <a:lnTo>
                    <a:pt x="317" y="45"/>
                  </a:lnTo>
                  <a:lnTo>
                    <a:pt x="303" y="33"/>
                  </a:lnTo>
                  <a:lnTo>
                    <a:pt x="287" y="23"/>
                  </a:lnTo>
                  <a:lnTo>
                    <a:pt x="269" y="15"/>
                  </a:lnTo>
                  <a:lnTo>
                    <a:pt x="252" y="9"/>
                  </a:lnTo>
                  <a:lnTo>
                    <a:pt x="233" y="4"/>
                  </a:lnTo>
                  <a:lnTo>
                    <a:pt x="214" y="0"/>
                  </a:lnTo>
                  <a:lnTo>
                    <a:pt x="194" y="0"/>
                  </a:lnTo>
                  <a:lnTo>
                    <a:pt x="174" y="0"/>
                  </a:lnTo>
                  <a:lnTo>
                    <a:pt x="155" y="4"/>
                  </a:lnTo>
                  <a:lnTo>
                    <a:pt x="136" y="9"/>
                  </a:lnTo>
                  <a:lnTo>
                    <a:pt x="118" y="15"/>
                  </a:lnTo>
                  <a:lnTo>
                    <a:pt x="102" y="23"/>
                  </a:lnTo>
                  <a:lnTo>
                    <a:pt x="86" y="33"/>
                  </a:lnTo>
                  <a:lnTo>
                    <a:pt x="70" y="45"/>
                  </a:lnTo>
                  <a:lnTo>
                    <a:pt x="56" y="57"/>
                  </a:lnTo>
                  <a:lnTo>
                    <a:pt x="45" y="71"/>
                  </a:lnTo>
                  <a:lnTo>
                    <a:pt x="33" y="86"/>
                  </a:lnTo>
                  <a:lnTo>
                    <a:pt x="23" y="102"/>
                  </a:lnTo>
                  <a:lnTo>
                    <a:pt x="15" y="118"/>
                  </a:lnTo>
                  <a:lnTo>
                    <a:pt x="9" y="136"/>
                  </a:lnTo>
                  <a:lnTo>
                    <a:pt x="4" y="155"/>
                  </a:lnTo>
                  <a:lnTo>
                    <a:pt x="1" y="174"/>
                  </a:lnTo>
                  <a:lnTo>
                    <a:pt x="0" y="194"/>
                  </a:lnTo>
                  <a:lnTo>
                    <a:pt x="0" y="547"/>
                  </a:lnTo>
                  <a:lnTo>
                    <a:pt x="1" y="566"/>
                  </a:lnTo>
                  <a:lnTo>
                    <a:pt x="4" y="586"/>
                  </a:lnTo>
                  <a:lnTo>
                    <a:pt x="9" y="604"/>
                  </a:lnTo>
                  <a:lnTo>
                    <a:pt x="15" y="622"/>
                  </a:lnTo>
                  <a:lnTo>
                    <a:pt x="23" y="639"/>
                  </a:lnTo>
                  <a:lnTo>
                    <a:pt x="33" y="655"/>
                  </a:lnTo>
                  <a:lnTo>
                    <a:pt x="45" y="670"/>
                  </a:lnTo>
                  <a:lnTo>
                    <a:pt x="56" y="684"/>
                  </a:lnTo>
                  <a:lnTo>
                    <a:pt x="70" y="696"/>
                  </a:lnTo>
                  <a:lnTo>
                    <a:pt x="86" y="708"/>
                  </a:lnTo>
                  <a:lnTo>
                    <a:pt x="102" y="717"/>
                  </a:lnTo>
                  <a:lnTo>
                    <a:pt x="118" y="725"/>
                  </a:lnTo>
                  <a:lnTo>
                    <a:pt x="136" y="732"/>
                  </a:lnTo>
                  <a:lnTo>
                    <a:pt x="155" y="737"/>
                  </a:lnTo>
                  <a:lnTo>
                    <a:pt x="174" y="739"/>
                  </a:lnTo>
                  <a:lnTo>
                    <a:pt x="1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7" name="Freeform 196"/>
            <p:cNvSpPr/>
            <p:nvPr/>
          </p:nvSpPr>
          <p:spPr bwMode="auto">
            <a:xfrm>
              <a:off x="6971668" y="715846"/>
              <a:ext cx="238125" cy="273050"/>
            </a:xfrm>
            <a:custGeom>
              <a:avLst/>
              <a:gdLst>
                <a:gd name="T0" fmla="*/ 564 w 600"/>
                <a:gd name="T1" fmla="*/ 190 h 689"/>
                <a:gd name="T2" fmla="*/ 559 w 600"/>
                <a:gd name="T3" fmla="*/ 230 h 689"/>
                <a:gd name="T4" fmla="*/ 548 w 600"/>
                <a:gd name="T5" fmla="*/ 268 h 689"/>
                <a:gd name="T6" fmla="*/ 532 w 600"/>
                <a:gd name="T7" fmla="*/ 302 h 689"/>
                <a:gd name="T8" fmla="*/ 511 w 600"/>
                <a:gd name="T9" fmla="*/ 335 h 689"/>
                <a:gd name="T10" fmla="*/ 486 w 600"/>
                <a:gd name="T11" fmla="*/ 364 h 689"/>
                <a:gd name="T12" fmla="*/ 458 w 600"/>
                <a:gd name="T13" fmla="*/ 389 h 689"/>
                <a:gd name="T14" fmla="*/ 426 w 600"/>
                <a:gd name="T15" fmla="*/ 409 h 689"/>
                <a:gd name="T16" fmla="*/ 390 w 600"/>
                <a:gd name="T17" fmla="*/ 425 h 689"/>
                <a:gd name="T18" fmla="*/ 353 w 600"/>
                <a:gd name="T19" fmla="*/ 436 h 689"/>
                <a:gd name="T20" fmla="*/ 314 w 600"/>
                <a:gd name="T21" fmla="*/ 440 h 689"/>
                <a:gd name="T22" fmla="*/ 273 w 600"/>
                <a:gd name="T23" fmla="*/ 439 h 689"/>
                <a:gd name="T24" fmla="*/ 234 w 600"/>
                <a:gd name="T25" fmla="*/ 433 h 689"/>
                <a:gd name="T26" fmla="*/ 197 w 600"/>
                <a:gd name="T27" fmla="*/ 420 h 689"/>
                <a:gd name="T28" fmla="*/ 162 w 600"/>
                <a:gd name="T29" fmla="*/ 403 h 689"/>
                <a:gd name="T30" fmla="*/ 131 w 600"/>
                <a:gd name="T31" fmla="*/ 381 h 689"/>
                <a:gd name="T32" fmla="*/ 104 w 600"/>
                <a:gd name="T33" fmla="*/ 354 h 689"/>
                <a:gd name="T34" fmla="*/ 80 w 600"/>
                <a:gd name="T35" fmla="*/ 325 h 689"/>
                <a:gd name="T36" fmla="*/ 61 w 600"/>
                <a:gd name="T37" fmla="*/ 291 h 689"/>
                <a:gd name="T38" fmla="*/ 47 w 600"/>
                <a:gd name="T39" fmla="*/ 255 h 689"/>
                <a:gd name="T40" fmla="*/ 38 w 600"/>
                <a:gd name="T41" fmla="*/ 217 h 689"/>
                <a:gd name="T42" fmla="*/ 35 w 600"/>
                <a:gd name="T43" fmla="*/ 177 h 689"/>
                <a:gd name="T44" fmla="*/ 0 w 600"/>
                <a:gd name="T45" fmla="*/ 177 h 689"/>
                <a:gd name="T46" fmla="*/ 4 w 600"/>
                <a:gd name="T47" fmla="*/ 221 h 689"/>
                <a:gd name="T48" fmla="*/ 12 w 600"/>
                <a:gd name="T49" fmla="*/ 263 h 689"/>
                <a:gd name="T50" fmla="*/ 27 w 600"/>
                <a:gd name="T51" fmla="*/ 302 h 689"/>
                <a:gd name="T52" fmla="*/ 48 w 600"/>
                <a:gd name="T53" fmla="*/ 340 h 689"/>
                <a:gd name="T54" fmla="*/ 74 w 600"/>
                <a:gd name="T55" fmla="*/ 372 h 689"/>
                <a:gd name="T56" fmla="*/ 103 w 600"/>
                <a:gd name="T57" fmla="*/ 403 h 689"/>
                <a:gd name="T58" fmla="*/ 137 w 600"/>
                <a:gd name="T59" fmla="*/ 427 h 689"/>
                <a:gd name="T60" fmla="*/ 173 w 600"/>
                <a:gd name="T61" fmla="*/ 448 h 689"/>
                <a:gd name="T62" fmla="*/ 213 w 600"/>
                <a:gd name="T63" fmla="*/ 463 h 689"/>
                <a:gd name="T64" fmla="*/ 255 w 600"/>
                <a:gd name="T65" fmla="*/ 473 h 689"/>
                <a:gd name="T66" fmla="*/ 282 w 600"/>
                <a:gd name="T67" fmla="*/ 476 h 689"/>
                <a:gd name="T68" fmla="*/ 124 w 600"/>
                <a:gd name="T69" fmla="*/ 689 h 689"/>
                <a:gd name="T70" fmla="*/ 318 w 600"/>
                <a:gd name="T71" fmla="*/ 653 h 689"/>
                <a:gd name="T72" fmla="*/ 330 w 600"/>
                <a:gd name="T73" fmla="*/ 475 h 689"/>
                <a:gd name="T74" fmla="*/ 373 w 600"/>
                <a:gd name="T75" fmla="*/ 467 h 689"/>
                <a:gd name="T76" fmla="*/ 413 w 600"/>
                <a:gd name="T77" fmla="*/ 453 h 689"/>
                <a:gd name="T78" fmla="*/ 451 w 600"/>
                <a:gd name="T79" fmla="*/ 435 h 689"/>
                <a:gd name="T80" fmla="*/ 485 w 600"/>
                <a:gd name="T81" fmla="*/ 411 h 689"/>
                <a:gd name="T82" fmla="*/ 517 w 600"/>
                <a:gd name="T83" fmla="*/ 383 h 689"/>
                <a:gd name="T84" fmla="*/ 544 w 600"/>
                <a:gd name="T85" fmla="*/ 351 h 689"/>
                <a:gd name="T86" fmla="*/ 565 w 600"/>
                <a:gd name="T87" fmla="*/ 315 h 689"/>
                <a:gd name="T88" fmla="*/ 583 w 600"/>
                <a:gd name="T89" fmla="*/ 276 h 689"/>
                <a:gd name="T90" fmla="*/ 593 w 600"/>
                <a:gd name="T91" fmla="*/ 235 h 689"/>
                <a:gd name="T92" fmla="*/ 599 w 600"/>
                <a:gd name="T93" fmla="*/ 192 h 689"/>
                <a:gd name="T94" fmla="*/ 564 w 600"/>
                <a:gd name="T95" fmla="*/ 0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00" h="689">
                  <a:moveTo>
                    <a:pt x="564" y="0"/>
                  </a:moveTo>
                  <a:lnTo>
                    <a:pt x="564" y="177"/>
                  </a:lnTo>
                  <a:lnTo>
                    <a:pt x="564" y="190"/>
                  </a:lnTo>
                  <a:lnTo>
                    <a:pt x="563" y="204"/>
                  </a:lnTo>
                  <a:lnTo>
                    <a:pt x="561" y="217"/>
                  </a:lnTo>
                  <a:lnTo>
                    <a:pt x="559" y="230"/>
                  </a:lnTo>
                  <a:lnTo>
                    <a:pt x="556" y="243"/>
                  </a:lnTo>
                  <a:lnTo>
                    <a:pt x="552" y="255"/>
                  </a:lnTo>
                  <a:lnTo>
                    <a:pt x="548" y="268"/>
                  </a:lnTo>
                  <a:lnTo>
                    <a:pt x="544" y="279"/>
                  </a:lnTo>
                  <a:lnTo>
                    <a:pt x="538" y="291"/>
                  </a:lnTo>
                  <a:lnTo>
                    <a:pt x="532" y="302"/>
                  </a:lnTo>
                  <a:lnTo>
                    <a:pt x="526" y="314"/>
                  </a:lnTo>
                  <a:lnTo>
                    <a:pt x="519" y="325"/>
                  </a:lnTo>
                  <a:lnTo>
                    <a:pt x="511" y="335"/>
                  </a:lnTo>
                  <a:lnTo>
                    <a:pt x="504" y="344"/>
                  </a:lnTo>
                  <a:lnTo>
                    <a:pt x="495" y="354"/>
                  </a:lnTo>
                  <a:lnTo>
                    <a:pt x="486" y="364"/>
                  </a:lnTo>
                  <a:lnTo>
                    <a:pt x="478" y="372"/>
                  </a:lnTo>
                  <a:lnTo>
                    <a:pt x="468" y="381"/>
                  </a:lnTo>
                  <a:lnTo>
                    <a:pt x="458" y="389"/>
                  </a:lnTo>
                  <a:lnTo>
                    <a:pt x="448" y="396"/>
                  </a:lnTo>
                  <a:lnTo>
                    <a:pt x="437" y="403"/>
                  </a:lnTo>
                  <a:lnTo>
                    <a:pt x="426" y="409"/>
                  </a:lnTo>
                  <a:lnTo>
                    <a:pt x="414" y="414"/>
                  </a:lnTo>
                  <a:lnTo>
                    <a:pt x="402" y="420"/>
                  </a:lnTo>
                  <a:lnTo>
                    <a:pt x="390" y="425"/>
                  </a:lnTo>
                  <a:lnTo>
                    <a:pt x="378" y="430"/>
                  </a:lnTo>
                  <a:lnTo>
                    <a:pt x="366" y="433"/>
                  </a:lnTo>
                  <a:lnTo>
                    <a:pt x="353" y="436"/>
                  </a:lnTo>
                  <a:lnTo>
                    <a:pt x="340" y="438"/>
                  </a:lnTo>
                  <a:lnTo>
                    <a:pt x="327" y="439"/>
                  </a:lnTo>
                  <a:lnTo>
                    <a:pt x="314" y="440"/>
                  </a:lnTo>
                  <a:lnTo>
                    <a:pt x="300" y="441"/>
                  </a:lnTo>
                  <a:lnTo>
                    <a:pt x="287" y="440"/>
                  </a:lnTo>
                  <a:lnTo>
                    <a:pt x="273" y="439"/>
                  </a:lnTo>
                  <a:lnTo>
                    <a:pt x="260" y="438"/>
                  </a:lnTo>
                  <a:lnTo>
                    <a:pt x="247" y="436"/>
                  </a:lnTo>
                  <a:lnTo>
                    <a:pt x="234" y="433"/>
                  </a:lnTo>
                  <a:lnTo>
                    <a:pt x="221" y="430"/>
                  </a:lnTo>
                  <a:lnTo>
                    <a:pt x="209" y="425"/>
                  </a:lnTo>
                  <a:lnTo>
                    <a:pt x="197" y="420"/>
                  </a:lnTo>
                  <a:lnTo>
                    <a:pt x="185" y="414"/>
                  </a:lnTo>
                  <a:lnTo>
                    <a:pt x="173" y="409"/>
                  </a:lnTo>
                  <a:lnTo>
                    <a:pt x="162" y="403"/>
                  </a:lnTo>
                  <a:lnTo>
                    <a:pt x="152" y="396"/>
                  </a:lnTo>
                  <a:lnTo>
                    <a:pt x="142" y="389"/>
                  </a:lnTo>
                  <a:lnTo>
                    <a:pt x="131" y="381"/>
                  </a:lnTo>
                  <a:lnTo>
                    <a:pt x="122" y="372"/>
                  </a:lnTo>
                  <a:lnTo>
                    <a:pt x="113" y="364"/>
                  </a:lnTo>
                  <a:lnTo>
                    <a:pt x="104" y="354"/>
                  </a:lnTo>
                  <a:lnTo>
                    <a:pt x="95" y="344"/>
                  </a:lnTo>
                  <a:lnTo>
                    <a:pt x="88" y="335"/>
                  </a:lnTo>
                  <a:lnTo>
                    <a:pt x="80" y="325"/>
                  </a:lnTo>
                  <a:lnTo>
                    <a:pt x="74" y="314"/>
                  </a:lnTo>
                  <a:lnTo>
                    <a:pt x="67" y="302"/>
                  </a:lnTo>
                  <a:lnTo>
                    <a:pt x="61" y="291"/>
                  </a:lnTo>
                  <a:lnTo>
                    <a:pt x="56" y="279"/>
                  </a:lnTo>
                  <a:lnTo>
                    <a:pt x="51" y="268"/>
                  </a:lnTo>
                  <a:lnTo>
                    <a:pt x="47" y="255"/>
                  </a:lnTo>
                  <a:lnTo>
                    <a:pt x="44" y="243"/>
                  </a:lnTo>
                  <a:lnTo>
                    <a:pt x="40" y="230"/>
                  </a:lnTo>
                  <a:lnTo>
                    <a:pt x="38" y="217"/>
                  </a:lnTo>
                  <a:lnTo>
                    <a:pt x="36" y="204"/>
                  </a:lnTo>
                  <a:lnTo>
                    <a:pt x="36" y="190"/>
                  </a:lnTo>
                  <a:lnTo>
                    <a:pt x="35" y="177"/>
                  </a:lnTo>
                  <a:lnTo>
                    <a:pt x="35" y="0"/>
                  </a:lnTo>
                  <a:lnTo>
                    <a:pt x="0" y="0"/>
                  </a:lnTo>
                  <a:lnTo>
                    <a:pt x="0" y="177"/>
                  </a:lnTo>
                  <a:lnTo>
                    <a:pt x="0" y="192"/>
                  </a:lnTo>
                  <a:lnTo>
                    <a:pt x="2" y="206"/>
                  </a:lnTo>
                  <a:lnTo>
                    <a:pt x="4" y="221"/>
                  </a:lnTo>
                  <a:lnTo>
                    <a:pt x="6" y="235"/>
                  </a:lnTo>
                  <a:lnTo>
                    <a:pt x="9" y="249"/>
                  </a:lnTo>
                  <a:lnTo>
                    <a:pt x="12" y="263"/>
                  </a:lnTo>
                  <a:lnTo>
                    <a:pt x="17" y="276"/>
                  </a:lnTo>
                  <a:lnTo>
                    <a:pt x="22" y="289"/>
                  </a:lnTo>
                  <a:lnTo>
                    <a:pt x="27" y="302"/>
                  </a:lnTo>
                  <a:lnTo>
                    <a:pt x="34" y="315"/>
                  </a:lnTo>
                  <a:lnTo>
                    <a:pt x="40" y="327"/>
                  </a:lnTo>
                  <a:lnTo>
                    <a:pt x="48" y="340"/>
                  </a:lnTo>
                  <a:lnTo>
                    <a:pt x="57" y="351"/>
                  </a:lnTo>
                  <a:lnTo>
                    <a:pt x="64" y="362"/>
                  </a:lnTo>
                  <a:lnTo>
                    <a:pt x="74" y="372"/>
                  </a:lnTo>
                  <a:lnTo>
                    <a:pt x="83" y="383"/>
                  </a:lnTo>
                  <a:lnTo>
                    <a:pt x="92" y="393"/>
                  </a:lnTo>
                  <a:lnTo>
                    <a:pt x="103" y="403"/>
                  </a:lnTo>
                  <a:lnTo>
                    <a:pt x="114" y="411"/>
                  </a:lnTo>
                  <a:lnTo>
                    <a:pt x="125" y="420"/>
                  </a:lnTo>
                  <a:lnTo>
                    <a:pt x="137" y="427"/>
                  </a:lnTo>
                  <a:lnTo>
                    <a:pt x="148" y="435"/>
                  </a:lnTo>
                  <a:lnTo>
                    <a:pt x="160" y="441"/>
                  </a:lnTo>
                  <a:lnTo>
                    <a:pt x="173" y="448"/>
                  </a:lnTo>
                  <a:lnTo>
                    <a:pt x="186" y="453"/>
                  </a:lnTo>
                  <a:lnTo>
                    <a:pt x="199" y="459"/>
                  </a:lnTo>
                  <a:lnTo>
                    <a:pt x="213" y="463"/>
                  </a:lnTo>
                  <a:lnTo>
                    <a:pt x="227" y="467"/>
                  </a:lnTo>
                  <a:lnTo>
                    <a:pt x="241" y="471"/>
                  </a:lnTo>
                  <a:lnTo>
                    <a:pt x="255" y="473"/>
                  </a:lnTo>
                  <a:lnTo>
                    <a:pt x="269" y="475"/>
                  </a:lnTo>
                  <a:lnTo>
                    <a:pt x="285" y="476"/>
                  </a:lnTo>
                  <a:lnTo>
                    <a:pt x="282" y="476"/>
                  </a:lnTo>
                  <a:lnTo>
                    <a:pt x="282" y="653"/>
                  </a:lnTo>
                  <a:lnTo>
                    <a:pt x="124" y="653"/>
                  </a:lnTo>
                  <a:lnTo>
                    <a:pt x="124" y="689"/>
                  </a:lnTo>
                  <a:lnTo>
                    <a:pt x="476" y="689"/>
                  </a:lnTo>
                  <a:lnTo>
                    <a:pt x="476" y="653"/>
                  </a:lnTo>
                  <a:lnTo>
                    <a:pt x="318" y="653"/>
                  </a:lnTo>
                  <a:lnTo>
                    <a:pt x="318" y="476"/>
                  </a:lnTo>
                  <a:lnTo>
                    <a:pt x="315" y="476"/>
                  </a:lnTo>
                  <a:lnTo>
                    <a:pt x="330" y="475"/>
                  </a:lnTo>
                  <a:lnTo>
                    <a:pt x="344" y="473"/>
                  </a:lnTo>
                  <a:lnTo>
                    <a:pt x="359" y="471"/>
                  </a:lnTo>
                  <a:lnTo>
                    <a:pt x="373" y="467"/>
                  </a:lnTo>
                  <a:lnTo>
                    <a:pt x="386" y="463"/>
                  </a:lnTo>
                  <a:lnTo>
                    <a:pt x="400" y="459"/>
                  </a:lnTo>
                  <a:lnTo>
                    <a:pt x="413" y="453"/>
                  </a:lnTo>
                  <a:lnTo>
                    <a:pt x="426" y="448"/>
                  </a:lnTo>
                  <a:lnTo>
                    <a:pt x="439" y="441"/>
                  </a:lnTo>
                  <a:lnTo>
                    <a:pt x="451" y="435"/>
                  </a:lnTo>
                  <a:lnTo>
                    <a:pt x="463" y="427"/>
                  </a:lnTo>
                  <a:lnTo>
                    <a:pt x="475" y="420"/>
                  </a:lnTo>
                  <a:lnTo>
                    <a:pt x="485" y="411"/>
                  </a:lnTo>
                  <a:lnTo>
                    <a:pt x="496" y="403"/>
                  </a:lnTo>
                  <a:lnTo>
                    <a:pt x="507" y="393"/>
                  </a:lnTo>
                  <a:lnTo>
                    <a:pt x="517" y="383"/>
                  </a:lnTo>
                  <a:lnTo>
                    <a:pt x="526" y="372"/>
                  </a:lnTo>
                  <a:lnTo>
                    <a:pt x="535" y="362"/>
                  </a:lnTo>
                  <a:lnTo>
                    <a:pt x="544" y="351"/>
                  </a:lnTo>
                  <a:lnTo>
                    <a:pt x="551" y="340"/>
                  </a:lnTo>
                  <a:lnTo>
                    <a:pt x="559" y="327"/>
                  </a:lnTo>
                  <a:lnTo>
                    <a:pt x="565" y="315"/>
                  </a:lnTo>
                  <a:lnTo>
                    <a:pt x="572" y="302"/>
                  </a:lnTo>
                  <a:lnTo>
                    <a:pt x="577" y="289"/>
                  </a:lnTo>
                  <a:lnTo>
                    <a:pt x="583" y="276"/>
                  </a:lnTo>
                  <a:lnTo>
                    <a:pt x="587" y="263"/>
                  </a:lnTo>
                  <a:lnTo>
                    <a:pt x="590" y="249"/>
                  </a:lnTo>
                  <a:lnTo>
                    <a:pt x="593" y="235"/>
                  </a:lnTo>
                  <a:lnTo>
                    <a:pt x="597" y="221"/>
                  </a:lnTo>
                  <a:lnTo>
                    <a:pt x="598" y="206"/>
                  </a:lnTo>
                  <a:lnTo>
                    <a:pt x="599" y="192"/>
                  </a:lnTo>
                  <a:lnTo>
                    <a:pt x="600" y="177"/>
                  </a:lnTo>
                  <a:lnTo>
                    <a:pt x="600" y="0"/>
                  </a:lnTo>
                  <a:lnTo>
                    <a:pt x="5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9" name="组合 8"/>
          <p:cNvGrpSpPr/>
          <p:nvPr/>
        </p:nvGrpSpPr>
        <p:grpSpPr>
          <a:xfrm>
            <a:off x="1524179" y="2173259"/>
            <a:ext cx="3284372" cy="1645290"/>
            <a:chOff x="1524179" y="2173259"/>
            <a:chExt cx="3284372" cy="1645290"/>
          </a:xfrm>
        </p:grpSpPr>
        <p:grpSp>
          <p:nvGrpSpPr>
            <p:cNvPr id="10" name="Group 8"/>
            <p:cNvGrpSpPr/>
            <p:nvPr/>
          </p:nvGrpSpPr>
          <p:grpSpPr>
            <a:xfrm>
              <a:off x="1524179" y="2173259"/>
              <a:ext cx="3284372" cy="1645290"/>
              <a:chOff x="1196564" y="2556764"/>
              <a:chExt cx="3316257" cy="1661264"/>
            </a:xfrm>
          </p:grpSpPr>
          <p:grpSp>
            <p:nvGrpSpPr>
              <p:cNvPr id="13" name="Group 63"/>
              <p:cNvGrpSpPr/>
              <p:nvPr/>
            </p:nvGrpSpPr>
            <p:grpSpPr>
              <a:xfrm>
                <a:off x="1196564" y="2556764"/>
                <a:ext cx="3316257" cy="1661264"/>
                <a:chOff x="3048000" y="2222499"/>
                <a:chExt cx="3359150" cy="1682751"/>
              </a:xfrm>
            </p:grpSpPr>
            <p:sp>
              <p:nvSpPr>
                <p:cNvPr id="19" name="Freeform 5"/>
                <p:cNvSpPr/>
                <p:nvPr/>
              </p:nvSpPr>
              <p:spPr bwMode="auto">
                <a:xfrm>
                  <a:off x="3048000" y="2222499"/>
                  <a:ext cx="3359150" cy="1681163"/>
                </a:xfrm>
                <a:custGeom>
                  <a:avLst/>
                  <a:gdLst/>
                  <a:ahLst/>
                  <a:cxnLst>
                    <a:cxn ang="0">
                      <a:pos x="1572" y="787"/>
                    </a:cxn>
                    <a:cxn ang="0">
                      <a:pos x="1325" y="787"/>
                    </a:cxn>
                    <a:cxn ang="0">
                      <a:pos x="1325" y="786"/>
                    </a:cxn>
                    <a:cxn ang="0">
                      <a:pos x="1253" y="515"/>
                    </a:cxn>
                    <a:cxn ang="0">
                      <a:pos x="1167" y="405"/>
                    </a:cxn>
                    <a:cxn ang="0">
                      <a:pos x="1056" y="319"/>
                    </a:cxn>
                    <a:cxn ang="0">
                      <a:pos x="1054" y="318"/>
                    </a:cxn>
                    <a:cxn ang="0">
                      <a:pos x="1053" y="317"/>
                    </a:cxn>
                    <a:cxn ang="0">
                      <a:pos x="787" y="248"/>
                    </a:cxn>
                    <a:cxn ang="0">
                      <a:pos x="786" y="248"/>
                    </a:cxn>
                    <a:cxn ang="0">
                      <a:pos x="516" y="319"/>
                    </a:cxn>
                    <a:cxn ang="0">
                      <a:pos x="405" y="405"/>
                    </a:cxn>
                    <a:cxn ang="0">
                      <a:pos x="318" y="516"/>
                    </a:cxn>
                    <a:cxn ang="0">
                      <a:pos x="247" y="786"/>
                    </a:cxn>
                    <a:cxn ang="0">
                      <a:pos x="247" y="787"/>
                    </a:cxn>
                    <a:cxn ang="0">
                      <a:pos x="0" y="787"/>
                    </a:cxn>
                    <a:cxn ang="0">
                      <a:pos x="104" y="392"/>
                    </a:cxn>
                    <a:cxn ang="0">
                      <a:pos x="230" y="231"/>
                    </a:cxn>
                    <a:cxn ang="0">
                      <a:pos x="392" y="104"/>
                    </a:cxn>
                    <a:cxn ang="0">
                      <a:pos x="786" y="0"/>
                    </a:cxn>
                    <a:cxn ang="0">
                      <a:pos x="787" y="0"/>
                    </a:cxn>
                    <a:cxn ang="0">
                      <a:pos x="1176" y="102"/>
                    </a:cxn>
                    <a:cxn ang="0">
                      <a:pos x="1177" y="102"/>
                    </a:cxn>
                    <a:cxn ang="0">
                      <a:pos x="1180" y="104"/>
                    </a:cxn>
                    <a:cxn ang="0">
                      <a:pos x="1342" y="231"/>
                    </a:cxn>
                    <a:cxn ang="0">
                      <a:pos x="1468" y="391"/>
                    </a:cxn>
                    <a:cxn ang="0">
                      <a:pos x="1572" y="787"/>
                    </a:cxn>
                  </a:cxnLst>
                  <a:rect l="0" t="0" r="r" b="b"/>
                  <a:pathLst>
                    <a:path w="1572" h="787">
                      <a:moveTo>
                        <a:pt x="1572" y="787"/>
                      </a:moveTo>
                      <a:cubicBezTo>
                        <a:pt x="1325" y="787"/>
                        <a:pt x="1325" y="787"/>
                        <a:pt x="1325" y="787"/>
                      </a:cubicBezTo>
                      <a:cubicBezTo>
                        <a:pt x="1325" y="786"/>
                        <a:pt x="1325" y="786"/>
                        <a:pt x="1325" y="786"/>
                      </a:cubicBezTo>
                      <a:cubicBezTo>
                        <a:pt x="1325" y="686"/>
                        <a:pt x="1301" y="596"/>
                        <a:pt x="1253" y="515"/>
                      </a:cubicBezTo>
                      <a:cubicBezTo>
                        <a:pt x="1230" y="476"/>
                        <a:pt x="1201" y="440"/>
                        <a:pt x="1167" y="405"/>
                      </a:cubicBezTo>
                      <a:cubicBezTo>
                        <a:pt x="1133" y="371"/>
                        <a:pt x="1095" y="342"/>
                        <a:pt x="1056" y="319"/>
                      </a:cubicBezTo>
                      <a:cubicBezTo>
                        <a:pt x="1055" y="318"/>
                        <a:pt x="1055" y="318"/>
                        <a:pt x="1054" y="318"/>
                      </a:cubicBezTo>
                      <a:cubicBezTo>
                        <a:pt x="1054" y="317"/>
                        <a:pt x="1054" y="317"/>
                        <a:pt x="1053" y="317"/>
                      </a:cubicBezTo>
                      <a:cubicBezTo>
                        <a:pt x="974" y="271"/>
                        <a:pt x="885" y="248"/>
                        <a:pt x="787" y="248"/>
                      </a:cubicBezTo>
                      <a:cubicBezTo>
                        <a:pt x="786" y="248"/>
                        <a:pt x="786" y="248"/>
                        <a:pt x="786" y="248"/>
                      </a:cubicBezTo>
                      <a:cubicBezTo>
                        <a:pt x="686" y="248"/>
                        <a:pt x="596" y="271"/>
                        <a:pt x="516" y="319"/>
                      </a:cubicBezTo>
                      <a:cubicBezTo>
                        <a:pt x="477" y="342"/>
                        <a:pt x="440" y="371"/>
                        <a:pt x="405" y="405"/>
                      </a:cubicBezTo>
                      <a:cubicBezTo>
                        <a:pt x="371" y="440"/>
                        <a:pt x="342" y="477"/>
                        <a:pt x="318" y="516"/>
                      </a:cubicBezTo>
                      <a:cubicBezTo>
                        <a:pt x="271" y="596"/>
                        <a:pt x="247" y="687"/>
                        <a:pt x="247" y="786"/>
                      </a:cubicBezTo>
                      <a:cubicBezTo>
                        <a:pt x="247" y="787"/>
                        <a:pt x="247" y="787"/>
                        <a:pt x="247" y="787"/>
                      </a:cubicBezTo>
                      <a:cubicBezTo>
                        <a:pt x="0" y="787"/>
                        <a:pt x="0" y="787"/>
                        <a:pt x="0" y="787"/>
                      </a:cubicBezTo>
                      <a:cubicBezTo>
                        <a:pt x="0" y="641"/>
                        <a:pt x="34" y="509"/>
                        <a:pt x="104" y="392"/>
                      </a:cubicBezTo>
                      <a:cubicBezTo>
                        <a:pt x="138" y="335"/>
                        <a:pt x="180" y="281"/>
                        <a:pt x="230" y="231"/>
                      </a:cubicBezTo>
                      <a:cubicBezTo>
                        <a:pt x="281" y="180"/>
                        <a:pt x="335" y="138"/>
                        <a:pt x="392" y="104"/>
                      </a:cubicBezTo>
                      <a:cubicBezTo>
                        <a:pt x="509" y="35"/>
                        <a:pt x="641" y="0"/>
                        <a:pt x="786" y="0"/>
                      </a:cubicBezTo>
                      <a:cubicBezTo>
                        <a:pt x="786" y="0"/>
                        <a:pt x="787" y="0"/>
                        <a:pt x="787" y="0"/>
                      </a:cubicBezTo>
                      <a:cubicBezTo>
                        <a:pt x="931" y="1"/>
                        <a:pt x="1061" y="34"/>
                        <a:pt x="1176" y="102"/>
                      </a:cubicBezTo>
                      <a:cubicBezTo>
                        <a:pt x="1177" y="102"/>
                        <a:pt x="1177" y="102"/>
                        <a:pt x="1177" y="102"/>
                      </a:cubicBezTo>
                      <a:cubicBezTo>
                        <a:pt x="1178" y="103"/>
                        <a:pt x="1179" y="103"/>
                        <a:pt x="1180" y="104"/>
                      </a:cubicBezTo>
                      <a:cubicBezTo>
                        <a:pt x="1237" y="138"/>
                        <a:pt x="1291" y="180"/>
                        <a:pt x="1342" y="231"/>
                      </a:cubicBezTo>
                      <a:cubicBezTo>
                        <a:pt x="1392" y="281"/>
                        <a:pt x="1434" y="334"/>
                        <a:pt x="1468" y="391"/>
                      </a:cubicBezTo>
                      <a:cubicBezTo>
                        <a:pt x="1537" y="508"/>
                        <a:pt x="1572" y="640"/>
                        <a:pt x="1572" y="787"/>
                      </a:cubicBezTo>
                      <a:close/>
                    </a:path>
                  </a:pathLst>
                </a:custGeom>
                <a:solidFill>
                  <a:schemeClr val="lt1">
                    <a:lumMod val="85000"/>
                  </a:schemeClr>
                </a:solidFill>
                <a:ln w="9525">
                  <a:noFill/>
                  <a:round/>
                </a:ln>
              </p:spPr>
              <p:txBody>
                <a:bodyPr vert="horz" wrap="square" lIns="182880" tIns="91440" rIns="182880" bIns="91440" numCol="1" anchor="t" anchorCtr="0" compatLnSpc="1"/>
                <a:lstStyle/>
                <a:p>
                  <a:pPr algn="l" defTabSz="1828800" rtl="0"/>
                  <a:endParaRPr lang="en-US" sz="3600" kern="1200">
                    <a:solidFill>
                      <a:prstClr val="black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grpSp>
              <p:nvGrpSpPr>
                <p:cNvPr id="20" name="Group 61"/>
                <p:cNvGrpSpPr/>
                <p:nvPr/>
              </p:nvGrpSpPr>
              <p:grpSpPr>
                <a:xfrm>
                  <a:off x="3610477" y="2789235"/>
                  <a:ext cx="2232610" cy="1116015"/>
                  <a:chOff x="3610477" y="2524123"/>
                  <a:chExt cx="2232610" cy="1116015"/>
                </a:xfrm>
              </p:grpSpPr>
              <p:cxnSp>
                <p:nvCxnSpPr>
                  <p:cNvPr id="21" name="Straight Connector 775"/>
                  <p:cNvCxnSpPr/>
                  <p:nvPr/>
                </p:nvCxnSpPr>
                <p:spPr>
                  <a:xfrm>
                    <a:off x="3788411" y="3120519"/>
                    <a:ext cx="118427" cy="60831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2" name="Straight Connector 776"/>
                  <p:cNvCxnSpPr/>
                  <p:nvPr/>
                </p:nvCxnSpPr>
                <p:spPr>
                  <a:xfrm rot="16200000" flipH="1">
                    <a:off x="4158996" y="2718342"/>
                    <a:ext cx="114809" cy="87311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3" name="Straight Connector 777"/>
                  <p:cNvCxnSpPr/>
                  <p:nvPr/>
                </p:nvCxnSpPr>
                <p:spPr>
                  <a:xfrm rot="16200000" flipH="1">
                    <a:off x="4654152" y="2594373"/>
                    <a:ext cx="142879" cy="2380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4" name="Straight Connector 778"/>
                  <p:cNvCxnSpPr/>
                  <p:nvPr/>
                </p:nvCxnSpPr>
                <p:spPr>
                  <a:xfrm rot="5400000">
                    <a:off x="5203031" y="2693200"/>
                    <a:ext cx="109538" cy="57144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5" name="Straight Connector 779"/>
                  <p:cNvCxnSpPr/>
                  <p:nvPr/>
                </p:nvCxnSpPr>
                <p:spPr>
                  <a:xfrm rot="10800000" flipV="1">
                    <a:off x="5574507" y="3069429"/>
                    <a:ext cx="114637" cy="66675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6" name="Straight Connector 780"/>
                  <p:cNvCxnSpPr/>
                  <p:nvPr/>
                </p:nvCxnSpPr>
                <p:spPr>
                  <a:xfrm>
                    <a:off x="3610477" y="3638550"/>
                    <a:ext cx="116974" cy="1588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7" name="Straight Connector 781"/>
                  <p:cNvCxnSpPr/>
                  <p:nvPr/>
                </p:nvCxnSpPr>
                <p:spPr>
                  <a:xfrm>
                    <a:off x="5726113" y="3638550"/>
                    <a:ext cx="116974" cy="1588"/>
                  </a:xfrm>
                  <a:prstGeom prst="line">
                    <a:avLst/>
                  </a:prstGeom>
                  <a:ln>
                    <a:solidFill>
                      <a:schemeClr val="lt1">
                        <a:lumMod val="50000"/>
                        <a:lumOff val="5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14" name="Freeform 8"/>
              <p:cNvSpPr/>
              <p:nvPr/>
            </p:nvSpPr>
            <p:spPr bwMode="auto">
              <a:xfrm>
                <a:off x="1238880" y="3404636"/>
                <a:ext cx="628459" cy="811825"/>
              </a:xfrm>
              <a:custGeom>
                <a:avLst/>
                <a:gdLst/>
                <a:ahLst/>
                <a:cxnLst>
                  <a:cxn ang="0">
                    <a:pos x="101" y="0"/>
                  </a:cxn>
                  <a:cxn ang="0">
                    <a:pos x="298" y="114"/>
                  </a:cxn>
                  <a:cxn ang="0">
                    <a:pos x="227" y="384"/>
                  </a:cxn>
                  <a:cxn ang="0">
                    <a:pos x="227" y="385"/>
                  </a:cxn>
                  <a:cxn ang="0">
                    <a:pos x="0" y="385"/>
                  </a:cxn>
                  <a:cxn ang="0">
                    <a:pos x="101" y="0"/>
                  </a:cxn>
                </a:cxnLst>
                <a:rect l="0" t="0" r="r" b="b"/>
                <a:pathLst>
                  <a:path w="298" h="385">
                    <a:moveTo>
                      <a:pt x="101" y="0"/>
                    </a:moveTo>
                    <a:cubicBezTo>
                      <a:pt x="298" y="114"/>
                      <a:pt x="298" y="114"/>
                      <a:pt x="298" y="114"/>
                    </a:cubicBezTo>
                    <a:cubicBezTo>
                      <a:pt x="251" y="195"/>
                      <a:pt x="227" y="285"/>
                      <a:pt x="227" y="384"/>
                    </a:cubicBezTo>
                    <a:cubicBezTo>
                      <a:pt x="227" y="385"/>
                      <a:pt x="227" y="385"/>
                      <a:pt x="227" y="385"/>
                    </a:cubicBezTo>
                    <a:cubicBezTo>
                      <a:pt x="0" y="385"/>
                      <a:pt x="0" y="385"/>
                      <a:pt x="0" y="385"/>
                    </a:cubicBezTo>
                    <a:cubicBezTo>
                      <a:pt x="0" y="243"/>
                      <a:pt x="33" y="114"/>
                      <a:pt x="101" y="0"/>
                    </a:cubicBezTo>
                    <a:close/>
                  </a:path>
                </a:pathLst>
              </a:custGeom>
              <a:solidFill>
                <a:schemeClr val="lt1">
                  <a:lumMod val="75000"/>
                </a:schemeClr>
              </a:solidFill>
              <a:ln w="9525">
                <a:noFill/>
                <a:round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 dirty="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15" name="Freeform 11"/>
              <p:cNvSpPr/>
              <p:nvPr/>
            </p:nvSpPr>
            <p:spPr bwMode="auto">
              <a:xfrm>
                <a:off x="1452023" y="2812223"/>
                <a:ext cx="833766" cy="833766"/>
              </a:xfrm>
              <a:custGeom>
                <a:avLst/>
                <a:gdLst/>
                <a:ahLst/>
                <a:cxnLst>
                  <a:cxn ang="0">
                    <a:pos x="197" y="395"/>
                  </a:cxn>
                  <a:cxn ang="0">
                    <a:pos x="0" y="281"/>
                  </a:cxn>
                  <a:cxn ang="0">
                    <a:pos x="123" y="124"/>
                  </a:cxn>
                  <a:cxn ang="0">
                    <a:pos x="281" y="0"/>
                  </a:cxn>
                  <a:cxn ang="0">
                    <a:pos x="395" y="198"/>
                  </a:cxn>
                  <a:cxn ang="0">
                    <a:pos x="284" y="284"/>
                  </a:cxn>
                  <a:cxn ang="0">
                    <a:pos x="197" y="395"/>
                  </a:cxn>
                </a:cxnLst>
                <a:rect l="0" t="0" r="r" b="b"/>
                <a:pathLst>
                  <a:path w="395" h="395">
                    <a:moveTo>
                      <a:pt x="197" y="395"/>
                    </a:moveTo>
                    <a:cubicBezTo>
                      <a:pt x="0" y="281"/>
                      <a:pt x="0" y="281"/>
                      <a:pt x="0" y="281"/>
                    </a:cubicBezTo>
                    <a:cubicBezTo>
                      <a:pt x="33" y="225"/>
                      <a:pt x="74" y="173"/>
                      <a:pt x="123" y="124"/>
                    </a:cubicBezTo>
                    <a:cubicBezTo>
                      <a:pt x="173" y="74"/>
                      <a:pt x="225" y="33"/>
                      <a:pt x="281" y="0"/>
                    </a:cubicBezTo>
                    <a:cubicBezTo>
                      <a:pt x="395" y="198"/>
                      <a:pt x="395" y="198"/>
                      <a:pt x="395" y="198"/>
                    </a:cubicBezTo>
                    <a:cubicBezTo>
                      <a:pt x="356" y="221"/>
                      <a:pt x="319" y="250"/>
                      <a:pt x="284" y="284"/>
                    </a:cubicBezTo>
                    <a:cubicBezTo>
                      <a:pt x="250" y="319"/>
                      <a:pt x="221" y="356"/>
                      <a:pt x="197" y="395"/>
                    </a:cubicBezTo>
                    <a:close/>
                  </a:path>
                </a:pathLst>
              </a:custGeom>
              <a:solidFill>
                <a:schemeClr val="lt1">
                  <a:lumMod val="65000"/>
                </a:schemeClr>
              </a:solidFill>
              <a:ln w="9525">
                <a:noFill/>
                <a:round/>
              </a:ln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grpSp>
            <p:nvGrpSpPr>
              <p:cNvPr id="16" name="Group 37"/>
              <p:cNvGrpSpPr/>
              <p:nvPr/>
            </p:nvGrpSpPr>
            <p:grpSpPr>
              <a:xfrm rot="1384368">
                <a:off x="2240702" y="3757993"/>
                <a:ext cx="771959" cy="390742"/>
                <a:chOff x="3913430" y="3159637"/>
                <a:chExt cx="946152" cy="478913"/>
              </a:xfrm>
            </p:grpSpPr>
            <p:sp>
              <p:nvSpPr>
                <p:cNvPr id="17" name="Isosceles Triangle 771"/>
                <p:cNvSpPr/>
                <p:nvPr/>
              </p:nvSpPr>
              <p:spPr>
                <a:xfrm rot="18462737">
                  <a:off x="4291255" y="2781812"/>
                  <a:ext cx="190501" cy="946152"/>
                </a:xfrm>
                <a:prstGeom prst="triangle">
                  <a:avLst/>
                </a:prstGeom>
                <a:solidFill>
                  <a:schemeClr val="lt1">
                    <a:lumMod val="7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1828800" rtl="0"/>
                  <a:endParaRPr lang="en-US" sz="3600" kern="1200">
                    <a:solidFill>
                      <a:prstClr val="white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  <p:sp>
              <p:nvSpPr>
                <p:cNvPr id="18" name="Oval 772"/>
                <p:cNvSpPr/>
                <p:nvPr/>
              </p:nvSpPr>
              <p:spPr>
                <a:xfrm>
                  <a:off x="4613275" y="3409950"/>
                  <a:ext cx="228600" cy="228600"/>
                </a:xfrm>
                <a:prstGeom prst="ellipse">
                  <a:avLst/>
                </a:prstGeom>
                <a:solidFill>
                  <a:schemeClr val="lt1">
                    <a:lumMod val="100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defTabSz="1828800" rtl="0"/>
                  <a:endParaRPr lang="en-US" sz="3600" kern="1200">
                    <a:solidFill>
                      <a:prstClr val="white"/>
                    </a:solidFill>
                    <a:latin typeface="思源宋体 CN Medium" panose="02020500000000000000" pitchFamily="18" charset="-122"/>
                    <a:ea typeface="思源宋体 CN Medium" panose="02020500000000000000" pitchFamily="18" charset="-122"/>
                    <a:sym typeface="思源宋体 CN Medium" panose="02020500000000000000" pitchFamily="18" charset="-122"/>
                  </a:endParaRPr>
                </a:p>
              </p:txBody>
            </p:sp>
          </p:grpSp>
        </p:grpSp>
        <p:sp>
          <p:nvSpPr>
            <p:cNvPr id="28" name="Freeform 7"/>
            <p:cNvSpPr/>
            <p:nvPr/>
          </p:nvSpPr>
          <p:spPr bwMode="auto">
            <a:xfrm>
              <a:off x="2363898" y="2215168"/>
              <a:ext cx="804019" cy="623968"/>
            </a:xfrm>
            <a:custGeom>
              <a:avLst/>
              <a:gdLst/>
              <a:ahLst/>
              <a:cxnLst>
                <a:cxn ang="0">
                  <a:pos x="385" y="0"/>
                </a:cxn>
                <a:cxn ang="0">
                  <a:pos x="385" y="228"/>
                </a:cxn>
                <a:cxn ang="0">
                  <a:pos x="384" y="228"/>
                </a:cxn>
                <a:cxn ang="0">
                  <a:pos x="114" y="299"/>
                </a:cxn>
                <a:cxn ang="0">
                  <a:pos x="0" y="101"/>
                </a:cxn>
                <a:cxn ang="0">
                  <a:pos x="384" y="0"/>
                </a:cxn>
                <a:cxn ang="0">
                  <a:pos x="385" y="0"/>
                </a:cxn>
              </a:cxnLst>
              <a:rect l="0" t="0" r="r" b="b"/>
              <a:pathLst>
                <a:path w="385" h="299">
                  <a:moveTo>
                    <a:pt x="385" y="0"/>
                  </a:moveTo>
                  <a:cubicBezTo>
                    <a:pt x="385" y="228"/>
                    <a:pt x="385" y="228"/>
                    <a:pt x="385" y="228"/>
                  </a:cubicBezTo>
                  <a:cubicBezTo>
                    <a:pt x="384" y="228"/>
                    <a:pt x="384" y="228"/>
                    <a:pt x="384" y="228"/>
                  </a:cubicBezTo>
                  <a:cubicBezTo>
                    <a:pt x="284" y="228"/>
                    <a:pt x="194" y="251"/>
                    <a:pt x="114" y="299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114" y="34"/>
                    <a:pt x="242" y="0"/>
                    <a:pt x="384" y="0"/>
                  </a:cubicBezTo>
                  <a:cubicBezTo>
                    <a:pt x="385" y="0"/>
                    <a:pt x="385" y="0"/>
                    <a:pt x="385" y="0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solidFill>
                <a:schemeClr val="lt1">
                  <a:lumMod val="85000"/>
                </a:schemeClr>
              </a:solidFill>
            </a:ln>
            <a:effectLst/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9" name="Freeform 9"/>
            <p:cNvSpPr/>
            <p:nvPr/>
          </p:nvSpPr>
          <p:spPr bwMode="auto">
            <a:xfrm>
              <a:off x="3729799" y="2426262"/>
              <a:ext cx="824197" cy="822645"/>
            </a:xfrm>
            <a:custGeom>
              <a:avLst/>
              <a:gdLst/>
              <a:ahLst/>
              <a:cxnLst>
                <a:cxn ang="0">
                  <a:pos x="394" y="280"/>
                </a:cxn>
                <a:cxn ang="0">
                  <a:pos x="197" y="394"/>
                </a:cxn>
                <a:cxn ang="0">
                  <a:pos x="111" y="284"/>
                </a:cxn>
                <a:cxn ang="0">
                  <a:pos x="0" y="198"/>
                </a:cxn>
                <a:cxn ang="0">
                  <a:pos x="114" y="0"/>
                </a:cxn>
                <a:cxn ang="0">
                  <a:pos x="272" y="124"/>
                </a:cxn>
                <a:cxn ang="0">
                  <a:pos x="394" y="280"/>
                </a:cxn>
              </a:cxnLst>
              <a:rect l="0" t="0" r="r" b="b"/>
              <a:pathLst>
                <a:path w="394" h="394">
                  <a:moveTo>
                    <a:pt x="394" y="280"/>
                  </a:moveTo>
                  <a:cubicBezTo>
                    <a:pt x="197" y="394"/>
                    <a:pt x="197" y="394"/>
                    <a:pt x="197" y="394"/>
                  </a:cubicBezTo>
                  <a:cubicBezTo>
                    <a:pt x="174" y="355"/>
                    <a:pt x="145" y="319"/>
                    <a:pt x="111" y="284"/>
                  </a:cubicBezTo>
                  <a:cubicBezTo>
                    <a:pt x="77" y="250"/>
                    <a:pt x="39" y="221"/>
                    <a:pt x="0" y="198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70" y="33"/>
                    <a:pt x="222" y="74"/>
                    <a:pt x="272" y="124"/>
                  </a:cubicBezTo>
                  <a:cubicBezTo>
                    <a:pt x="321" y="172"/>
                    <a:pt x="361" y="224"/>
                    <a:pt x="394" y="280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solidFill>
                <a:schemeClr val="lt1">
                  <a:lumMod val="85000"/>
                </a:schemeClr>
              </a:solidFill>
            </a:ln>
            <a:effectLst/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0" name="Freeform 10"/>
            <p:cNvSpPr/>
            <p:nvPr/>
          </p:nvSpPr>
          <p:spPr bwMode="auto">
            <a:xfrm>
              <a:off x="3167917" y="2215168"/>
              <a:ext cx="793155" cy="620864"/>
            </a:xfrm>
            <a:custGeom>
              <a:avLst/>
              <a:gdLst/>
              <a:ahLst/>
              <a:cxnLst>
                <a:cxn ang="0">
                  <a:pos x="0" y="228"/>
                </a:cxn>
                <a:cxn ang="0">
                  <a:pos x="0" y="0"/>
                </a:cxn>
                <a:cxn ang="0">
                  <a:pos x="379" y="99"/>
                </a:cxn>
                <a:cxn ang="0">
                  <a:pos x="266" y="297"/>
                </a:cxn>
                <a:cxn ang="0">
                  <a:pos x="0" y="228"/>
                </a:cxn>
              </a:cxnLst>
              <a:rect l="0" t="0" r="r" b="b"/>
              <a:pathLst>
                <a:path w="379" h="297">
                  <a:moveTo>
                    <a:pt x="0" y="228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140" y="1"/>
                    <a:pt x="266" y="33"/>
                    <a:pt x="379" y="99"/>
                  </a:cubicBezTo>
                  <a:cubicBezTo>
                    <a:pt x="266" y="297"/>
                    <a:pt x="266" y="297"/>
                    <a:pt x="266" y="297"/>
                  </a:cubicBezTo>
                  <a:cubicBezTo>
                    <a:pt x="187" y="251"/>
                    <a:pt x="98" y="228"/>
                    <a:pt x="0" y="228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solidFill>
                <a:schemeClr val="lt1">
                  <a:lumMod val="85000"/>
                </a:schemeClr>
              </a:solidFill>
            </a:ln>
            <a:effectLst/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1" name="Freeform 12"/>
            <p:cNvSpPr/>
            <p:nvPr/>
          </p:nvSpPr>
          <p:spPr bwMode="auto">
            <a:xfrm>
              <a:off x="4142674" y="3011426"/>
              <a:ext cx="623968" cy="805571"/>
            </a:xfrm>
            <a:custGeom>
              <a:avLst/>
              <a:gdLst/>
              <a:ahLst/>
              <a:cxnLst>
                <a:cxn ang="0">
                  <a:pos x="197" y="0"/>
                </a:cxn>
                <a:cxn ang="0">
                  <a:pos x="299" y="386"/>
                </a:cxn>
                <a:cxn ang="0">
                  <a:pos x="72" y="386"/>
                </a:cxn>
                <a:cxn ang="0">
                  <a:pos x="72" y="385"/>
                </a:cxn>
                <a:cxn ang="0">
                  <a:pos x="0" y="114"/>
                </a:cxn>
                <a:cxn ang="0">
                  <a:pos x="197" y="0"/>
                </a:cxn>
              </a:cxnLst>
              <a:rect l="0" t="0" r="r" b="b"/>
              <a:pathLst>
                <a:path w="299" h="386">
                  <a:moveTo>
                    <a:pt x="197" y="0"/>
                  </a:moveTo>
                  <a:cubicBezTo>
                    <a:pt x="265" y="114"/>
                    <a:pt x="299" y="243"/>
                    <a:pt x="299" y="386"/>
                  </a:cubicBezTo>
                  <a:cubicBezTo>
                    <a:pt x="72" y="386"/>
                    <a:pt x="72" y="386"/>
                    <a:pt x="72" y="386"/>
                  </a:cubicBezTo>
                  <a:cubicBezTo>
                    <a:pt x="72" y="385"/>
                    <a:pt x="72" y="385"/>
                    <a:pt x="72" y="385"/>
                  </a:cubicBezTo>
                  <a:cubicBezTo>
                    <a:pt x="72" y="285"/>
                    <a:pt x="48" y="195"/>
                    <a:pt x="0" y="114"/>
                  </a:cubicBezTo>
                  <a:lnTo>
                    <a:pt x="197" y="0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solidFill>
                <a:schemeClr val="lt1">
                  <a:lumMod val="85000"/>
                </a:schemeClr>
              </a:solidFill>
            </a:ln>
            <a:effectLst/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8" name="Freeform 26"/>
            <p:cNvSpPr>
              <a:spLocks noEditPoints="1"/>
            </p:cNvSpPr>
            <p:nvPr/>
          </p:nvSpPr>
          <p:spPr bwMode="auto">
            <a:xfrm>
              <a:off x="2713540" y="2373144"/>
              <a:ext cx="216426" cy="254678"/>
            </a:xfrm>
            <a:custGeom>
              <a:avLst/>
              <a:gdLst>
                <a:gd name="T0" fmla="*/ 625 w 859"/>
                <a:gd name="T1" fmla="*/ 820 h 1015"/>
                <a:gd name="T2" fmla="*/ 625 w 859"/>
                <a:gd name="T3" fmla="*/ 351 h 1015"/>
                <a:gd name="T4" fmla="*/ 429 w 859"/>
                <a:gd name="T5" fmla="*/ 156 h 1015"/>
                <a:gd name="T6" fmla="*/ 274 w 859"/>
                <a:gd name="T7" fmla="*/ 156 h 1015"/>
                <a:gd name="T8" fmla="*/ 274 w 859"/>
                <a:gd name="T9" fmla="*/ 39 h 1015"/>
                <a:gd name="T10" fmla="*/ 625 w 859"/>
                <a:gd name="T11" fmla="*/ 39 h 1015"/>
                <a:gd name="T12" fmla="*/ 625 w 859"/>
                <a:gd name="T13" fmla="*/ 234 h 1015"/>
                <a:gd name="T14" fmla="*/ 820 w 859"/>
                <a:gd name="T15" fmla="*/ 234 h 1015"/>
                <a:gd name="T16" fmla="*/ 820 w 859"/>
                <a:gd name="T17" fmla="*/ 820 h 1015"/>
                <a:gd name="T18" fmla="*/ 625 w 859"/>
                <a:gd name="T19" fmla="*/ 820 h 1015"/>
                <a:gd name="T20" fmla="*/ 429 w 859"/>
                <a:gd name="T21" fmla="*/ 211 h 1015"/>
                <a:gd name="T22" fmla="*/ 570 w 859"/>
                <a:gd name="T23" fmla="*/ 351 h 1015"/>
                <a:gd name="T24" fmla="*/ 429 w 859"/>
                <a:gd name="T25" fmla="*/ 351 h 1015"/>
                <a:gd name="T26" fmla="*/ 429 w 859"/>
                <a:gd name="T27" fmla="*/ 211 h 1015"/>
                <a:gd name="T28" fmla="*/ 39 w 859"/>
                <a:gd name="T29" fmla="*/ 976 h 1015"/>
                <a:gd name="T30" fmla="*/ 39 w 859"/>
                <a:gd name="T31" fmla="*/ 195 h 1015"/>
                <a:gd name="T32" fmla="*/ 390 w 859"/>
                <a:gd name="T33" fmla="*/ 195 h 1015"/>
                <a:gd name="T34" fmla="*/ 390 w 859"/>
                <a:gd name="T35" fmla="*/ 390 h 1015"/>
                <a:gd name="T36" fmla="*/ 586 w 859"/>
                <a:gd name="T37" fmla="*/ 390 h 1015"/>
                <a:gd name="T38" fmla="*/ 586 w 859"/>
                <a:gd name="T39" fmla="*/ 976 h 1015"/>
                <a:gd name="T40" fmla="*/ 39 w 859"/>
                <a:gd name="T41" fmla="*/ 976 h 1015"/>
                <a:gd name="T42" fmla="*/ 664 w 859"/>
                <a:gd name="T43" fmla="*/ 56 h 1015"/>
                <a:gd name="T44" fmla="*/ 804 w 859"/>
                <a:gd name="T45" fmla="*/ 195 h 1015"/>
                <a:gd name="T46" fmla="*/ 664 w 859"/>
                <a:gd name="T47" fmla="*/ 195 h 1015"/>
                <a:gd name="T48" fmla="*/ 664 w 859"/>
                <a:gd name="T49" fmla="*/ 56 h 1015"/>
                <a:gd name="T50" fmla="*/ 859 w 859"/>
                <a:gd name="T51" fmla="*/ 195 h 1015"/>
                <a:gd name="T52" fmla="*/ 664 w 859"/>
                <a:gd name="T53" fmla="*/ 0 h 1015"/>
                <a:gd name="T54" fmla="*/ 235 w 859"/>
                <a:gd name="T55" fmla="*/ 0 h 1015"/>
                <a:gd name="T56" fmla="*/ 235 w 859"/>
                <a:gd name="T57" fmla="*/ 156 h 1015"/>
                <a:gd name="T58" fmla="*/ 0 w 859"/>
                <a:gd name="T59" fmla="*/ 156 h 1015"/>
                <a:gd name="T60" fmla="*/ 0 w 859"/>
                <a:gd name="T61" fmla="*/ 1015 h 1015"/>
                <a:gd name="T62" fmla="*/ 625 w 859"/>
                <a:gd name="T63" fmla="*/ 1015 h 1015"/>
                <a:gd name="T64" fmla="*/ 625 w 859"/>
                <a:gd name="T65" fmla="*/ 859 h 1015"/>
                <a:gd name="T66" fmla="*/ 859 w 859"/>
                <a:gd name="T67" fmla="*/ 859 h 1015"/>
                <a:gd name="T68" fmla="*/ 859 w 859"/>
                <a:gd name="T69" fmla="*/ 195 h 1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59" h="1015">
                  <a:moveTo>
                    <a:pt x="625" y="820"/>
                  </a:moveTo>
                  <a:lnTo>
                    <a:pt x="625" y="351"/>
                  </a:lnTo>
                  <a:lnTo>
                    <a:pt x="429" y="156"/>
                  </a:lnTo>
                  <a:lnTo>
                    <a:pt x="274" y="156"/>
                  </a:lnTo>
                  <a:lnTo>
                    <a:pt x="274" y="39"/>
                  </a:lnTo>
                  <a:lnTo>
                    <a:pt x="625" y="39"/>
                  </a:lnTo>
                  <a:lnTo>
                    <a:pt x="625" y="234"/>
                  </a:lnTo>
                  <a:lnTo>
                    <a:pt x="820" y="234"/>
                  </a:lnTo>
                  <a:lnTo>
                    <a:pt x="820" y="820"/>
                  </a:lnTo>
                  <a:lnTo>
                    <a:pt x="625" y="820"/>
                  </a:lnTo>
                  <a:close/>
                  <a:moveTo>
                    <a:pt x="429" y="211"/>
                  </a:moveTo>
                  <a:lnTo>
                    <a:pt x="570" y="351"/>
                  </a:lnTo>
                  <a:lnTo>
                    <a:pt x="429" y="351"/>
                  </a:lnTo>
                  <a:lnTo>
                    <a:pt x="429" y="211"/>
                  </a:lnTo>
                  <a:close/>
                  <a:moveTo>
                    <a:pt x="39" y="976"/>
                  </a:moveTo>
                  <a:lnTo>
                    <a:pt x="39" y="195"/>
                  </a:lnTo>
                  <a:lnTo>
                    <a:pt x="390" y="195"/>
                  </a:lnTo>
                  <a:lnTo>
                    <a:pt x="390" y="390"/>
                  </a:lnTo>
                  <a:lnTo>
                    <a:pt x="586" y="390"/>
                  </a:lnTo>
                  <a:lnTo>
                    <a:pt x="586" y="976"/>
                  </a:lnTo>
                  <a:lnTo>
                    <a:pt x="39" y="976"/>
                  </a:lnTo>
                  <a:close/>
                  <a:moveTo>
                    <a:pt x="664" y="56"/>
                  </a:moveTo>
                  <a:lnTo>
                    <a:pt x="804" y="195"/>
                  </a:lnTo>
                  <a:lnTo>
                    <a:pt x="664" y="195"/>
                  </a:lnTo>
                  <a:lnTo>
                    <a:pt x="664" y="56"/>
                  </a:lnTo>
                  <a:close/>
                  <a:moveTo>
                    <a:pt x="859" y="195"/>
                  </a:moveTo>
                  <a:lnTo>
                    <a:pt x="664" y="0"/>
                  </a:lnTo>
                  <a:lnTo>
                    <a:pt x="235" y="0"/>
                  </a:lnTo>
                  <a:lnTo>
                    <a:pt x="235" y="156"/>
                  </a:lnTo>
                  <a:lnTo>
                    <a:pt x="0" y="156"/>
                  </a:lnTo>
                  <a:lnTo>
                    <a:pt x="0" y="1015"/>
                  </a:lnTo>
                  <a:lnTo>
                    <a:pt x="625" y="1015"/>
                  </a:lnTo>
                  <a:lnTo>
                    <a:pt x="625" y="859"/>
                  </a:lnTo>
                  <a:lnTo>
                    <a:pt x="859" y="859"/>
                  </a:lnTo>
                  <a:lnTo>
                    <a:pt x="859" y="195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9" name="Freeform 143"/>
            <p:cNvSpPr>
              <a:spLocks noEditPoints="1"/>
            </p:cNvSpPr>
            <p:nvPr/>
          </p:nvSpPr>
          <p:spPr bwMode="auto">
            <a:xfrm>
              <a:off x="3427274" y="2373144"/>
              <a:ext cx="225486" cy="225486"/>
            </a:xfrm>
            <a:custGeom>
              <a:avLst/>
              <a:gdLst>
                <a:gd name="T0" fmla="*/ 378 w 897"/>
                <a:gd name="T1" fmla="*/ 548 h 899"/>
                <a:gd name="T2" fmla="*/ 352 w 897"/>
                <a:gd name="T3" fmla="*/ 517 h 899"/>
                <a:gd name="T4" fmla="*/ 828 w 897"/>
                <a:gd name="T5" fmla="*/ 42 h 899"/>
                <a:gd name="T6" fmla="*/ 836 w 897"/>
                <a:gd name="T7" fmla="*/ 39 h 899"/>
                <a:gd name="T8" fmla="*/ 841 w 897"/>
                <a:gd name="T9" fmla="*/ 39 h 899"/>
                <a:gd name="T10" fmla="*/ 849 w 897"/>
                <a:gd name="T11" fmla="*/ 42 h 899"/>
                <a:gd name="T12" fmla="*/ 855 w 897"/>
                <a:gd name="T13" fmla="*/ 49 h 899"/>
                <a:gd name="T14" fmla="*/ 857 w 897"/>
                <a:gd name="T15" fmla="*/ 56 h 899"/>
                <a:gd name="T16" fmla="*/ 857 w 897"/>
                <a:gd name="T17" fmla="*/ 62 h 899"/>
                <a:gd name="T18" fmla="*/ 855 w 897"/>
                <a:gd name="T19" fmla="*/ 68 h 899"/>
                <a:gd name="T20" fmla="*/ 703 w 897"/>
                <a:gd name="T21" fmla="*/ 860 h 899"/>
                <a:gd name="T22" fmla="*/ 40 w 897"/>
                <a:gd name="T23" fmla="*/ 196 h 899"/>
                <a:gd name="T24" fmla="*/ 313 w 897"/>
                <a:gd name="T25" fmla="*/ 501 h 899"/>
                <a:gd name="T26" fmla="*/ 394 w 897"/>
                <a:gd name="T27" fmla="*/ 587 h 899"/>
                <a:gd name="T28" fmla="*/ 703 w 897"/>
                <a:gd name="T29" fmla="*/ 860 h 899"/>
                <a:gd name="T30" fmla="*/ 876 w 897"/>
                <a:gd name="T31" fmla="*/ 13 h 899"/>
                <a:gd name="T32" fmla="*/ 866 w 897"/>
                <a:gd name="T33" fmla="*/ 7 h 899"/>
                <a:gd name="T34" fmla="*/ 855 w 897"/>
                <a:gd name="T35" fmla="*/ 2 h 899"/>
                <a:gd name="T36" fmla="*/ 844 w 897"/>
                <a:gd name="T37" fmla="*/ 0 h 899"/>
                <a:gd name="T38" fmla="*/ 832 w 897"/>
                <a:gd name="T39" fmla="*/ 0 h 899"/>
                <a:gd name="T40" fmla="*/ 822 w 897"/>
                <a:gd name="T41" fmla="*/ 2 h 899"/>
                <a:gd name="T42" fmla="*/ 811 w 897"/>
                <a:gd name="T43" fmla="*/ 7 h 899"/>
                <a:gd name="T44" fmla="*/ 801 w 897"/>
                <a:gd name="T45" fmla="*/ 13 h 899"/>
                <a:gd name="T46" fmla="*/ 625 w 897"/>
                <a:gd name="T47" fmla="*/ 189 h 899"/>
                <a:gd name="T48" fmla="*/ 0 w 897"/>
                <a:gd name="T49" fmla="*/ 157 h 899"/>
                <a:gd name="T50" fmla="*/ 742 w 897"/>
                <a:gd name="T51" fmla="*/ 899 h 899"/>
                <a:gd name="T52" fmla="*/ 706 w 897"/>
                <a:gd name="T53" fmla="*/ 274 h 899"/>
                <a:gd name="T54" fmla="*/ 884 w 897"/>
                <a:gd name="T55" fmla="*/ 95 h 899"/>
                <a:gd name="T56" fmla="*/ 891 w 897"/>
                <a:gd name="T57" fmla="*/ 85 h 899"/>
                <a:gd name="T58" fmla="*/ 895 w 897"/>
                <a:gd name="T59" fmla="*/ 76 h 899"/>
                <a:gd name="T60" fmla="*/ 897 w 897"/>
                <a:gd name="T61" fmla="*/ 64 h 899"/>
                <a:gd name="T62" fmla="*/ 897 w 897"/>
                <a:gd name="T63" fmla="*/ 53 h 899"/>
                <a:gd name="T64" fmla="*/ 895 w 897"/>
                <a:gd name="T65" fmla="*/ 42 h 899"/>
                <a:gd name="T66" fmla="*/ 891 w 897"/>
                <a:gd name="T67" fmla="*/ 31 h 899"/>
                <a:gd name="T68" fmla="*/ 884 w 897"/>
                <a:gd name="T69" fmla="*/ 22 h 8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897" h="899">
                  <a:moveTo>
                    <a:pt x="852" y="72"/>
                  </a:moveTo>
                  <a:lnTo>
                    <a:pt x="378" y="548"/>
                  </a:lnTo>
                  <a:lnTo>
                    <a:pt x="352" y="548"/>
                  </a:lnTo>
                  <a:lnTo>
                    <a:pt x="352" y="517"/>
                  </a:lnTo>
                  <a:lnTo>
                    <a:pt x="825" y="44"/>
                  </a:lnTo>
                  <a:lnTo>
                    <a:pt x="828" y="42"/>
                  </a:lnTo>
                  <a:lnTo>
                    <a:pt x="832" y="40"/>
                  </a:lnTo>
                  <a:lnTo>
                    <a:pt x="836" y="39"/>
                  </a:lnTo>
                  <a:lnTo>
                    <a:pt x="839" y="39"/>
                  </a:lnTo>
                  <a:lnTo>
                    <a:pt x="841" y="39"/>
                  </a:lnTo>
                  <a:lnTo>
                    <a:pt x="844" y="40"/>
                  </a:lnTo>
                  <a:lnTo>
                    <a:pt x="849" y="42"/>
                  </a:lnTo>
                  <a:lnTo>
                    <a:pt x="852" y="44"/>
                  </a:lnTo>
                  <a:lnTo>
                    <a:pt x="855" y="49"/>
                  </a:lnTo>
                  <a:lnTo>
                    <a:pt x="857" y="52"/>
                  </a:lnTo>
                  <a:lnTo>
                    <a:pt x="857" y="56"/>
                  </a:lnTo>
                  <a:lnTo>
                    <a:pt x="858" y="58"/>
                  </a:lnTo>
                  <a:lnTo>
                    <a:pt x="857" y="62"/>
                  </a:lnTo>
                  <a:lnTo>
                    <a:pt x="857" y="65"/>
                  </a:lnTo>
                  <a:lnTo>
                    <a:pt x="855" y="68"/>
                  </a:lnTo>
                  <a:lnTo>
                    <a:pt x="852" y="72"/>
                  </a:lnTo>
                  <a:close/>
                  <a:moveTo>
                    <a:pt x="703" y="860"/>
                  </a:moveTo>
                  <a:lnTo>
                    <a:pt x="40" y="860"/>
                  </a:lnTo>
                  <a:lnTo>
                    <a:pt x="40" y="196"/>
                  </a:lnTo>
                  <a:lnTo>
                    <a:pt x="619" y="196"/>
                  </a:lnTo>
                  <a:lnTo>
                    <a:pt x="313" y="501"/>
                  </a:lnTo>
                  <a:lnTo>
                    <a:pt x="313" y="587"/>
                  </a:lnTo>
                  <a:lnTo>
                    <a:pt x="394" y="587"/>
                  </a:lnTo>
                  <a:lnTo>
                    <a:pt x="703" y="277"/>
                  </a:lnTo>
                  <a:lnTo>
                    <a:pt x="703" y="860"/>
                  </a:lnTo>
                  <a:close/>
                  <a:moveTo>
                    <a:pt x="880" y="17"/>
                  </a:moveTo>
                  <a:lnTo>
                    <a:pt x="876" y="13"/>
                  </a:lnTo>
                  <a:lnTo>
                    <a:pt x="870" y="10"/>
                  </a:lnTo>
                  <a:lnTo>
                    <a:pt x="866" y="7"/>
                  </a:lnTo>
                  <a:lnTo>
                    <a:pt x="861" y="4"/>
                  </a:lnTo>
                  <a:lnTo>
                    <a:pt x="855" y="2"/>
                  </a:lnTo>
                  <a:lnTo>
                    <a:pt x="850" y="1"/>
                  </a:lnTo>
                  <a:lnTo>
                    <a:pt x="844" y="0"/>
                  </a:lnTo>
                  <a:lnTo>
                    <a:pt x="839" y="0"/>
                  </a:lnTo>
                  <a:lnTo>
                    <a:pt x="832" y="0"/>
                  </a:lnTo>
                  <a:lnTo>
                    <a:pt x="827" y="1"/>
                  </a:lnTo>
                  <a:lnTo>
                    <a:pt x="822" y="2"/>
                  </a:lnTo>
                  <a:lnTo>
                    <a:pt x="816" y="4"/>
                  </a:lnTo>
                  <a:lnTo>
                    <a:pt x="811" y="7"/>
                  </a:lnTo>
                  <a:lnTo>
                    <a:pt x="807" y="10"/>
                  </a:lnTo>
                  <a:lnTo>
                    <a:pt x="801" y="13"/>
                  </a:lnTo>
                  <a:lnTo>
                    <a:pt x="797" y="17"/>
                  </a:lnTo>
                  <a:lnTo>
                    <a:pt x="625" y="189"/>
                  </a:lnTo>
                  <a:lnTo>
                    <a:pt x="625" y="157"/>
                  </a:lnTo>
                  <a:lnTo>
                    <a:pt x="0" y="157"/>
                  </a:lnTo>
                  <a:lnTo>
                    <a:pt x="0" y="899"/>
                  </a:lnTo>
                  <a:lnTo>
                    <a:pt x="742" y="899"/>
                  </a:lnTo>
                  <a:lnTo>
                    <a:pt x="742" y="274"/>
                  </a:lnTo>
                  <a:lnTo>
                    <a:pt x="706" y="274"/>
                  </a:lnTo>
                  <a:lnTo>
                    <a:pt x="880" y="101"/>
                  </a:lnTo>
                  <a:lnTo>
                    <a:pt x="884" y="95"/>
                  </a:lnTo>
                  <a:lnTo>
                    <a:pt x="888" y="91"/>
                  </a:lnTo>
                  <a:lnTo>
                    <a:pt x="891" y="85"/>
                  </a:lnTo>
                  <a:lnTo>
                    <a:pt x="893" y="81"/>
                  </a:lnTo>
                  <a:lnTo>
                    <a:pt x="895" y="76"/>
                  </a:lnTo>
                  <a:lnTo>
                    <a:pt x="896" y="70"/>
                  </a:lnTo>
                  <a:lnTo>
                    <a:pt x="897" y="64"/>
                  </a:lnTo>
                  <a:lnTo>
                    <a:pt x="897" y="58"/>
                  </a:lnTo>
                  <a:lnTo>
                    <a:pt x="897" y="53"/>
                  </a:lnTo>
                  <a:lnTo>
                    <a:pt x="896" y="48"/>
                  </a:lnTo>
                  <a:lnTo>
                    <a:pt x="895" y="42"/>
                  </a:lnTo>
                  <a:lnTo>
                    <a:pt x="893" y="37"/>
                  </a:lnTo>
                  <a:lnTo>
                    <a:pt x="891" y="31"/>
                  </a:lnTo>
                  <a:lnTo>
                    <a:pt x="888" y="26"/>
                  </a:lnTo>
                  <a:lnTo>
                    <a:pt x="884" y="22"/>
                  </a:lnTo>
                  <a:lnTo>
                    <a:pt x="880" y="17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0" name="Freeform 144"/>
            <p:cNvSpPr>
              <a:spLocks noEditPoints="1"/>
            </p:cNvSpPr>
            <p:nvPr/>
          </p:nvSpPr>
          <p:spPr bwMode="auto">
            <a:xfrm>
              <a:off x="4060150" y="2742131"/>
              <a:ext cx="177168" cy="215420"/>
            </a:xfrm>
            <a:custGeom>
              <a:avLst/>
              <a:gdLst>
                <a:gd name="T0" fmla="*/ 638 w 702"/>
                <a:gd name="T1" fmla="*/ 461 h 859"/>
                <a:gd name="T2" fmla="*/ 578 w 702"/>
                <a:gd name="T3" fmla="*/ 471 h 859"/>
                <a:gd name="T4" fmla="*/ 495 w 702"/>
                <a:gd name="T5" fmla="*/ 475 h 859"/>
                <a:gd name="T6" fmla="*/ 432 w 702"/>
                <a:gd name="T7" fmla="*/ 471 h 859"/>
                <a:gd name="T8" fmla="*/ 372 w 702"/>
                <a:gd name="T9" fmla="*/ 461 h 859"/>
                <a:gd name="T10" fmla="*/ 312 w 702"/>
                <a:gd name="T11" fmla="*/ 448 h 859"/>
                <a:gd name="T12" fmla="*/ 251 w 702"/>
                <a:gd name="T13" fmla="*/ 438 h 859"/>
                <a:gd name="T14" fmla="*/ 188 w 702"/>
                <a:gd name="T15" fmla="*/ 430 h 859"/>
                <a:gd name="T16" fmla="*/ 123 w 702"/>
                <a:gd name="T17" fmla="*/ 431 h 859"/>
                <a:gd name="T18" fmla="*/ 61 w 702"/>
                <a:gd name="T19" fmla="*/ 440 h 859"/>
                <a:gd name="T20" fmla="*/ 55 w 702"/>
                <a:gd name="T21" fmla="*/ 51 h 859"/>
                <a:gd name="T22" fmla="*/ 118 w 702"/>
                <a:gd name="T23" fmla="*/ 41 h 859"/>
                <a:gd name="T24" fmla="*/ 187 w 702"/>
                <a:gd name="T25" fmla="*/ 40 h 859"/>
                <a:gd name="T26" fmla="*/ 245 w 702"/>
                <a:gd name="T27" fmla="*/ 47 h 859"/>
                <a:gd name="T28" fmla="*/ 344 w 702"/>
                <a:gd name="T29" fmla="*/ 66 h 859"/>
                <a:gd name="T30" fmla="*/ 406 w 702"/>
                <a:gd name="T31" fmla="*/ 78 h 859"/>
                <a:gd name="T32" fmla="*/ 472 w 702"/>
                <a:gd name="T33" fmla="*/ 84 h 859"/>
                <a:gd name="T34" fmla="*/ 550 w 702"/>
                <a:gd name="T35" fmla="*/ 83 h 859"/>
                <a:gd name="T36" fmla="*/ 617 w 702"/>
                <a:gd name="T37" fmla="*/ 76 h 859"/>
                <a:gd name="T38" fmla="*/ 663 w 702"/>
                <a:gd name="T39" fmla="*/ 66 h 859"/>
                <a:gd name="T40" fmla="*/ 676 w 702"/>
                <a:gd name="T41" fmla="*/ 22 h 859"/>
                <a:gd name="T42" fmla="*/ 648 w 702"/>
                <a:gd name="T43" fmla="*/ 29 h 859"/>
                <a:gd name="T44" fmla="*/ 569 w 702"/>
                <a:gd name="T45" fmla="*/ 42 h 859"/>
                <a:gd name="T46" fmla="*/ 473 w 702"/>
                <a:gd name="T47" fmla="*/ 45 h 859"/>
                <a:gd name="T48" fmla="*/ 412 w 702"/>
                <a:gd name="T49" fmla="*/ 39 h 859"/>
                <a:gd name="T50" fmla="*/ 351 w 702"/>
                <a:gd name="T51" fmla="*/ 27 h 859"/>
                <a:gd name="T52" fmla="*/ 292 w 702"/>
                <a:gd name="T53" fmla="*/ 15 h 859"/>
                <a:gd name="T54" fmla="*/ 230 w 702"/>
                <a:gd name="T55" fmla="*/ 4 h 859"/>
                <a:gd name="T56" fmla="*/ 166 w 702"/>
                <a:gd name="T57" fmla="*/ 0 h 859"/>
                <a:gd name="T58" fmla="*/ 67 w 702"/>
                <a:gd name="T59" fmla="*/ 9 h 859"/>
                <a:gd name="T60" fmla="*/ 18 w 702"/>
                <a:gd name="T61" fmla="*/ 23 h 859"/>
                <a:gd name="T62" fmla="*/ 0 w 702"/>
                <a:gd name="T63" fmla="*/ 34 h 859"/>
                <a:gd name="T64" fmla="*/ 0 w 702"/>
                <a:gd name="T65" fmla="*/ 859 h 859"/>
                <a:gd name="T66" fmla="*/ 55 w 702"/>
                <a:gd name="T67" fmla="*/ 481 h 859"/>
                <a:gd name="T68" fmla="*/ 118 w 702"/>
                <a:gd name="T69" fmla="*/ 471 h 859"/>
                <a:gd name="T70" fmla="*/ 187 w 702"/>
                <a:gd name="T71" fmla="*/ 470 h 859"/>
                <a:gd name="T72" fmla="*/ 245 w 702"/>
                <a:gd name="T73" fmla="*/ 475 h 859"/>
                <a:gd name="T74" fmla="*/ 344 w 702"/>
                <a:gd name="T75" fmla="*/ 496 h 859"/>
                <a:gd name="T76" fmla="*/ 406 w 702"/>
                <a:gd name="T77" fmla="*/ 507 h 859"/>
                <a:gd name="T78" fmla="*/ 472 w 702"/>
                <a:gd name="T79" fmla="*/ 514 h 859"/>
                <a:gd name="T80" fmla="*/ 575 w 702"/>
                <a:gd name="T81" fmla="*/ 511 h 859"/>
                <a:gd name="T82" fmla="*/ 658 w 702"/>
                <a:gd name="T83" fmla="*/ 497 h 859"/>
                <a:gd name="T84" fmla="*/ 689 w 702"/>
                <a:gd name="T85" fmla="*/ 488 h 8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702" h="859">
                  <a:moveTo>
                    <a:pt x="663" y="455"/>
                  </a:moveTo>
                  <a:lnTo>
                    <a:pt x="652" y="458"/>
                  </a:lnTo>
                  <a:lnTo>
                    <a:pt x="638" y="461"/>
                  </a:lnTo>
                  <a:lnTo>
                    <a:pt x="621" y="465"/>
                  </a:lnTo>
                  <a:lnTo>
                    <a:pt x="601" y="468"/>
                  </a:lnTo>
                  <a:lnTo>
                    <a:pt x="578" y="471"/>
                  </a:lnTo>
                  <a:lnTo>
                    <a:pt x="553" y="473"/>
                  </a:lnTo>
                  <a:lnTo>
                    <a:pt x="525" y="475"/>
                  </a:lnTo>
                  <a:lnTo>
                    <a:pt x="495" y="475"/>
                  </a:lnTo>
                  <a:lnTo>
                    <a:pt x="473" y="475"/>
                  </a:lnTo>
                  <a:lnTo>
                    <a:pt x="453" y="473"/>
                  </a:lnTo>
                  <a:lnTo>
                    <a:pt x="432" y="471"/>
                  </a:lnTo>
                  <a:lnTo>
                    <a:pt x="412" y="469"/>
                  </a:lnTo>
                  <a:lnTo>
                    <a:pt x="391" y="465"/>
                  </a:lnTo>
                  <a:lnTo>
                    <a:pt x="372" y="461"/>
                  </a:lnTo>
                  <a:lnTo>
                    <a:pt x="351" y="457"/>
                  </a:lnTo>
                  <a:lnTo>
                    <a:pt x="332" y="453"/>
                  </a:lnTo>
                  <a:lnTo>
                    <a:pt x="312" y="448"/>
                  </a:lnTo>
                  <a:lnTo>
                    <a:pt x="292" y="444"/>
                  </a:lnTo>
                  <a:lnTo>
                    <a:pt x="271" y="441"/>
                  </a:lnTo>
                  <a:lnTo>
                    <a:pt x="251" y="438"/>
                  </a:lnTo>
                  <a:lnTo>
                    <a:pt x="230" y="434"/>
                  </a:lnTo>
                  <a:lnTo>
                    <a:pt x="210" y="432"/>
                  </a:lnTo>
                  <a:lnTo>
                    <a:pt x="188" y="430"/>
                  </a:lnTo>
                  <a:lnTo>
                    <a:pt x="166" y="430"/>
                  </a:lnTo>
                  <a:lnTo>
                    <a:pt x="144" y="430"/>
                  </a:lnTo>
                  <a:lnTo>
                    <a:pt x="123" y="431"/>
                  </a:lnTo>
                  <a:lnTo>
                    <a:pt x="105" y="433"/>
                  </a:lnTo>
                  <a:lnTo>
                    <a:pt x="89" y="434"/>
                  </a:lnTo>
                  <a:lnTo>
                    <a:pt x="61" y="440"/>
                  </a:lnTo>
                  <a:lnTo>
                    <a:pt x="39" y="445"/>
                  </a:lnTo>
                  <a:lnTo>
                    <a:pt x="39" y="56"/>
                  </a:lnTo>
                  <a:lnTo>
                    <a:pt x="55" y="51"/>
                  </a:lnTo>
                  <a:lnTo>
                    <a:pt x="81" y="45"/>
                  </a:lnTo>
                  <a:lnTo>
                    <a:pt x="98" y="43"/>
                  </a:lnTo>
                  <a:lnTo>
                    <a:pt x="118" y="41"/>
                  </a:lnTo>
                  <a:lnTo>
                    <a:pt x="140" y="40"/>
                  </a:lnTo>
                  <a:lnTo>
                    <a:pt x="166" y="39"/>
                  </a:lnTo>
                  <a:lnTo>
                    <a:pt x="187" y="40"/>
                  </a:lnTo>
                  <a:lnTo>
                    <a:pt x="206" y="41"/>
                  </a:lnTo>
                  <a:lnTo>
                    <a:pt x="226" y="43"/>
                  </a:lnTo>
                  <a:lnTo>
                    <a:pt x="245" y="47"/>
                  </a:lnTo>
                  <a:lnTo>
                    <a:pt x="284" y="53"/>
                  </a:lnTo>
                  <a:lnTo>
                    <a:pt x="324" y="62"/>
                  </a:lnTo>
                  <a:lnTo>
                    <a:pt x="344" y="66"/>
                  </a:lnTo>
                  <a:lnTo>
                    <a:pt x="364" y="70"/>
                  </a:lnTo>
                  <a:lnTo>
                    <a:pt x="386" y="74"/>
                  </a:lnTo>
                  <a:lnTo>
                    <a:pt x="406" y="78"/>
                  </a:lnTo>
                  <a:lnTo>
                    <a:pt x="428" y="80"/>
                  </a:lnTo>
                  <a:lnTo>
                    <a:pt x="449" y="83"/>
                  </a:lnTo>
                  <a:lnTo>
                    <a:pt x="472" y="84"/>
                  </a:lnTo>
                  <a:lnTo>
                    <a:pt x="495" y="84"/>
                  </a:lnTo>
                  <a:lnTo>
                    <a:pt x="523" y="84"/>
                  </a:lnTo>
                  <a:lnTo>
                    <a:pt x="550" y="83"/>
                  </a:lnTo>
                  <a:lnTo>
                    <a:pt x="575" y="81"/>
                  </a:lnTo>
                  <a:lnTo>
                    <a:pt x="596" y="78"/>
                  </a:lnTo>
                  <a:lnTo>
                    <a:pt x="617" y="76"/>
                  </a:lnTo>
                  <a:lnTo>
                    <a:pt x="635" y="72"/>
                  </a:lnTo>
                  <a:lnTo>
                    <a:pt x="650" y="69"/>
                  </a:lnTo>
                  <a:lnTo>
                    <a:pt x="663" y="66"/>
                  </a:lnTo>
                  <a:lnTo>
                    <a:pt x="663" y="455"/>
                  </a:lnTo>
                  <a:close/>
                  <a:moveTo>
                    <a:pt x="702" y="12"/>
                  </a:moveTo>
                  <a:lnTo>
                    <a:pt x="676" y="22"/>
                  </a:lnTo>
                  <a:lnTo>
                    <a:pt x="673" y="23"/>
                  </a:lnTo>
                  <a:lnTo>
                    <a:pt x="663" y="25"/>
                  </a:lnTo>
                  <a:lnTo>
                    <a:pt x="648" y="29"/>
                  </a:lnTo>
                  <a:lnTo>
                    <a:pt x="627" y="34"/>
                  </a:lnTo>
                  <a:lnTo>
                    <a:pt x="601" y="38"/>
                  </a:lnTo>
                  <a:lnTo>
                    <a:pt x="569" y="42"/>
                  </a:lnTo>
                  <a:lnTo>
                    <a:pt x="535" y="44"/>
                  </a:lnTo>
                  <a:lnTo>
                    <a:pt x="495" y="45"/>
                  </a:lnTo>
                  <a:lnTo>
                    <a:pt x="473" y="45"/>
                  </a:lnTo>
                  <a:lnTo>
                    <a:pt x="453" y="44"/>
                  </a:lnTo>
                  <a:lnTo>
                    <a:pt x="432" y="41"/>
                  </a:lnTo>
                  <a:lnTo>
                    <a:pt x="412" y="39"/>
                  </a:lnTo>
                  <a:lnTo>
                    <a:pt x="391" y="36"/>
                  </a:lnTo>
                  <a:lnTo>
                    <a:pt x="372" y="31"/>
                  </a:lnTo>
                  <a:lnTo>
                    <a:pt x="351" y="27"/>
                  </a:lnTo>
                  <a:lnTo>
                    <a:pt x="332" y="23"/>
                  </a:lnTo>
                  <a:lnTo>
                    <a:pt x="312" y="20"/>
                  </a:lnTo>
                  <a:lnTo>
                    <a:pt x="292" y="15"/>
                  </a:lnTo>
                  <a:lnTo>
                    <a:pt x="271" y="11"/>
                  </a:lnTo>
                  <a:lnTo>
                    <a:pt x="251" y="8"/>
                  </a:lnTo>
                  <a:lnTo>
                    <a:pt x="230" y="4"/>
                  </a:lnTo>
                  <a:lnTo>
                    <a:pt x="210" y="2"/>
                  </a:lnTo>
                  <a:lnTo>
                    <a:pt x="188" y="1"/>
                  </a:lnTo>
                  <a:lnTo>
                    <a:pt x="166" y="0"/>
                  </a:lnTo>
                  <a:lnTo>
                    <a:pt x="126" y="1"/>
                  </a:lnTo>
                  <a:lnTo>
                    <a:pt x="94" y="4"/>
                  </a:lnTo>
                  <a:lnTo>
                    <a:pt x="67" y="9"/>
                  </a:lnTo>
                  <a:lnTo>
                    <a:pt x="45" y="13"/>
                  </a:lnTo>
                  <a:lnTo>
                    <a:pt x="30" y="18"/>
                  </a:lnTo>
                  <a:lnTo>
                    <a:pt x="18" y="23"/>
                  </a:lnTo>
                  <a:lnTo>
                    <a:pt x="12" y="26"/>
                  </a:lnTo>
                  <a:lnTo>
                    <a:pt x="9" y="28"/>
                  </a:lnTo>
                  <a:lnTo>
                    <a:pt x="0" y="34"/>
                  </a:lnTo>
                  <a:lnTo>
                    <a:pt x="0" y="40"/>
                  </a:lnTo>
                  <a:lnTo>
                    <a:pt x="0" y="479"/>
                  </a:lnTo>
                  <a:lnTo>
                    <a:pt x="0" y="859"/>
                  </a:lnTo>
                  <a:lnTo>
                    <a:pt x="39" y="859"/>
                  </a:lnTo>
                  <a:lnTo>
                    <a:pt x="39" y="486"/>
                  </a:lnTo>
                  <a:lnTo>
                    <a:pt x="55" y="481"/>
                  </a:lnTo>
                  <a:lnTo>
                    <a:pt x="81" y="475"/>
                  </a:lnTo>
                  <a:lnTo>
                    <a:pt x="98" y="473"/>
                  </a:lnTo>
                  <a:lnTo>
                    <a:pt x="118" y="471"/>
                  </a:lnTo>
                  <a:lnTo>
                    <a:pt x="140" y="470"/>
                  </a:lnTo>
                  <a:lnTo>
                    <a:pt x="166" y="469"/>
                  </a:lnTo>
                  <a:lnTo>
                    <a:pt x="187" y="470"/>
                  </a:lnTo>
                  <a:lnTo>
                    <a:pt x="206" y="471"/>
                  </a:lnTo>
                  <a:lnTo>
                    <a:pt x="226" y="473"/>
                  </a:lnTo>
                  <a:lnTo>
                    <a:pt x="245" y="475"/>
                  </a:lnTo>
                  <a:lnTo>
                    <a:pt x="284" y="483"/>
                  </a:lnTo>
                  <a:lnTo>
                    <a:pt x="324" y="492"/>
                  </a:lnTo>
                  <a:lnTo>
                    <a:pt x="344" y="496"/>
                  </a:lnTo>
                  <a:lnTo>
                    <a:pt x="364" y="499"/>
                  </a:lnTo>
                  <a:lnTo>
                    <a:pt x="386" y="503"/>
                  </a:lnTo>
                  <a:lnTo>
                    <a:pt x="406" y="507"/>
                  </a:lnTo>
                  <a:lnTo>
                    <a:pt x="428" y="510"/>
                  </a:lnTo>
                  <a:lnTo>
                    <a:pt x="449" y="512"/>
                  </a:lnTo>
                  <a:lnTo>
                    <a:pt x="472" y="514"/>
                  </a:lnTo>
                  <a:lnTo>
                    <a:pt x="495" y="514"/>
                  </a:lnTo>
                  <a:lnTo>
                    <a:pt x="537" y="513"/>
                  </a:lnTo>
                  <a:lnTo>
                    <a:pt x="575" y="511"/>
                  </a:lnTo>
                  <a:lnTo>
                    <a:pt x="607" y="507"/>
                  </a:lnTo>
                  <a:lnTo>
                    <a:pt x="635" y="501"/>
                  </a:lnTo>
                  <a:lnTo>
                    <a:pt x="658" y="497"/>
                  </a:lnTo>
                  <a:lnTo>
                    <a:pt x="674" y="493"/>
                  </a:lnTo>
                  <a:lnTo>
                    <a:pt x="685" y="489"/>
                  </a:lnTo>
                  <a:lnTo>
                    <a:pt x="689" y="488"/>
                  </a:lnTo>
                  <a:lnTo>
                    <a:pt x="702" y="483"/>
                  </a:lnTo>
                  <a:lnTo>
                    <a:pt x="702" y="12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grpSp>
          <p:nvGrpSpPr>
            <p:cNvPr id="41" name="Group 794"/>
            <p:cNvGrpSpPr/>
            <p:nvPr/>
          </p:nvGrpSpPr>
          <p:grpSpPr>
            <a:xfrm>
              <a:off x="4393677" y="3386618"/>
              <a:ext cx="161078" cy="283499"/>
              <a:chOff x="6971668" y="569796"/>
              <a:chExt cx="238125" cy="419100"/>
            </a:xfrm>
            <a:solidFill>
              <a:schemeClr val="bg1"/>
            </a:solidFill>
          </p:grpSpPr>
          <p:sp>
            <p:nvSpPr>
              <p:cNvPr id="42" name="Freeform 195"/>
              <p:cNvSpPr>
                <a:spLocks noEditPoints="1"/>
              </p:cNvSpPr>
              <p:nvPr/>
            </p:nvSpPr>
            <p:spPr bwMode="auto">
              <a:xfrm>
                <a:off x="7012943" y="569796"/>
                <a:ext cx="153988" cy="293688"/>
              </a:xfrm>
              <a:custGeom>
                <a:avLst/>
                <a:gdLst>
                  <a:gd name="T0" fmla="*/ 38 w 388"/>
                  <a:gd name="T1" fmla="*/ 162 h 740"/>
                  <a:gd name="T2" fmla="*/ 54 w 388"/>
                  <a:gd name="T3" fmla="*/ 118 h 740"/>
                  <a:gd name="T4" fmla="*/ 81 w 388"/>
                  <a:gd name="T5" fmla="*/ 81 h 740"/>
                  <a:gd name="T6" fmla="*/ 118 w 388"/>
                  <a:gd name="T7" fmla="*/ 54 h 740"/>
                  <a:gd name="T8" fmla="*/ 162 w 388"/>
                  <a:gd name="T9" fmla="*/ 38 h 740"/>
                  <a:gd name="T10" fmla="*/ 210 w 388"/>
                  <a:gd name="T11" fmla="*/ 36 h 740"/>
                  <a:gd name="T12" fmla="*/ 255 w 388"/>
                  <a:gd name="T13" fmla="*/ 48 h 740"/>
                  <a:gd name="T14" fmla="*/ 295 w 388"/>
                  <a:gd name="T15" fmla="*/ 72 h 740"/>
                  <a:gd name="T16" fmla="*/ 325 w 388"/>
                  <a:gd name="T17" fmla="*/ 105 h 740"/>
                  <a:gd name="T18" fmla="*/ 346 w 388"/>
                  <a:gd name="T19" fmla="*/ 146 h 740"/>
                  <a:gd name="T20" fmla="*/ 352 w 388"/>
                  <a:gd name="T21" fmla="*/ 194 h 740"/>
                  <a:gd name="T22" fmla="*/ 349 w 388"/>
                  <a:gd name="T23" fmla="*/ 578 h 740"/>
                  <a:gd name="T24" fmla="*/ 333 w 388"/>
                  <a:gd name="T25" fmla="*/ 622 h 740"/>
                  <a:gd name="T26" fmla="*/ 306 w 388"/>
                  <a:gd name="T27" fmla="*/ 659 h 740"/>
                  <a:gd name="T28" fmla="*/ 269 w 388"/>
                  <a:gd name="T29" fmla="*/ 686 h 740"/>
                  <a:gd name="T30" fmla="*/ 226 w 388"/>
                  <a:gd name="T31" fmla="*/ 702 h 740"/>
                  <a:gd name="T32" fmla="*/ 177 w 388"/>
                  <a:gd name="T33" fmla="*/ 705 h 740"/>
                  <a:gd name="T34" fmla="*/ 132 w 388"/>
                  <a:gd name="T35" fmla="*/ 693 h 740"/>
                  <a:gd name="T36" fmla="*/ 93 w 388"/>
                  <a:gd name="T37" fmla="*/ 669 h 740"/>
                  <a:gd name="T38" fmla="*/ 62 w 388"/>
                  <a:gd name="T39" fmla="*/ 635 h 740"/>
                  <a:gd name="T40" fmla="*/ 42 w 388"/>
                  <a:gd name="T41" fmla="*/ 593 h 740"/>
                  <a:gd name="T42" fmla="*/ 35 w 388"/>
                  <a:gd name="T43" fmla="*/ 547 h 740"/>
                  <a:gd name="T44" fmla="*/ 214 w 388"/>
                  <a:gd name="T45" fmla="*/ 739 h 740"/>
                  <a:gd name="T46" fmla="*/ 269 w 388"/>
                  <a:gd name="T47" fmla="*/ 725 h 740"/>
                  <a:gd name="T48" fmla="*/ 317 w 388"/>
                  <a:gd name="T49" fmla="*/ 696 h 740"/>
                  <a:gd name="T50" fmla="*/ 355 w 388"/>
                  <a:gd name="T51" fmla="*/ 655 h 740"/>
                  <a:gd name="T52" fmla="*/ 379 w 388"/>
                  <a:gd name="T53" fmla="*/ 604 h 740"/>
                  <a:gd name="T54" fmla="*/ 388 w 388"/>
                  <a:gd name="T55" fmla="*/ 547 h 740"/>
                  <a:gd name="T56" fmla="*/ 384 w 388"/>
                  <a:gd name="T57" fmla="*/ 155 h 740"/>
                  <a:gd name="T58" fmla="*/ 364 w 388"/>
                  <a:gd name="T59" fmla="*/ 102 h 740"/>
                  <a:gd name="T60" fmla="*/ 331 w 388"/>
                  <a:gd name="T61" fmla="*/ 57 h 740"/>
                  <a:gd name="T62" fmla="*/ 287 w 388"/>
                  <a:gd name="T63" fmla="*/ 23 h 740"/>
                  <a:gd name="T64" fmla="*/ 233 w 388"/>
                  <a:gd name="T65" fmla="*/ 4 h 740"/>
                  <a:gd name="T66" fmla="*/ 174 w 388"/>
                  <a:gd name="T67" fmla="*/ 0 h 740"/>
                  <a:gd name="T68" fmla="*/ 118 w 388"/>
                  <a:gd name="T69" fmla="*/ 15 h 740"/>
                  <a:gd name="T70" fmla="*/ 70 w 388"/>
                  <a:gd name="T71" fmla="*/ 45 h 740"/>
                  <a:gd name="T72" fmla="*/ 33 w 388"/>
                  <a:gd name="T73" fmla="*/ 86 h 740"/>
                  <a:gd name="T74" fmla="*/ 9 w 388"/>
                  <a:gd name="T75" fmla="*/ 136 h 740"/>
                  <a:gd name="T76" fmla="*/ 0 w 388"/>
                  <a:gd name="T77" fmla="*/ 194 h 740"/>
                  <a:gd name="T78" fmla="*/ 4 w 388"/>
                  <a:gd name="T79" fmla="*/ 586 h 740"/>
                  <a:gd name="T80" fmla="*/ 23 w 388"/>
                  <a:gd name="T81" fmla="*/ 639 h 740"/>
                  <a:gd name="T82" fmla="*/ 56 w 388"/>
                  <a:gd name="T83" fmla="*/ 684 h 740"/>
                  <a:gd name="T84" fmla="*/ 102 w 388"/>
                  <a:gd name="T85" fmla="*/ 717 h 740"/>
                  <a:gd name="T86" fmla="*/ 155 w 388"/>
                  <a:gd name="T87" fmla="*/ 737 h 7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88" h="740">
                    <a:moveTo>
                      <a:pt x="35" y="194"/>
                    </a:moveTo>
                    <a:lnTo>
                      <a:pt x="36" y="177"/>
                    </a:lnTo>
                    <a:lnTo>
                      <a:pt x="38" y="162"/>
                    </a:lnTo>
                    <a:lnTo>
                      <a:pt x="42" y="146"/>
                    </a:lnTo>
                    <a:lnTo>
                      <a:pt x="48" y="132"/>
                    </a:lnTo>
                    <a:lnTo>
                      <a:pt x="54" y="118"/>
                    </a:lnTo>
                    <a:lnTo>
                      <a:pt x="62" y="105"/>
                    </a:lnTo>
                    <a:lnTo>
                      <a:pt x="72" y="93"/>
                    </a:lnTo>
                    <a:lnTo>
                      <a:pt x="81" y="81"/>
                    </a:lnTo>
                    <a:lnTo>
                      <a:pt x="93" y="72"/>
                    </a:lnTo>
                    <a:lnTo>
                      <a:pt x="105" y="62"/>
                    </a:lnTo>
                    <a:lnTo>
                      <a:pt x="118" y="54"/>
                    </a:lnTo>
                    <a:lnTo>
                      <a:pt x="132" y="48"/>
                    </a:lnTo>
                    <a:lnTo>
                      <a:pt x="147" y="42"/>
                    </a:lnTo>
                    <a:lnTo>
                      <a:pt x="162" y="38"/>
                    </a:lnTo>
                    <a:lnTo>
                      <a:pt x="177" y="36"/>
                    </a:lnTo>
                    <a:lnTo>
                      <a:pt x="194" y="35"/>
                    </a:lnTo>
                    <a:lnTo>
                      <a:pt x="210" y="36"/>
                    </a:lnTo>
                    <a:lnTo>
                      <a:pt x="226" y="38"/>
                    </a:lnTo>
                    <a:lnTo>
                      <a:pt x="241" y="42"/>
                    </a:lnTo>
                    <a:lnTo>
                      <a:pt x="255" y="48"/>
                    </a:lnTo>
                    <a:lnTo>
                      <a:pt x="269" y="54"/>
                    </a:lnTo>
                    <a:lnTo>
                      <a:pt x="282" y="62"/>
                    </a:lnTo>
                    <a:lnTo>
                      <a:pt x="295" y="72"/>
                    </a:lnTo>
                    <a:lnTo>
                      <a:pt x="306" y="81"/>
                    </a:lnTo>
                    <a:lnTo>
                      <a:pt x="317" y="93"/>
                    </a:lnTo>
                    <a:lnTo>
                      <a:pt x="325" y="105"/>
                    </a:lnTo>
                    <a:lnTo>
                      <a:pt x="333" y="118"/>
                    </a:lnTo>
                    <a:lnTo>
                      <a:pt x="341" y="132"/>
                    </a:lnTo>
                    <a:lnTo>
                      <a:pt x="346" y="146"/>
                    </a:lnTo>
                    <a:lnTo>
                      <a:pt x="349" y="162"/>
                    </a:lnTo>
                    <a:lnTo>
                      <a:pt x="351" y="177"/>
                    </a:lnTo>
                    <a:lnTo>
                      <a:pt x="352" y="194"/>
                    </a:lnTo>
                    <a:lnTo>
                      <a:pt x="352" y="547"/>
                    </a:lnTo>
                    <a:lnTo>
                      <a:pt x="351" y="563"/>
                    </a:lnTo>
                    <a:lnTo>
                      <a:pt x="349" y="578"/>
                    </a:lnTo>
                    <a:lnTo>
                      <a:pt x="346" y="593"/>
                    </a:lnTo>
                    <a:lnTo>
                      <a:pt x="341" y="608"/>
                    </a:lnTo>
                    <a:lnTo>
                      <a:pt x="333" y="622"/>
                    </a:lnTo>
                    <a:lnTo>
                      <a:pt x="325" y="635"/>
                    </a:lnTo>
                    <a:lnTo>
                      <a:pt x="317" y="647"/>
                    </a:lnTo>
                    <a:lnTo>
                      <a:pt x="306" y="659"/>
                    </a:lnTo>
                    <a:lnTo>
                      <a:pt x="295" y="669"/>
                    </a:lnTo>
                    <a:lnTo>
                      <a:pt x="282" y="679"/>
                    </a:lnTo>
                    <a:lnTo>
                      <a:pt x="269" y="686"/>
                    </a:lnTo>
                    <a:lnTo>
                      <a:pt x="255" y="693"/>
                    </a:lnTo>
                    <a:lnTo>
                      <a:pt x="241" y="698"/>
                    </a:lnTo>
                    <a:lnTo>
                      <a:pt x="226" y="702"/>
                    </a:lnTo>
                    <a:lnTo>
                      <a:pt x="210" y="705"/>
                    </a:lnTo>
                    <a:lnTo>
                      <a:pt x="194" y="706"/>
                    </a:lnTo>
                    <a:lnTo>
                      <a:pt x="177" y="705"/>
                    </a:lnTo>
                    <a:lnTo>
                      <a:pt x="162" y="702"/>
                    </a:lnTo>
                    <a:lnTo>
                      <a:pt x="147" y="698"/>
                    </a:lnTo>
                    <a:lnTo>
                      <a:pt x="132" y="693"/>
                    </a:lnTo>
                    <a:lnTo>
                      <a:pt x="118" y="686"/>
                    </a:lnTo>
                    <a:lnTo>
                      <a:pt x="105" y="679"/>
                    </a:lnTo>
                    <a:lnTo>
                      <a:pt x="93" y="669"/>
                    </a:lnTo>
                    <a:lnTo>
                      <a:pt x="81" y="659"/>
                    </a:lnTo>
                    <a:lnTo>
                      <a:pt x="72" y="647"/>
                    </a:lnTo>
                    <a:lnTo>
                      <a:pt x="62" y="635"/>
                    </a:lnTo>
                    <a:lnTo>
                      <a:pt x="54" y="622"/>
                    </a:lnTo>
                    <a:lnTo>
                      <a:pt x="48" y="608"/>
                    </a:lnTo>
                    <a:lnTo>
                      <a:pt x="42" y="593"/>
                    </a:lnTo>
                    <a:lnTo>
                      <a:pt x="38" y="578"/>
                    </a:lnTo>
                    <a:lnTo>
                      <a:pt x="36" y="563"/>
                    </a:lnTo>
                    <a:lnTo>
                      <a:pt x="35" y="547"/>
                    </a:lnTo>
                    <a:lnTo>
                      <a:pt x="35" y="194"/>
                    </a:lnTo>
                    <a:close/>
                    <a:moveTo>
                      <a:pt x="194" y="740"/>
                    </a:moveTo>
                    <a:lnTo>
                      <a:pt x="214" y="739"/>
                    </a:lnTo>
                    <a:lnTo>
                      <a:pt x="233" y="737"/>
                    </a:lnTo>
                    <a:lnTo>
                      <a:pt x="252" y="732"/>
                    </a:lnTo>
                    <a:lnTo>
                      <a:pt x="269" y="725"/>
                    </a:lnTo>
                    <a:lnTo>
                      <a:pt x="287" y="717"/>
                    </a:lnTo>
                    <a:lnTo>
                      <a:pt x="303" y="708"/>
                    </a:lnTo>
                    <a:lnTo>
                      <a:pt x="317" y="696"/>
                    </a:lnTo>
                    <a:lnTo>
                      <a:pt x="331" y="684"/>
                    </a:lnTo>
                    <a:lnTo>
                      <a:pt x="344" y="670"/>
                    </a:lnTo>
                    <a:lnTo>
                      <a:pt x="355" y="655"/>
                    </a:lnTo>
                    <a:lnTo>
                      <a:pt x="364" y="639"/>
                    </a:lnTo>
                    <a:lnTo>
                      <a:pt x="373" y="622"/>
                    </a:lnTo>
                    <a:lnTo>
                      <a:pt x="379" y="604"/>
                    </a:lnTo>
                    <a:lnTo>
                      <a:pt x="384" y="586"/>
                    </a:lnTo>
                    <a:lnTo>
                      <a:pt x="387" y="566"/>
                    </a:lnTo>
                    <a:lnTo>
                      <a:pt x="388" y="547"/>
                    </a:lnTo>
                    <a:lnTo>
                      <a:pt x="388" y="194"/>
                    </a:lnTo>
                    <a:lnTo>
                      <a:pt x="387" y="174"/>
                    </a:lnTo>
                    <a:lnTo>
                      <a:pt x="384" y="155"/>
                    </a:lnTo>
                    <a:lnTo>
                      <a:pt x="379" y="136"/>
                    </a:lnTo>
                    <a:lnTo>
                      <a:pt x="373" y="118"/>
                    </a:lnTo>
                    <a:lnTo>
                      <a:pt x="364" y="102"/>
                    </a:lnTo>
                    <a:lnTo>
                      <a:pt x="355" y="86"/>
                    </a:lnTo>
                    <a:lnTo>
                      <a:pt x="344" y="71"/>
                    </a:lnTo>
                    <a:lnTo>
                      <a:pt x="331" y="57"/>
                    </a:lnTo>
                    <a:lnTo>
                      <a:pt x="317" y="45"/>
                    </a:lnTo>
                    <a:lnTo>
                      <a:pt x="303" y="33"/>
                    </a:lnTo>
                    <a:lnTo>
                      <a:pt x="287" y="23"/>
                    </a:lnTo>
                    <a:lnTo>
                      <a:pt x="269" y="15"/>
                    </a:lnTo>
                    <a:lnTo>
                      <a:pt x="252" y="9"/>
                    </a:lnTo>
                    <a:lnTo>
                      <a:pt x="233" y="4"/>
                    </a:lnTo>
                    <a:lnTo>
                      <a:pt x="214" y="0"/>
                    </a:lnTo>
                    <a:lnTo>
                      <a:pt x="194" y="0"/>
                    </a:lnTo>
                    <a:lnTo>
                      <a:pt x="174" y="0"/>
                    </a:lnTo>
                    <a:lnTo>
                      <a:pt x="155" y="4"/>
                    </a:lnTo>
                    <a:lnTo>
                      <a:pt x="136" y="9"/>
                    </a:lnTo>
                    <a:lnTo>
                      <a:pt x="118" y="15"/>
                    </a:lnTo>
                    <a:lnTo>
                      <a:pt x="102" y="23"/>
                    </a:lnTo>
                    <a:lnTo>
                      <a:pt x="86" y="33"/>
                    </a:lnTo>
                    <a:lnTo>
                      <a:pt x="70" y="45"/>
                    </a:lnTo>
                    <a:lnTo>
                      <a:pt x="56" y="57"/>
                    </a:lnTo>
                    <a:lnTo>
                      <a:pt x="45" y="71"/>
                    </a:lnTo>
                    <a:lnTo>
                      <a:pt x="33" y="86"/>
                    </a:lnTo>
                    <a:lnTo>
                      <a:pt x="23" y="102"/>
                    </a:lnTo>
                    <a:lnTo>
                      <a:pt x="15" y="118"/>
                    </a:lnTo>
                    <a:lnTo>
                      <a:pt x="9" y="136"/>
                    </a:lnTo>
                    <a:lnTo>
                      <a:pt x="4" y="155"/>
                    </a:lnTo>
                    <a:lnTo>
                      <a:pt x="1" y="174"/>
                    </a:lnTo>
                    <a:lnTo>
                      <a:pt x="0" y="194"/>
                    </a:lnTo>
                    <a:lnTo>
                      <a:pt x="0" y="547"/>
                    </a:lnTo>
                    <a:lnTo>
                      <a:pt x="1" y="566"/>
                    </a:lnTo>
                    <a:lnTo>
                      <a:pt x="4" y="586"/>
                    </a:lnTo>
                    <a:lnTo>
                      <a:pt x="9" y="604"/>
                    </a:lnTo>
                    <a:lnTo>
                      <a:pt x="15" y="622"/>
                    </a:lnTo>
                    <a:lnTo>
                      <a:pt x="23" y="639"/>
                    </a:lnTo>
                    <a:lnTo>
                      <a:pt x="33" y="655"/>
                    </a:lnTo>
                    <a:lnTo>
                      <a:pt x="45" y="670"/>
                    </a:lnTo>
                    <a:lnTo>
                      <a:pt x="56" y="684"/>
                    </a:lnTo>
                    <a:lnTo>
                      <a:pt x="70" y="696"/>
                    </a:lnTo>
                    <a:lnTo>
                      <a:pt x="86" y="708"/>
                    </a:lnTo>
                    <a:lnTo>
                      <a:pt x="102" y="717"/>
                    </a:lnTo>
                    <a:lnTo>
                      <a:pt x="118" y="725"/>
                    </a:lnTo>
                    <a:lnTo>
                      <a:pt x="136" y="732"/>
                    </a:lnTo>
                    <a:lnTo>
                      <a:pt x="155" y="737"/>
                    </a:lnTo>
                    <a:lnTo>
                      <a:pt x="174" y="739"/>
                    </a:lnTo>
                    <a:lnTo>
                      <a:pt x="194" y="74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43" name="Freeform 196"/>
              <p:cNvSpPr/>
              <p:nvPr/>
            </p:nvSpPr>
            <p:spPr bwMode="auto">
              <a:xfrm>
                <a:off x="6971668" y="715846"/>
                <a:ext cx="238125" cy="273050"/>
              </a:xfrm>
              <a:custGeom>
                <a:avLst/>
                <a:gdLst>
                  <a:gd name="T0" fmla="*/ 564 w 600"/>
                  <a:gd name="T1" fmla="*/ 190 h 689"/>
                  <a:gd name="T2" fmla="*/ 559 w 600"/>
                  <a:gd name="T3" fmla="*/ 230 h 689"/>
                  <a:gd name="T4" fmla="*/ 548 w 600"/>
                  <a:gd name="T5" fmla="*/ 268 h 689"/>
                  <a:gd name="T6" fmla="*/ 532 w 600"/>
                  <a:gd name="T7" fmla="*/ 302 h 689"/>
                  <a:gd name="T8" fmla="*/ 511 w 600"/>
                  <a:gd name="T9" fmla="*/ 335 h 689"/>
                  <a:gd name="T10" fmla="*/ 486 w 600"/>
                  <a:gd name="T11" fmla="*/ 364 h 689"/>
                  <a:gd name="T12" fmla="*/ 458 w 600"/>
                  <a:gd name="T13" fmla="*/ 389 h 689"/>
                  <a:gd name="T14" fmla="*/ 426 w 600"/>
                  <a:gd name="T15" fmla="*/ 409 h 689"/>
                  <a:gd name="T16" fmla="*/ 390 w 600"/>
                  <a:gd name="T17" fmla="*/ 425 h 689"/>
                  <a:gd name="T18" fmla="*/ 353 w 600"/>
                  <a:gd name="T19" fmla="*/ 436 h 689"/>
                  <a:gd name="T20" fmla="*/ 314 w 600"/>
                  <a:gd name="T21" fmla="*/ 440 h 689"/>
                  <a:gd name="T22" fmla="*/ 273 w 600"/>
                  <a:gd name="T23" fmla="*/ 439 h 689"/>
                  <a:gd name="T24" fmla="*/ 234 w 600"/>
                  <a:gd name="T25" fmla="*/ 433 h 689"/>
                  <a:gd name="T26" fmla="*/ 197 w 600"/>
                  <a:gd name="T27" fmla="*/ 420 h 689"/>
                  <a:gd name="T28" fmla="*/ 162 w 600"/>
                  <a:gd name="T29" fmla="*/ 403 h 689"/>
                  <a:gd name="T30" fmla="*/ 131 w 600"/>
                  <a:gd name="T31" fmla="*/ 381 h 689"/>
                  <a:gd name="T32" fmla="*/ 104 w 600"/>
                  <a:gd name="T33" fmla="*/ 354 h 689"/>
                  <a:gd name="T34" fmla="*/ 80 w 600"/>
                  <a:gd name="T35" fmla="*/ 325 h 689"/>
                  <a:gd name="T36" fmla="*/ 61 w 600"/>
                  <a:gd name="T37" fmla="*/ 291 h 689"/>
                  <a:gd name="T38" fmla="*/ 47 w 600"/>
                  <a:gd name="T39" fmla="*/ 255 h 689"/>
                  <a:gd name="T40" fmla="*/ 38 w 600"/>
                  <a:gd name="T41" fmla="*/ 217 h 689"/>
                  <a:gd name="T42" fmla="*/ 35 w 600"/>
                  <a:gd name="T43" fmla="*/ 177 h 689"/>
                  <a:gd name="T44" fmla="*/ 0 w 600"/>
                  <a:gd name="T45" fmla="*/ 177 h 689"/>
                  <a:gd name="T46" fmla="*/ 4 w 600"/>
                  <a:gd name="T47" fmla="*/ 221 h 689"/>
                  <a:gd name="T48" fmla="*/ 12 w 600"/>
                  <a:gd name="T49" fmla="*/ 263 h 689"/>
                  <a:gd name="T50" fmla="*/ 27 w 600"/>
                  <a:gd name="T51" fmla="*/ 302 h 689"/>
                  <a:gd name="T52" fmla="*/ 48 w 600"/>
                  <a:gd name="T53" fmla="*/ 340 h 689"/>
                  <a:gd name="T54" fmla="*/ 74 w 600"/>
                  <a:gd name="T55" fmla="*/ 372 h 689"/>
                  <a:gd name="T56" fmla="*/ 103 w 600"/>
                  <a:gd name="T57" fmla="*/ 403 h 689"/>
                  <a:gd name="T58" fmla="*/ 137 w 600"/>
                  <a:gd name="T59" fmla="*/ 427 h 689"/>
                  <a:gd name="T60" fmla="*/ 173 w 600"/>
                  <a:gd name="T61" fmla="*/ 448 h 689"/>
                  <a:gd name="T62" fmla="*/ 213 w 600"/>
                  <a:gd name="T63" fmla="*/ 463 h 689"/>
                  <a:gd name="T64" fmla="*/ 255 w 600"/>
                  <a:gd name="T65" fmla="*/ 473 h 689"/>
                  <a:gd name="T66" fmla="*/ 282 w 600"/>
                  <a:gd name="T67" fmla="*/ 476 h 689"/>
                  <a:gd name="T68" fmla="*/ 124 w 600"/>
                  <a:gd name="T69" fmla="*/ 689 h 689"/>
                  <a:gd name="T70" fmla="*/ 318 w 600"/>
                  <a:gd name="T71" fmla="*/ 653 h 689"/>
                  <a:gd name="T72" fmla="*/ 330 w 600"/>
                  <a:gd name="T73" fmla="*/ 475 h 689"/>
                  <a:gd name="T74" fmla="*/ 373 w 600"/>
                  <a:gd name="T75" fmla="*/ 467 h 689"/>
                  <a:gd name="T76" fmla="*/ 413 w 600"/>
                  <a:gd name="T77" fmla="*/ 453 h 689"/>
                  <a:gd name="T78" fmla="*/ 451 w 600"/>
                  <a:gd name="T79" fmla="*/ 435 h 689"/>
                  <a:gd name="T80" fmla="*/ 485 w 600"/>
                  <a:gd name="T81" fmla="*/ 411 h 689"/>
                  <a:gd name="T82" fmla="*/ 517 w 600"/>
                  <a:gd name="T83" fmla="*/ 383 h 689"/>
                  <a:gd name="T84" fmla="*/ 544 w 600"/>
                  <a:gd name="T85" fmla="*/ 351 h 689"/>
                  <a:gd name="T86" fmla="*/ 565 w 600"/>
                  <a:gd name="T87" fmla="*/ 315 h 689"/>
                  <a:gd name="T88" fmla="*/ 583 w 600"/>
                  <a:gd name="T89" fmla="*/ 276 h 689"/>
                  <a:gd name="T90" fmla="*/ 593 w 600"/>
                  <a:gd name="T91" fmla="*/ 235 h 689"/>
                  <a:gd name="T92" fmla="*/ 599 w 600"/>
                  <a:gd name="T93" fmla="*/ 192 h 689"/>
                  <a:gd name="T94" fmla="*/ 564 w 600"/>
                  <a:gd name="T95" fmla="*/ 0 h 6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600" h="689">
                    <a:moveTo>
                      <a:pt x="564" y="0"/>
                    </a:moveTo>
                    <a:lnTo>
                      <a:pt x="564" y="177"/>
                    </a:lnTo>
                    <a:lnTo>
                      <a:pt x="564" y="190"/>
                    </a:lnTo>
                    <a:lnTo>
                      <a:pt x="563" y="204"/>
                    </a:lnTo>
                    <a:lnTo>
                      <a:pt x="561" y="217"/>
                    </a:lnTo>
                    <a:lnTo>
                      <a:pt x="559" y="230"/>
                    </a:lnTo>
                    <a:lnTo>
                      <a:pt x="556" y="243"/>
                    </a:lnTo>
                    <a:lnTo>
                      <a:pt x="552" y="255"/>
                    </a:lnTo>
                    <a:lnTo>
                      <a:pt x="548" y="268"/>
                    </a:lnTo>
                    <a:lnTo>
                      <a:pt x="544" y="279"/>
                    </a:lnTo>
                    <a:lnTo>
                      <a:pt x="538" y="291"/>
                    </a:lnTo>
                    <a:lnTo>
                      <a:pt x="532" y="302"/>
                    </a:lnTo>
                    <a:lnTo>
                      <a:pt x="526" y="314"/>
                    </a:lnTo>
                    <a:lnTo>
                      <a:pt x="519" y="325"/>
                    </a:lnTo>
                    <a:lnTo>
                      <a:pt x="511" y="335"/>
                    </a:lnTo>
                    <a:lnTo>
                      <a:pt x="504" y="344"/>
                    </a:lnTo>
                    <a:lnTo>
                      <a:pt x="495" y="354"/>
                    </a:lnTo>
                    <a:lnTo>
                      <a:pt x="486" y="364"/>
                    </a:lnTo>
                    <a:lnTo>
                      <a:pt x="478" y="372"/>
                    </a:lnTo>
                    <a:lnTo>
                      <a:pt x="468" y="381"/>
                    </a:lnTo>
                    <a:lnTo>
                      <a:pt x="458" y="389"/>
                    </a:lnTo>
                    <a:lnTo>
                      <a:pt x="448" y="396"/>
                    </a:lnTo>
                    <a:lnTo>
                      <a:pt x="437" y="403"/>
                    </a:lnTo>
                    <a:lnTo>
                      <a:pt x="426" y="409"/>
                    </a:lnTo>
                    <a:lnTo>
                      <a:pt x="414" y="414"/>
                    </a:lnTo>
                    <a:lnTo>
                      <a:pt x="402" y="420"/>
                    </a:lnTo>
                    <a:lnTo>
                      <a:pt x="390" y="425"/>
                    </a:lnTo>
                    <a:lnTo>
                      <a:pt x="378" y="430"/>
                    </a:lnTo>
                    <a:lnTo>
                      <a:pt x="366" y="433"/>
                    </a:lnTo>
                    <a:lnTo>
                      <a:pt x="353" y="436"/>
                    </a:lnTo>
                    <a:lnTo>
                      <a:pt x="340" y="438"/>
                    </a:lnTo>
                    <a:lnTo>
                      <a:pt x="327" y="439"/>
                    </a:lnTo>
                    <a:lnTo>
                      <a:pt x="314" y="440"/>
                    </a:lnTo>
                    <a:lnTo>
                      <a:pt x="300" y="441"/>
                    </a:lnTo>
                    <a:lnTo>
                      <a:pt x="287" y="440"/>
                    </a:lnTo>
                    <a:lnTo>
                      <a:pt x="273" y="439"/>
                    </a:lnTo>
                    <a:lnTo>
                      <a:pt x="260" y="438"/>
                    </a:lnTo>
                    <a:lnTo>
                      <a:pt x="247" y="436"/>
                    </a:lnTo>
                    <a:lnTo>
                      <a:pt x="234" y="433"/>
                    </a:lnTo>
                    <a:lnTo>
                      <a:pt x="221" y="430"/>
                    </a:lnTo>
                    <a:lnTo>
                      <a:pt x="209" y="425"/>
                    </a:lnTo>
                    <a:lnTo>
                      <a:pt x="197" y="420"/>
                    </a:lnTo>
                    <a:lnTo>
                      <a:pt x="185" y="414"/>
                    </a:lnTo>
                    <a:lnTo>
                      <a:pt x="173" y="409"/>
                    </a:lnTo>
                    <a:lnTo>
                      <a:pt x="162" y="403"/>
                    </a:lnTo>
                    <a:lnTo>
                      <a:pt x="152" y="396"/>
                    </a:lnTo>
                    <a:lnTo>
                      <a:pt x="142" y="389"/>
                    </a:lnTo>
                    <a:lnTo>
                      <a:pt x="131" y="381"/>
                    </a:lnTo>
                    <a:lnTo>
                      <a:pt x="122" y="372"/>
                    </a:lnTo>
                    <a:lnTo>
                      <a:pt x="113" y="364"/>
                    </a:lnTo>
                    <a:lnTo>
                      <a:pt x="104" y="354"/>
                    </a:lnTo>
                    <a:lnTo>
                      <a:pt x="95" y="344"/>
                    </a:lnTo>
                    <a:lnTo>
                      <a:pt x="88" y="335"/>
                    </a:lnTo>
                    <a:lnTo>
                      <a:pt x="80" y="325"/>
                    </a:lnTo>
                    <a:lnTo>
                      <a:pt x="74" y="314"/>
                    </a:lnTo>
                    <a:lnTo>
                      <a:pt x="67" y="302"/>
                    </a:lnTo>
                    <a:lnTo>
                      <a:pt x="61" y="291"/>
                    </a:lnTo>
                    <a:lnTo>
                      <a:pt x="56" y="279"/>
                    </a:lnTo>
                    <a:lnTo>
                      <a:pt x="51" y="268"/>
                    </a:lnTo>
                    <a:lnTo>
                      <a:pt x="47" y="255"/>
                    </a:lnTo>
                    <a:lnTo>
                      <a:pt x="44" y="243"/>
                    </a:lnTo>
                    <a:lnTo>
                      <a:pt x="40" y="230"/>
                    </a:lnTo>
                    <a:lnTo>
                      <a:pt x="38" y="217"/>
                    </a:lnTo>
                    <a:lnTo>
                      <a:pt x="36" y="204"/>
                    </a:lnTo>
                    <a:lnTo>
                      <a:pt x="36" y="190"/>
                    </a:lnTo>
                    <a:lnTo>
                      <a:pt x="35" y="177"/>
                    </a:lnTo>
                    <a:lnTo>
                      <a:pt x="35" y="0"/>
                    </a:lnTo>
                    <a:lnTo>
                      <a:pt x="0" y="0"/>
                    </a:lnTo>
                    <a:lnTo>
                      <a:pt x="0" y="177"/>
                    </a:lnTo>
                    <a:lnTo>
                      <a:pt x="0" y="192"/>
                    </a:lnTo>
                    <a:lnTo>
                      <a:pt x="2" y="206"/>
                    </a:lnTo>
                    <a:lnTo>
                      <a:pt x="4" y="221"/>
                    </a:lnTo>
                    <a:lnTo>
                      <a:pt x="6" y="235"/>
                    </a:lnTo>
                    <a:lnTo>
                      <a:pt x="9" y="249"/>
                    </a:lnTo>
                    <a:lnTo>
                      <a:pt x="12" y="263"/>
                    </a:lnTo>
                    <a:lnTo>
                      <a:pt x="17" y="276"/>
                    </a:lnTo>
                    <a:lnTo>
                      <a:pt x="22" y="289"/>
                    </a:lnTo>
                    <a:lnTo>
                      <a:pt x="27" y="302"/>
                    </a:lnTo>
                    <a:lnTo>
                      <a:pt x="34" y="315"/>
                    </a:lnTo>
                    <a:lnTo>
                      <a:pt x="40" y="327"/>
                    </a:lnTo>
                    <a:lnTo>
                      <a:pt x="48" y="340"/>
                    </a:lnTo>
                    <a:lnTo>
                      <a:pt x="57" y="351"/>
                    </a:lnTo>
                    <a:lnTo>
                      <a:pt x="64" y="362"/>
                    </a:lnTo>
                    <a:lnTo>
                      <a:pt x="74" y="372"/>
                    </a:lnTo>
                    <a:lnTo>
                      <a:pt x="83" y="383"/>
                    </a:lnTo>
                    <a:lnTo>
                      <a:pt x="92" y="393"/>
                    </a:lnTo>
                    <a:lnTo>
                      <a:pt x="103" y="403"/>
                    </a:lnTo>
                    <a:lnTo>
                      <a:pt x="114" y="411"/>
                    </a:lnTo>
                    <a:lnTo>
                      <a:pt x="125" y="420"/>
                    </a:lnTo>
                    <a:lnTo>
                      <a:pt x="137" y="427"/>
                    </a:lnTo>
                    <a:lnTo>
                      <a:pt x="148" y="435"/>
                    </a:lnTo>
                    <a:lnTo>
                      <a:pt x="160" y="441"/>
                    </a:lnTo>
                    <a:lnTo>
                      <a:pt x="173" y="448"/>
                    </a:lnTo>
                    <a:lnTo>
                      <a:pt x="186" y="453"/>
                    </a:lnTo>
                    <a:lnTo>
                      <a:pt x="199" y="459"/>
                    </a:lnTo>
                    <a:lnTo>
                      <a:pt x="213" y="463"/>
                    </a:lnTo>
                    <a:lnTo>
                      <a:pt x="227" y="467"/>
                    </a:lnTo>
                    <a:lnTo>
                      <a:pt x="241" y="471"/>
                    </a:lnTo>
                    <a:lnTo>
                      <a:pt x="255" y="473"/>
                    </a:lnTo>
                    <a:lnTo>
                      <a:pt x="269" y="475"/>
                    </a:lnTo>
                    <a:lnTo>
                      <a:pt x="285" y="476"/>
                    </a:lnTo>
                    <a:lnTo>
                      <a:pt x="282" y="476"/>
                    </a:lnTo>
                    <a:lnTo>
                      <a:pt x="282" y="653"/>
                    </a:lnTo>
                    <a:lnTo>
                      <a:pt x="124" y="653"/>
                    </a:lnTo>
                    <a:lnTo>
                      <a:pt x="124" y="689"/>
                    </a:lnTo>
                    <a:lnTo>
                      <a:pt x="476" y="689"/>
                    </a:lnTo>
                    <a:lnTo>
                      <a:pt x="476" y="653"/>
                    </a:lnTo>
                    <a:lnTo>
                      <a:pt x="318" y="653"/>
                    </a:lnTo>
                    <a:lnTo>
                      <a:pt x="318" y="476"/>
                    </a:lnTo>
                    <a:lnTo>
                      <a:pt x="315" y="476"/>
                    </a:lnTo>
                    <a:lnTo>
                      <a:pt x="330" y="475"/>
                    </a:lnTo>
                    <a:lnTo>
                      <a:pt x="344" y="473"/>
                    </a:lnTo>
                    <a:lnTo>
                      <a:pt x="359" y="471"/>
                    </a:lnTo>
                    <a:lnTo>
                      <a:pt x="373" y="467"/>
                    </a:lnTo>
                    <a:lnTo>
                      <a:pt x="386" y="463"/>
                    </a:lnTo>
                    <a:lnTo>
                      <a:pt x="400" y="459"/>
                    </a:lnTo>
                    <a:lnTo>
                      <a:pt x="413" y="453"/>
                    </a:lnTo>
                    <a:lnTo>
                      <a:pt x="426" y="448"/>
                    </a:lnTo>
                    <a:lnTo>
                      <a:pt x="439" y="441"/>
                    </a:lnTo>
                    <a:lnTo>
                      <a:pt x="451" y="435"/>
                    </a:lnTo>
                    <a:lnTo>
                      <a:pt x="463" y="427"/>
                    </a:lnTo>
                    <a:lnTo>
                      <a:pt x="475" y="420"/>
                    </a:lnTo>
                    <a:lnTo>
                      <a:pt x="485" y="411"/>
                    </a:lnTo>
                    <a:lnTo>
                      <a:pt x="496" y="403"/>
                    </a:lnTo>
                    <a:lnTo>
                      <a:pt x="507" y="393"/>
                    </a:lnTo>
                    <a:lnTo>
                      <a:pt x="517" y="383"/>
                    </a:lnTo>
                    <a:lnTo>
                      <a:pt x="526" y="372"/>
                    </a:lnTo>
                    <a:lnTo>
                      <a:pt x="535" y="362"/>
                    </a:lnTo>
                    <a:lnTo>
                      <a:pt x="544" y="351"/>
                    </a:lnTo>
                    <a:lnTo>
                      <a:pt x="551" y="340"/>
                    </a:lnTo>
                    <a:lnTo>
                      <a:pt x="559" y="327"/>
                    </a:lnTo>
                    <a:lnTo>
                      <a:pt x="565" y="315"/>
                    </a:lnTo>
                    <a:lnTo>
                      <a:pt x="572" y="302"/>
                    </a:lnTo>
                    <a:lnTo>
                      <a:pt x="577" y="289"/>
                    </a:lnTo>
                    <a:lnTo>
                      <a:pt x="583" y="276"/>
                    </a:lnTo>
                    <a:lnTo>
                      <a:pt x="587" y="263"/>
                    </a:lnTo>
                    <a:lnTo>
                      <a:pt x="590" y="249"/>
                    </a:lnTo>
                    <a:lnTo>
                      <a:pt x="593" y="235"/>
                    </a:lnTo>
                    <a:lnTo>
                      <a:pt x="597" y="221"/>
                    </a:lnTo>
                    <a:lnTo>
                      <a:pt x="598" y="206"/>
                    </a:lnTo>
                    <a:lnTo>
                      <a:pt x="599" y="192"/>
                    </a:lnTo>
                    <a:lnTo>
                      <a:pt x="600" y="177"/>
                    </a:lnTo>
                    <a:lnTo>
                      <a:pt x="600" y="0"/>
                    </a:lnTo>
                    <a:lnTo>
                      <a:pt x="564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/>
              <a:lstStyle/>
              <a:p>
                <a:pPr algn="l" defTabSz="1828800" rtl="0"/>
                <a:endParaRPr lang="en-US" sz="3600" kern="1200">
                  <a:solidFill>
                    <a:prstClr val="black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</p:grpSp>
      <p:sp>
        <p:nvSpPr>
          <p:cNvPr id="46" name="Rectangle 799"/>
          <p:cNvSpPr/>
          <p:nvPr/>
        </p:nvSpPr>
        <p:spPr>
          <a:xfrm rot="5400000">
            <a:off x="7058418" y="1639404"/>
            <a:ext cx="45279" cy="1539513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>
                  <a:lumMod val="50000"/>
                </a:prst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52" name="Rectangle 809"/>
          <p:cNvSpPr/>
          <p:nvPr/>
        </p:nvSpPr>
        <p:spPr>
          <a:xfrm rot="5400000">
            <a:off x="9775291" y="1639404"/>
            <a:ext cx="45279" cy="1539513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>
                  <a:lumMod val="50000"/>
                </a:prst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58" name="Rectangle 814"/>
          <p:cNvSpPr/>
          <p:nvPr/>
        </p:nvSpPr>
        <p:spPr>
          <a:xfrm rot="5400000">
            <a:off x="7058418" y="3640741"/>
            <a:ext cx="45279" cy="1539513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>
                  <a:lumMod val="50000"/>
                </a:prst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64" name="Rectangle 819"/>
          <p:cNvSpPr/>
          <p:nvPr/>
        </p:nvSpPr>
        <p:spPr>
          <a:xfrm rot="5400000">
            <a:off x="9775291" y="3640741"/>
            <a:ext cx="45279" cy="1539513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828800" rtl="0"/>
            <a:endParaRPr lang="en-US" sz="3600" kern="1200">
              <a:solidFill>
                <a:prstClr val="white">
                  <a:lumMod val="50000"/>
                </a:prst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68" name="组合 67"/>
          <p:cNvGrpSpPr/>
          <p:nvPr/>
        </p:nvGrpSpPr>
        <p:grpSpPr>
          <a:xfrm>
            <a:off x="1754146" y="4385562"/>
            <a:ext cx="2971646" cy="1054930"/>
            <a:chOff x="2547134" y="1799802"/>
            <a:chExt cx="2971646" cy="1054930"/>
          </a:xfrm>
        </p:grpSpPr>
        <p:sp>
          <p:nvSpPr>
            <p:cNvPr id="69" name="TextBox 53"/>
            <p:cNvSpPr txBox="1"/>
            <p:nvPr/>
          </p:nvSpPr>
          <p:spPr>
            <a:xfrm>
              <a:off x="2547134" y="2245334"/>
              <a:ext cx="2971646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  <a:p>
              <a:pPr algn="ct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70" name="TextBox 42"/>
            <p:cNvSpPr txBox="1"/>
            <p:nvPr/>
          </p:nvSpPr>
          <p:spPr>
            <a:xfrm>
              <a:off x="3212892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ct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72" name="TextBox 53"/>
          <p:cNvSpPr txBox="1"/>
          <p:nvPr/>
        </p:nvSpPr>
        <p:spPr>
          <a:xfrm>
            <a:off x="6302905" y="2750167"/>
            <a:ext cx="1764649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文字内容需概括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74" name="TextBox 42"/>
          <p:cNvSpPr txBox="1"/>
          <p:nvPr/>
        </p:nvSpPr>
        <p:spPr>
          <a:xfrm>
            <a:off x="7185229" y="2000585"/>
            <a:ext cx="7219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800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36%</a:t>
            </a:r>
            <a:endParaRPr lang="zh-CN" altLang="en-US" sz="1800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75" name="TextBox 53"/>
          <p:cNvSpPr txBox="1"/>
          <p:nvPr/>
        </p:nvSpPr>
        <p:spPr>
          <a:xfrm>
            <a:off x="9052432" y="2750167"/>
            <a:ext cx="1764649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文字内容需概括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76" name="TextBox 53"/>
          <p:cNvSpPr txBox="1"/>
          <p:nvPr/>
        </p:nvSpPr>
        <p:spPr>
          <a:xfrm>
            <a:off x="6302905" y="4754894"/>
            <a:ext cx="1764649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文字内容需概括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77" name="TextBox 53"/>
          <p:cNvSpPr txBox="1"/>
          <p:nvPr/>
        </p:nvSpPr>
        <p:spPr>
          <a:xfrm>
            <a:off x="9052432" y="4754894"/>
            <a:ext cx="1764649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文字内容需概括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78" name="TextBox 42"/>
          <p:cNvSpPr txBox="1"/>
          <p:nvPr/>
        </p:nvSpPr>
        <p:spPr>
          <a:xfrm>
            <a:off x="9827687" y="2000585"/>
            <a:ext cx="7219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800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53%</a:t>
            </a:r>
            <a:endParaRPr lang="zh-CN" altLang="en-US" sz="1800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79" name="TextBox 42"/>
          <p:cNvSpPr txBox="1"/>
          <p:nvPr/>
        </p:nvSpPr>
        <p:spPr>
          <a:xfrm>
            <a:off x="7185229" y="3993326"/>
            <a:ext cx="7219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800" b="0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59%</a:t>
            </a:r>
            <a:endParaRPr lang="zh-CN" altLang="en-US" sz="1800" b="0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80" name="TextBox 42"/>
          <p:cNvSpPr txBox="1"/>
          <p:nvPr/>
        </p:nvSpPr>
        <p:spPr>
          <a:xfrm>
            <a:off x="9827687" y="3993326"/>
            <a:ext cx="72190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>
              <a:defRPr sz="20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en-US" altLang="zh-CN" sz="1800" b="0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63%</a:t>
            </a:r>
            <a:endParaRPr lang="zh-CN" altLang="en-US" sz="1800" b="0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59" name="文本框 58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不足之处</a:t>
            </a:r>
          </a:p>
        </p:txBody>
      </p:sp>
      <p:sp>
        <p:nvSpPr>
          <p:cNvPr id="60" name="文本框 59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6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500"/>
                            </p:stCondLst>
                            <p:childTnLst>
                              <p:par>
                                <p:cTn id="49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4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5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0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30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 animBg="1"/>
      <p:bldP spid="33" grpId="0" animBg="1"/>
      <p:bldP spid="34" grpId="0" animBg="1"/>
      <p:bldP spid="46" grpId="0" animBg="1"/>
      <p:bldP spid="52" grpId="0" animBg="1"/>
      <p:bldP spid="58" grpId="0" animBg="1"/>
      <p:bldP spid="64" grpId="0" animBg="1"/>
      <p:bldP spid="72" grpId="0"/>
      <p:bldP spid="74" grpId="0"/>
      <p:bldP spid="75" grpId="0"/>
      <p:bldP spid="76" grpId="0"/>
      <p:bldP spid="77" grpId="0"/>
      <p:bldP spid="78" grpId="0"/>
      <p:bldP spid="79" grpId="0"/>
      <p:bldP spid="80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文本框 3"/>
          <p:cNvSpPr txBox="1"/>
          <p:nvPr/>
        </p:nvSpPr>
        <p:spPr>
          <a:xfrm>
            <a:off x="-533871" y="10437"/>
            <a:ext cx="2154436" cy="6837128"/>
          </a:xfrm>
          <a:prstGeom prst="rect">
            <a:avLst/>
          </a:prstGeom>
          <a:noFill/>
        </p:spPr>
        <p:txBody>
          <a:bodyPr vert="eaVert" wrap="none" rtlCol="0">
            <a:spAutoFit/>
          </a:bodyPr>
          <a:lstStyle/>
          <a:p>
            <a:pPr algn="dist"/>
            <a:r>
              <a:rPr lang="en-US" altLang="zh-CN" sz="12800" dirty="0">
                <a:solidFill>
                  <a:schemeClr val="lt1">
                    <a:lumMod val="100000"/>
                    <a:alpha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REPORT</a:t>
            </a:r>
            <a:endParaRPr lang="zh-CN" altLang="en-US" sz="12800" dirty="0">
              <a:solidFill>
                <a:schemeClr val="lt1">
                  <a:lumMod val="100000"/>
                  <a:alpha val="1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7" name="矩形 6"/>
          <p:cNvSpPr/>
          <p:nvPr/>
        </p:nvSpPr>
        <p:spPr>
          <a:xfrm>
            <a:off x="-2400" y="0"/>
            <a:ext cx="12196800" cy="356659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32" name="矩形 31"/>
          <p:cNvSpPr/>
          <p:nvPr/>
        </p:nvSpPr>
        <p:spPr>
          <a:xfrm>
            <a:off x="-2400" y="6501341"/>
            <a:ext cx="12196800" cy="356659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24" name="组合 23"/>
          <p:cNvGrpSpPr/>
          <p:nvPr/>
        </p:nvGrpSpPr>
        <p:grpSpPr>
          <a:xfrm>
            <a:off x="1584000" y="792273"/>
            <a:ext cx="9174196" cy="4708884"/>
            <a:chOff x="2288915" y="880021"/>
            <a:chExt cx="8280920" cy="3505377"/>
          </a:xfrm>
        </p:grpSpPr>
        <p:sp>
          <p:nvSpPr>
            <p:cNvPr id="25" name="矩形 24"/>
            <p:cNvSpPr/>
            <p:nvPr/>
          </p:nvSpPr>
          <p:spPr>
            <a:xfrm>
              <a:off x="2288915" y="1569201"/>
              <a:ext cx="8280920" cy="2816197"/>
            </a:xfrm>
            <a:prstGeom prst="rect">
              <a:avLst/>
            </a:prstGeom>
          </p:spPr>
          <p:txBody>
            <a:bodyPr wrap="square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dirty="0">
                  <a:solidFill>
                    <a:schemeClr val="bg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阿里巴巴普惠体 M" panose="00020600040101010101" pitchFamily="18" charset="-122"/>
                  <a:sym typeface="思源宋体 CN Medium" panose="02020500000000000000" pitchFamily="18" charset="-122"/>
                </a:rPr>
                <a:t>       感谢您下载办公资源网平台上提供的PPT作品,为了您和办公资源以及原创作者的利益,请勿复制、传播、销售,否则将承担法律责任!办公资源将对作品进行维权,按照传播下载次数进行十倍的索取赔偿!</a:t>
              </a:r>
            </a:p>
            <a:p>
              <a:pPr>
                <a:lnSpc>
                  <a:spcPct val="150000"/>
                </a:lnSpc>
              </a:pPr>
              <a:r>
                <a:rPr lang="zh-CN" altLang="en-US" dirty="0">
                  <a:solidFill>
                    <a:schemeClr val="bg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阿里巴巴普惠体 M" panose="00020600040101010101" pitchFamily="18" charset="-122"/>
                  <a:sym typeface="思源宋体 CN Medium" panose="02020500000000000000" pitchFamily="18" charset="-122"/>
                </a:rPr>
                <a:t>       1. 在办公资源出售的PPT模板是免版税类(RF: Royalty-Free)正版受《中国人民共和国著作法》和《世界版权公约》的保护,作品的所有权、版权和著作权归办公资源所有,您下载的是PPT模板素材的使用权.</a:t>
              </a:r>
            </a:p>
            <a:p>
              <a:pPr>
                <a:lnSpc>
                  <a:spcPct val="150000"/>
                </a:lnSpc>
              </a:pPr>
              <a:r>
                <a:rPr lang="zh-CN" altLang="en-US" dirty="0">
                  <a:solidFill>
                    <a:schemeClr val="bg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阿里巴巴普惠体 M" panose="00020600040101010101" pitchFamily="18" charset="-122"/>
                  <a:sym typeface="思源宋体 CN Medium" panose="02020500000000000000" pitchFamily="18" charset="-122"/>
                </a:rPr>
                <a:t>       2. 不得将办公资源的PPT模板、PPT素材,本身用于再出售,或者出租、出借、转让、分销、发布或者作为礼物供他人使用,不得转授权、出卖、转让本协议或者本协议中的权利.</a:t>
              </a:r>
            </a:p>
            <a:p>
              <a:pPr algn="ctr">
                <a:lnSpc>
                  <a:spcPct val="150000"/>
                </a:lnSpc>
              </a:pPr>
              <a:endParaRPr lang="en-US" altLang="zh-CN" dirty="0">
                <a:solidFill>
                  <a:schemeClr val="bg1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cs typeface="阿里巴巴普惠体 M" panose="00020600040101010101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9" name="文本框 19"/>
            <p:cNvSpPr txBox="1"/>
            <p:nvPr/>
          </p:nvSpPr>
          <p:spPr>
            <a:xfrm>
              <a:off x="5717346" y="880021"/>
              <a:ext cx="1487480" cy="49288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50000"/>
                </a:lnSpc>
              </a:pPr>
              <a:r>
                <a:rPr lang="zh-CN" altLang="en-US" sz="2800" dirty="0">
                  <a:solidFill>
                    <a:schemeClr val="bg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阿里巴巴普惠体 M" panose="00020600040101010101" pitchFamily="18" charset="-122"/>
                  <a:sym typeface="思源宋体 CN Medium" panose="02020500000000000000" pitchFamily="18" charset="-122"/>
                </a:rPr>
                <a:t>版权声明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 animBg="1"/>
      <p:bldP spid="32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874712" y="1483721"/>
            <a:ext cx="5221287" cy="4825004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3" name="圆角矩形 4"/>
          <p:cNvSpPr/>
          <p:nvPr/>
        </p:nvSpPr>
        <p:spPr>
          <a:xfrm>
            <a:off x="6675452" y="5005794"/>
            <a:ext cx="765275" cy="76527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4" name="圆角矩形 5"/>
          <p:cNvSpPr/>
          <p:nvPr/>
        </p:nvSpPr>
        <p:spPr>
          <a:xfrm>
            <a:off x="6851550" y="5185919"/>
            <a:ext cx="413078" cy="405023"/>
          </a:xfrm>
          <a:custGeom>
            <a:avLst/>
            <a:gdLst>
              <a:gd name="T0" fmla="*/ 1312 w 1990"/>
              <a:gd name="T1" fmla="*/ 1552 h 1954"/>
              <a:gd name="T2" fmla="*/ 291 w 1990"/>
              <a:gd name="T3" fmla="*/ 1746 h 1954"/>
              <a:gd name="T4" fmla="*/ 0 w 1990"/>
              <a:gd name="T5" fmla="*/ 540 h 1954"/>
              <a:gd name="T6" fmla="*/ 515 w 1990"/>
              <a:gd name="T7" fmla="*/ 249 h 1954"/>
              <a:gd name="T8" fmla="*/ 1205 w 1990"/>
              <a:gd name="T9" fmla="*/ 0 h 1954"/>
              <a:gd name="T10" fmla="*/ 1496 w 1990"/>
              <a:gd name="T11" fmla="*/ 489 h 1954"/>
              <a:gd name="T12" fmla="*/ 1413 w 1990"/>
              <a:gd name="T13" fmla="*/ 291 h 1954"/>
              <a:gd name="T14" fmla="*/ 802 w 1990"/>
              <a:gd name="T15" fmla="*/ 83 h 1954"/>
              <a:gd name="T16" fmla="*/ 1039 w 1990"/>
              <a:gd name="T17" fmla="*/ 249 h 1954"/>
              <a:gd name="T18" fmla="*/ 1243 w 1990"/>
              <a:gd name="T19" fmla="*/ 499 h 1954"/>
              <a:gd name="T20" fmla="*/ 291 w 1990"/>
              <a:gd name="T21" fmla="*/ 333 h 1954"/>
              <a:gd name="T22" fmla="*/ 83 w 1990"/>
              <a:gd name="T23" fmla="*/ 1455 h 1954"/>
              <a:gd name="T24" fmla="*/ 1039 w 1990"/>
              <a:gd name="T25" fmla="*/ 1663 h 1954"/>
              <a:gd name="T26" fmla="*/ 1641 w 1990"/>
              <a:gd name="T27" fmla="*/ 1453 h 1954"/>
              <a:gd name="T28" fmla="*/ 1138 w 1990"/>
              <a:gd name="T29" fmla="*/ 583 h 1954"/>
              <a:gd name="T30" fmla="*/ 1641 w 1990"/>
              <a:gd name="T31" fmla="*/ 1453 h 1954"/>
              <a:gd name="T32" fmla="*/ 1752 w 1990"/>
              <a:gd name="T33" fmla="*/ 809 h 1954"/>
              <a:gd name="T34" fmla="*/ 1026 w 1990"/>
              <a:gd name="T35" fmla="*/ 1228 h 1954"/>
              <a:gd name="T36" fmla="*/ 1767 w 1990"/>
              <a:gd name="T37" fmla="*/ 1422 h 1954"/>
              <a:gd name="T38" fmla="*/ 1717 w 1990"/>
              <a:gd name="T39" fmla="*/ 1835 h 1954"/>
              <a:gd name="T40" fmla="*/ 1767 w 1990"/>
              <a:gd name="T41" fmla="*/ 1422 h 1954"/>
              <a:gd name="T42" fmla="*/ 1739 w 1990"/>
              <a:gd name="T43" fmla="*/ 1874 h 1954"/>
              <a:gd name="T44" fmla="*/ 1956 w 1990"/>
              <a:gd name="T45" fmla="*/ 1749 h 1954"/>
              <a:gd name="T46" fmla="*/ 249 w 1990"/>
              <a:gd name="T47" fmla="*/ 551 h 1954"/>
              <a:gd name="T48" fmla="*/ 803 w 1990"/>
              <a:gd name="T49" fmla="*/ 613 h 1954"/>
              <a:gd name="T50" fmla="*/ 675 w 1990"/>
              <a:gd name="T51" fmla="*/ 828 h 1954"/>
              <a:gd name="T52" fmla="*/ 249 w 1990"/>
              <a:gd name="T53" fmla="*/ 890 h 1954"/>
              <a:gd name="T54" fmla="*/ 675 w 1990"/>
              <a:gd name="T55" fmla="*/ 828 h 1954"/>
              <a:gd name="T56" fmla="*/ 675 w 1990"/>
              <a:gd name="T57" fmla="*/ 1167 h 1954"/>
              <a:gd name="T58" fmla="*/ 249 w 1990"/>
              <a:gd name="T59" fmla="*/ 1105 h 1954"/>
              <a:gd name="T60" fmla="*/ 249 w 1990"/>
              <a:gd name="T61" fmla="*/ 1444 h 1954"/>
              <a:gd name="T62" fmla="*/ 803 w 1990"/>
              <a:gd name="T63" fmla="*/ 1382 h 1954"/>
              <a:gd name="T64" fmla="*/ 249 w 1990"/>
              <a:gd name="T65" fmla="*/ 1444 h 1954"/>
              <a:gd name="T66" fmla="*/ 1179 w 1990"/>
              <a:gd name="T67" fmla="*/ 961 h 1954"/>
              <a:gd name="T68" fmla="*/ 1300 w 1990"/>
              <a:gd name="T69" fmla="*/ 1219 h 1954"/>
              <a:gd name="T70" fmla="*/ 1604 w 1990"/>
              <a:gd name="T71" fmla="*/ 858 h 19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990" h="1954">
                <a:moveTo>
                  <a:pt x="1231" y="1534"/>
                </a:moveTo>
                <a:cubicBezTo>
                  <a:pt x="1258" y="1542"/>
                  <a:pt x="1285" y="1548"/>
                  <a:pt x="1312" y="1552"/>
                </a:cubicBezTo>
                <a:cubicBezTo>
                  <a:pt x="1272" y="1665"/>
                  <a:pt x="1165" y="1746"/>
                  <a:pt x="1039" y="1746"/>
                </a:cubicBezTo>
                <a:lnTo>
                  <a:pt x="291" y="1746"/>
                </a:lnTo>
                <a:cubicBezTo>
                  <a:pt x="131" y="1746"/>
                  <a:pt x="0" y="1615"/>
                  <a:pt x="0" y="1455"/>
                </a:cubicBezTo>
                <a:lnTo>
                  <a:pt x="0" y="540"/>
                </a:lnTo>
                <a:cubicBezTo>
                  <a:pt x="0" y="380"/>
                  <a:pt x="131" y="249"/>
                  <a:pt x="291" y="249"/>
                </a:cubicBezTo>
                <a:lnTo>
                  <a:pt x="515" y="249"/>
                </a:lnTo>
                <a:cubicBezTo>
                  <a:pt x="535" y="109"/>
                  <a:pt x="656" y="0"/>
                  <a:pt x="802" y="0"/>
                </a:cubicBezTo>
                <a:lnTo>
                  <a:pt x="1205" y="0"/>
                </a:lnTo>
                <a:cubicBezTo>
                  <a:pt x="1366" y="0"/>
                  <a:pt x="1496" y="131"/>
                  <a:pt x="1496" y="291"/>
                </a:cubicBezTo>
                <a:lnTo>
                  <a:pt x="1496" y="489"/>
                </a:lnTo>
                <a:cubicBezTo>
                  <a:pt x="1469" y="484"/>
                  <a:pt x="1441" y="480"/>
                  <a:pt x="1413" y="479"/>
                </a:cubicBezTo>
                <a:lnTo>
                  <a:pt x="1413" y="291"/>
                </a:lnTo>
                <a:cubicBezTo>
                  <a:pt x="1413" y="176"/>
                  <a:pt x="1320" y="83"/>
                  <a:pt x="1205" y="83"/>
                </a:cubicBezTo>
                <a:lnTo>
                  <a:pt x="802" y="83"/>
                </a:lnTo>
                <a:cubicBezTo>
                  <a:pt x="701" y="83"/>
                  <a:pt x="617" y="155"/>
                  <a:pt x="598" y="249"/>
                </a:cubicBezTo>
                <a:lnTo>
                  <a:pt x="1039" y="249"/>
                </a:lnTo>
                <a:cubicBezTo>
                  <a:pt x="1180" y="249"/>
                  <a:pt x="1297" y="349"/>
                  <a:pt x="1324" y="482"/>
                </a:cubicBezTo>
                <a:cubicBezTo>
                  <a:pt x="1297" y="485"/>
                  <a:pt x="1270" y="491"/>
                  <a:pt x="1243" y="499"/>
                </a:cubicBezTo>
                <a:cubicBezTo>
                  <a:pt x="1224" y="404"/>
                  <a:pt x="1140" y="333"/>
                  <a:pt x="1039" y="333"/>
                </a:cubicBezTo>
                <a:lnTo>
                  <a:pt x="291" y="333"/>
                </a:lnTo>
                <a:cubicBezTo>
                  <a:pt x="177" y="333"/>
                  <a:pt x="83" y="426"/>
                  <a:pt x="83" y="540"/>
                </a:cubicBezTo>
                <a:lnTo>
                  <a:pt x="83" y="1455"/>
                </a:lnTo>
                <a:cubicBezTo>
                  <a:pt x="83" y="1569"/>
                  <a:pt x="177" y="1663"/>
                  <a:pt x="291" y="1663"/>
                </a:cubicBezTo>
                <a:lnTo>
                  <a:pt x="1039" y="1663"/>
                </a:lnTo>
                <a:cubicBezTo>
                  <a:pt x="1126" y="1663"/>
                  <a:pt x="1200" y="1609"/>
                  <a:pt x="1231" y="1534"/>
                </a:cubicBezTo>
                <a:close/>
                <a:moveTo>
                  <a:pt x="1641" y="1453"/>
                </a:moveTo>
                <a:cubicBezTo>
                  <a:pt x="1401" y="1591"/>
                  <a:pt x="1093" y="1509"/>
                  <a:pt x="955" y="1269"/>
                </a:cubicBezTo>
                <a:cubicBezTo>
                  <a:pt x="816" y="1029"/>
                  <a:pt x="899" y="722"/>
                  <a:pt x="1138" y="583"/>
                </a:cubicBezTo>
                <a:cubicBezTo>
                  <a:pt x="1378" y="445"/>
                  <a:pt x="1686" y="527"/>
                  <a:pt x="1824" y="767"/>
                </a:cubicBezTo>
                <a:cubicBezTo>
                  <a:pt x="1963" y="1007"/>
                  <a:pt x="1880" y="1314"/>
                  <a:pt x="1641" y="1453"/>
                </a:cubicBezTo>
                <a:close/>
                <a:moveTo>
                  <a:pt x="1599" y="1381"/>
                </a:moveTo>
                <a:cubicBezTo>
                  <a:pt x="1799" y="1266"/>
                  <a:pt x="1868" y="1009"/>
                  <a:pt x="1752" y="809"/>
                </a:cubicBezTo>
                <a:cubicBezTo>
                  <a:pt x="1637" y="608"/>
                  <a:pt x="1380" y="539"/>
                  <a:pt x="1180" y="655"/>
                </a:cubicBezTo>
                <a:cubicBezTo>
                  <a:pt x="980" y="771"/>
                  <a:pt x="911" y="1027"/>
                  <a:pt x="1026" y="1228"/>
                </a:cubicBezTo>
                <a:cubicBezTo>
                  <a:pt x="1142" y="1428"/>
                  <a:pt x="1399" y="1497"/>
                  <a:pt x="1599" y="1381"/>
                </a:cubicBezTo>
                <a:close/>
                <a:moveTo>
                  <a:pt x="1767" y="1422"/>
                </a:moveTo>
                <a:lnTo>
                  <a:pt x="1551" y="1547"/>
                </a:lnTo>
                <a:lnTo>
                  <a:pt x="1717" y="1835"/>
                </a:lnTo>
                <a:lnTo>
                  <a:pt x="1933" y="1710"/>
                </a:lnTo>
                <a:lnTo>
                  <a:pt x="1767" y="1422"/>
                </a:lnTo>
                <a:close/>
                <a:moveTo>
                  <a:pt x="1956" y="1749"/>
                </a:moveTo>
                <a:lnTo>
                  <a:pt x="1739" y="1874"/>
                </a:lnTo>
                <a:cubicBezTo>
                  <a:pt x="1774" y="1934"/>
                  <a:pt x="1850" y="1954"/>
                  <a:pt x="1910" y="1919"/>
                </a:cubicBezTo>
                <a:cubicBezTo>
                  <a:pt x="1969" y="1885"/>
                  <a:pt x="1990" y="1809"/>
                  <a:pt x="1956" y="1749"/>
                </a:cubicBezTo>
                <a:close/>
                <a:moveTo>
                  <a:pt x="803" y="551"/>
                </a:moveTo>
                <a:lnTo>
                  <a:pt x="249" y="551"/>
                </a:lnTo>
                <a:lnTo>
                  <a:pt x="249" y="613"/>
                </a:lnTo>
                <a:lnTo>
                  <a:pt x="803" y="613"/>
                </a:lnTo>
                <a:lnTo>
                  <a:pt x="803" y="551"/>
                </a:lnTo>
                <a:close/>
                <a:moveTo>
                  <a:pt x="675" y="828"/>
                </a:moveTo>
                <a:lnTo>
                  <a:pt x="249" y="828"/>
                </a:lnTo>
                <a:lnTo>
                  <a:pt x="249" y="890"/>
                </a:lnTo>
                <a:lnTo>
                  <a:pt x="675" y="890"/>
                </a:lnTo>
                <a:lnTo>
                  <a:pt x="675" y="828"/>
                </a:lnTo>
                <a:close/>
                <a:moveTo>
                  <a:pt x="249" y="1167"/>
                </a:moveTo>
                <a:lnTo>
                  <a:pt x="675" y="1167"/>
                </a:lnTo>
                <a:lnTo>
                  <a:pt x="675" y="1105"/>
                </a:lnTo>
                <a:lnTo>
                  <a:pt x="249" y="1105"/>
                </a:lnTo>
                <a:lnTo>
                  <a:pt x="249" y="1167"/>
                </a:lnTo>
                <a:close/>
                <a:moveTo>
                  <a:pt x="249" y="1444"/>
                </a:moveTo>
                <a:lnTo>
                  <a:pt x="803" y="1444"/>
                </a:lnTo>
                <a:lnTo>
                  <a:pt x="803" y="1382"/>
                </a:lnTo>
                <a:lnTo>
                  <a:pt x="249" y="1382"/>
                </a:lnTo>
                <a:lnTo>
                  <a:pt x="249" y="1444"/>
                </a:lnTo>
                <a:close/>
                <a:moveTo>
                  <a:pt x="1308" y="1105"/>
                </a:moveTo>
                <a:lnTo>
                  <a:pt x="1179" y="961"/>
                </a:lnTo>
                <a:lnTo>
                  <a:pt x="1118" y="1017"/>
                </a:lnTo>
                <a:lnTo>
                  <a:pt x="1300" y="1219"/>
                </a:lnTo>
                <a:lnTo>
                  <a:pt x="1657" y="922"/>
                </a:lnTo>
                <a:lnTo>
                  <a:pt x="1604" y="858"/>
                </a:lnTo>
                <a:lnTo>
                  <a:pt x="1308" y="1105"/>
                </a:ln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noFill/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5" name="圆角矩形 7"/>
          <p:cNvSpPr/>
          <p:nvPr/>
        </p:nvSpPr>
        <p:spPr>
          <a:xfrm>
            <a:off x="7881838" y="5005794"/>
            <a:ext cx="765275" cy="76527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6" name="圆角矩形 8"/>
          <p:cNvSpPr/>
          <p:nvPr/>
        </p:nvSpPr>
        <p:spPr>
          <a:xfrm>
            <a:off x="8057936" y="5198007"/>
            <a:ext cx="413078" cy="380847"/>
          </a:xfrm>
          <a:custGeom>
            <a:avLst/>
            <a:gdLst>
              <a:gd name="connsiteX0" fmla="*/ 469488 w 578320"/>
              <a:gd name="connsiteY0" fmla="*/ 312166 h 533197"/>
              <a:gd name="connsiteX1" fmla="*/ 523904 w 578320"/>
              <a:gd name="connsiteY1" fmla="*/ 363740 h 533197"/>
              <a:gd name="connsiteX2" fmla="*/ 523904 w 578320"/>
              <a:gd name="connsiteY2" fmla="*/ 376634 h 533197"/>
              <a:gd name="connsiteX3" fmla="*/ 527594 w 578320"/>
              <a:gd name="connsiteY3" fmla="*/ 391369 h 533197"/>
              <a:gd name="connsiteX4" fmla="*/ 512837 w 578320"/>
              <a:gd name="connsiteY4" fmla="*/ 411630 h 533197"/>
              <a:gd name="connsiteX5" fmla="*/ 498080 w 578320"/>
              <a:gd name="connsiteY5" fmla="*/ 440180 h 533197"/>
              <a:gd name="connsiteX6" fmla="*/ 529438 w 578320"/>
              <a:gd name="connsiteY6" fmla="*/ 475176 h 533197"/>
              <a:gd name="connsiteX7" fmla="*/ 578320 w 578320"/>
              <a:gd name="connsiteY7" fmla="*/ 518462 h 533197"/>
              <a:gd name="connsiteX8" fmla="*/ 485168 w 578320"/>
              <a:gd name="connsiteY8" fmla="*/ 533197 h 533197"/>
              <a:gd name="connsiteX9" fmla="*/ 477789 w 578320"/>
              <a:gd name="connsiteY9" fmla="*/ 486228 h 533197"/>
              <a:gd name="connsiteX10" fmla="*/ 481478 w 578320"/>
              <a:gd name="connsiteY10" fmla="*/ 479781 h 533197"/>
              <a:gd name="connsiteX11" fmla="*/ 480556 w 578320"/>
              <a:gd name="connsiteY11" fmla="*/ 477939 h 533197"/>
              <a:gd name="connsiteX12" fmla="*/ 471333 w 578320"/>
              <a:gd name="connsiteY12" fmla="*/ 466888 h 533197"/>
              <a:gd name="connsiteX13" fmla="*/ 467644 w 578320"/>
              <a:gd name="connsiteY13" fmla="*/ 466888 h 533197"/>
              <a:gd name="connsiteX14" fmla="*/ 458421 w 578320"/>
              <a:gd name="connsiteY14" fmla="*/ 477939 h 533197"/>
              <a:gd name="connsiteX15" fmla="*/ 458421 w 578320"/>
              <a:gd name="connsiteY15" fmla="*/ 479781 h 533197"/>
              <a:gd name="connsiteX16" fmla="*/ 462110 w 578320"/>
              <a:gd name="connsiteY16" fmla="*/ 486228 h 533197"/>
              <a:gd name="connsiteX17" fmla="*/ 454732 w 578320"/>
              <a:gd name="connsiteY17" fmla="*/ 533197 h 533197"/>
              <a:gd name="connsiteX18" fmla="*/ 361579 w 578320"/>
              <a:gd name="connsiteY18" fmla="*/ 518462 h 533197"/>
              <a:gd name="connsiteX19" fmla="*/ 409539 w 578320"/>
              <a:gd name="connsiteY19" fmla="*/ 475176 h 533197"/>
              <a:gd name="connsiteX20" fmla="*/ 440897 w 578320"/>
              <a:gd name="connsiteY20" fmla="*/ 440180 h 533197"/>
              <a:gd name="connsiteX21" fmla="*/ 427063 w 578320"/>
              <a:gd name="connsiteY21" fmla="*/ 411630 h 533197"/>
              <a:gd name="connsiteX22" fmla="*/ 411383 w 578320"/>
              <a:gd name="connsiteY22" fmla="*/ 391369 h 533197"/>
              <a:gd name="connsiteX23" fmla="*/ 415995 w 578320"/>
              <a:gd name="connsiteY23" fmla="*/ 376634 h 533197"/>
              <a:gd name="connsiteX24" fmla="*/ 415995 w 578320"/>
              <a:gd name="connsiteY24" fmla="*/ 363740 h 533197"/>
              <a:gd name="connsiteX25" fmla="*/ 469488 w 578320"/>
              <a:gd name="connsiteY25" fmla="*/ 312166 h 533197"/>
              <a:gd name="connsiteX26" fmla="*/ 107909 w 578320"/>
              <a:gd name="connsiteY26" fmla="*/ 312166 h 533197"/>
              <a:gd name="connsiteX27" fmla="*/ 162325 w 578320"/>
              <a:gd name="connsiteY27" fmla="*/ 363740 h 533197"/>
              <a:gd name="connsiteX28" fmla="*/ 162325 w 578320"/>
              <a:gd name="connsiteY28" fmla="*/ 376634 h 533197"/>
              <a:gd name="connsiteX29" fmla="*/ 166937 w 578320"/>
              <a:gd name="connsiteY29" fmla="*/ 391369 h 533197"/>
              <a:gd name="connsiteX30" fmla="*/ 151257 w 578320"/>
              <a:gd name="connsiteY30" fmla="*/ 411630 h 533197"/>
              <a:gd name="connsiteX31" fmla="*/ 137423 w 578320"/>
              <a:gd name="connsiteY31" fmla="*/ 440180 h 533197"/>
              <a:gd name="connsiteX32" fmla="*/ 167859 w 578320"/>
              <a:gd name="connsiteY32" fmla="*/ 475176 h 533197"/>
              <a:gd name="connsiteX33" fmla="*/ 216741 w 578320"/>
              <a:gd name="connsiteY33" fmla="*/ 518462 h 533197"/>
              <a:gd name="connsiteX34" fmla="*/ 123588 w 578320"/>
              <a:gd name="connsiteY34" fmla="*/ 533197 h 533197"/>
              <a:gd name="connsiteX35" fmla="*/ 116210 w 578320"/>
              <a:gd name="connsiteY35" fmla="*/ 486228 h 533197"/>
              <a:gd name="connsiteX36" fmla="*/ 119899 w 578320"/>
              <a:gd name="connsiteY36" fmla="*/ 479781 h 533197"/>
              <a:gd name="connsiteX37" fmla="*/ 119899 w 578320"/>
              <a:gd name="connsiteY37" fmla="*/ 477939 h 533197"/>
              <a:gd name="connsiteX38" fmla="*/ 109754 w 578320"/>
              <a:gd name="connsiteY38" fmla="*/ 466888 h 533197"/>
              <a:gd name="connsiteX39" fmla="*/ 106987 w 578320"/>
              <a:gd name="connsiteY39" fmla="*/ 466888 h 533197"/>
              <a:gd name="connsiteX40" fmla="*/ 96842 w 578320"/>
              <a:gd name="connsiteY40" fmla="*/ 477939 h 533197"/>
              <a:gd name="connsiteX41" fmla="*/ 96842 w 578320"/>
              <a:gd name="connsiteY41" fmla="*/ 479781 h 533197"/>
              <a:gd name="connsiteX42" fmla="*/ 100531 w 578320"/>
              <a:gd name="connsiteY42" fmla="*/ 486228 h 533197"/>
              <a:gd name="connsiteX43" fmla="*/ 93152 w 578320"/>
              <a:gd name="connsiteY43" fmla="*/ 533197 h 533197"/>
              <a:gd name="connsiteX44" fmla="*/ 0 w 578320"/>
              <a:gd name="connsiteY44" fmla="*/ 518462 h 533197"/>
              <a:gd name="connsiteX45" fmla="*/ 48882 w 578320"/>
              <a:gd name="connsiteY45" fmla="*/ 475176 h 533197"/>
              <a:gd name="connsiteX46" fmla="*/ 79318 w 578320"/>
              <a:gd name="connsiteY46" fmla="*/ 440180 h 533197"/>
              <a:gd name="connsiteX47" fmla="*/ 65483 w 578320"/>
              <a:gd name="connsiteY47" fmla="*/ 411630 h 533197"/>
              <a:gd name="connsiteX48" fmla="*/ 49804 w 578320"/>
              <a:gd name="connsiteY48" fmla="*/ 391369 h 533197"/>
              <a:gd name="connsiteX49" fmla="*/ 54416 w 578320"/>
              <a:gd name="connsiteY49" fmla="*/ 376634 h 533197"/>
              <a:gd name="connsiteX50" fmla="*/ 54416 w 578320"/>
              <a:gd name="connsiteY50" fmla="*/ 363740 h 533197"/>
              <a:gd name="connsiteX51" fmla="*/ 107909 w 578320"/>
              <a:gd name="connsiteY51" fmla="*/ 312166 h 533197"/>
              <a:gd name="connsiteX52" fmla="*/ 288717 w 578320"/>
              <a:gd name="connsiteY52" fmla="*/ 237601 h 533197"/>
              <a:gd name="connsiteX53" fmla="*/ 303485 w 578320"/>
              <a:gd name="connsiteY53" fmla="*/ 252338 h 533197"/>
              <a:gd name="connsiteX54" fmla="*/ 303485 w 578320"/>
              <a:gd name="connsiteY54" fmla="*/ 331547 h 533197"/>
              <a:gd name="connsiteX55" fmla="*/ 384708 w 578320"/>
              <a:gd name="connsiteY55" fmla="*/ 398782 h 533197"/>
              <a:gd name="connsiteX56" fmla="*/ 386554 w 578320"/>
              <a:gd name="connsiteY56" fmla="*/ 419045 h 533197"/>
              <a:gd name="connsiteX57" fmla="*/ 375478 w 578320"/>
              <a:gd name="connsiteY57" fmla="*/ 423650 h 533197"/>
              <a:gd name="connsiteX58" fmla="*/ 366248 w 578320"/>
              <a:gd name="connsiteY58" fmla="*/ 420887 h 533197"/>
              <a:gd name="connsiteX59" fmla="*/ 288717 w 578320"/>
              <a:gd name="connsiteY59" fmla="*/ 356415 h 533197"/>
              <a:gd name="connsiteX60" fmla="*/ 212108 w 578320"/>
              <a:gd name="connsiteY60" fmla="*/ 420887 h 533197"/>
              <a:gd name="connsiteX61" fmla="*/ 191802 w 578320"/>
              <a:gd name="connsiteY61" fmla="*/ 419045 h 533197"/>
              <a:gd name="connsiteX62" fmla="*/ 193648 w 578320"/>
              <a:gd name="connsiteY62" fmla="*/ 398782 h 533197"/>
              <a:gd name="connsiteX63" fmla="*/ 274872 w 578320"/>
              <a:gd name="connsiteY63" fmla="*/ 331547 h 533197"/>
              <a:gd name="connsiteX64" fmla="*/ 274872 w 578320"/>
              <a:gd name="connsiteY64" fmla="*/ 252338 h 533197"/>
              <a:gd name="connsiteX65" fmla="*/ 288717 w 578320"/>
              <a:gd name="connsiteY65" fmla="*/ 237601 h 533197"/>
              <a:gd name="connsiteX66" fmla="*/ 288699 w 578320"/>
              <a:gd name="connsiteY66" fmla="*/ 0 h 533197"/>
              <a:gd name="connsiteX67" fmla="*/ 343115 w 578320"/>
              <a:gd name="connsiteY67" fmla="*/ 50653 h 533197"/>
              <a:gd name="connsiteX68" fmla="*/ 343115 w 578320"/>
              <a:gd name="connsiteY68" fmla="*/ 63546 h 533197"/>
              <a:gd name="connsiteX69" fmla="*/ 346805 w 578320"/>
              <a:gd name="connsiteY69" fmla="*/ 78282 h 533197"/>
              <a:gd name="connsiteX70" fmla="*/ 332048 w 578320"/>
              <a:gd name="connsiteY70" fmla="*/ 98543 h 533197"/>
              <a:gd name="connsiteX71" fmla="*/ 318213 w 578320"/>
              <a:gd name="connsiteY71" fmla="*/ 127093 h 533197"/>
              <a:gd name="connsiteX72" fmla="*/ 348649 w 578320"/>
              <a:gd name="connsiteY72" fmla="*/ 163010 h 533197"/>
              <a:gd name="connsiteX73" fmla="*/ 397531 w 578320"/>
              <a:gd name="connsiteY73" fmla="*/ 206295 h 533197"/>
              <a:gd name="connsiteX74" fmla="*/ 304379 w 578320"/>
              <a:gd name="connsiteY74" fmla="*/ 220110 h 533197"/>
              <a:gd name="connsiteX75" fmla="*/ 297000 w 578320"/>
              <a:gd name="connsiteY75" fmla="*/ 173141 h 533197"/>
              <a:gd name="connsiteX76" fmla="*/ 300689 w 578320"/>
              <a:gd name="connsiteY76" fmla="*/ 167615 h 533197"/>
              <a:gd name="connsiteX77" fmla="*/ 300689 w 578320"/>
              <a:gd name="connsiteY77" fmla="*/ 164852 h 533197"/>
              <a:gd name="connsiteX78" fmla="*/ 290544 w 578320"/>
              <a:gd name="connsiteY78" fmla="*/ 154722 h 533197"/>
              <a:gd name="connsiteX79" fmla="*/ 287777 w 578320"/>
              <a:gd name="connsiteY79" fmla="*/ 154722 h 533197"/>
              <a:gd name="connsiteX80" fmla="*/ 277632 w 578320"/>
              <a:gd name="connsiteY80" fmla="*/ 164852 h 533197"/>
              <a:gd name="connsiteX81" fmla="*/ 277632 w 578320"/>
              <a:gd name="connsiteY81" fmla="*/ 167615 h 533197"/>
              <a:gd name="connsiteX82" fmla="*/ 281321 w 578320"/>
              <a:gd name="connsiteY82" fmla="*/ 173141 h 533197"/>
              <a:gd name="connsiteX83" fmla="*/ 273943 w 578320"/>
              <a:gd name="connsiteY83" fmla="*/ 221031 h 533197"/>
              <a:gd name="connsiteX84" fmla="*/ 180790 w 578320"/>
              <a:gd name="connsiteY84" fmla="*/ 206295 h 533197"/>
              <a:gd name="connsiteX85" fmla="*/ 228750 w 578320"/>
              <a:gd name="connsiteY85" fmla="*/ 163010 h 533197"/>
              <a:gd name="connsiteX86" fmla="*/ 260108 w 578320"/>
              <a:gd name="connsiteY86" fmla="*/ 127093 h 533197"/>
              <a:gd name="connsiteX87" fmla="*/ 246274 w 578320"/>
              <a:gd name="connsiteY87" fmla="*/ 98543 h 533197"/>
              <a:gd name="connsiteX88" fmla="*/ 230594 w 578320"/>
              <a:gd name="connsiteY88" fmla="*/ 78282 h 533197"/>
              <a:gd name="connsiteX89" fmla="*/ 235206 w 578320"/>
              <a:gd name="connsiteY89" fmla="*/ 63546 h 533197"/>
              <a:gd name="connsiteX90" fmla="*/ 235206 w 578320"/>
              <a:gd name="connsiteY90" fmla="*/ 50653 h 533197"/>
              <a:gd name="connsiteX91" fmla="*/ 288699 w 578320"/>
              <a:gd name="connsiteY91" fmla="*/ 0 h 5331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</a:cxnLst>
            <a:rect l="l" t="t" r="r" b="b"/>
            <a:pathLst>
              <a:path w="578320" h="533197">
                <a:moveTo>
                  <a:pt x="469488" y="312166"/>
                </a:moveTo>
                <a:cubicBezTo>
                  <a:pt x="499002" y="312166"/>
                  <a:pt x="523904" y="335190"/>
                  <a:pt x="523904" y="363740"/>
                </a:cubicBezTo>
                <a:lnTo>
                  <a:pt x="523904" y="376634"/>
                </a:lnTo>
                <a:cubicBezTo>
                  <a:pt x="523904" y="376634"/>
                  <a:pt x="529438" y="381238"/>
                  <a:pt x="527594" y="391369"/>
                </a:cubicBezTo>
                <a:cubicBezTo>
                  <a:pt x="526671" y="404262"/>
                  <a:pt x="512837" y="411630"/>
                  <a:pt x="512837" y="411630"/>
                </a:cubicBezTo>
                <a:cubicBezTo>
                  <a:pt x="512837" y="411630"/>
                  <a:pt x="509147" y="430970"/>
                  <a:pt x="498080" y="440180"/>
                </a:cubicBezTo>
                <a:cubicBezTo>
                  <a:pt x="494391" y="467809"/>
                  <a:pt x="513759" y="470572"/>
                  <a:pt x="529438" y="475176"/>
                </a:cubicBezTo>
                <a:cubicBezTo>
                  <a:pt x="555263" y="483465"/>
                  <a:pt x="578320" y="485307"/>
                  <a:pt x="578320" y="518462"/>
                </a:cubicBezTo>
                <a:cubicBezTo>
                  <a:pt x="578320" y="525829"/>
                  <a:pt x="543273" y="532276"/>
                  <a:pt x="485168" y="533197"/>
                </a:cubicBezTo>
                <a:lnTo>
                  <a:pt x="477789" y="486228"/>
                </a:lnTo>
                <a:lnTo>
                  <a:pt x="481478" y="479781"/>
                </a:lnTo>
                <a:cubicBezTo>
                  <a:pt x="481478" y="478860"/>
                  <a:pt x="481478" y="477939"/>
                  <a:pt x="480556" y="477939"/>
                </a:cubicBezTo>
                <a:lnTo>
                  <a:pt x="471333" y="466888"/>
                </a:lnTo>
                <a:cubicBezTo>
                  <a:pt x="470411" y="465967"/>
                  <a:pt x="468566" y="465967"/>
                  <a:pt x="467644" y="466888"/>
                </a:cubicBezTo>
                <a:lnTo>
                  <a:pt x="458421" y="477939"/>
                </a:lnTo>
                <a:cubicBezTo>
                  <a:pt x="457499" y="477939"/>
                  <a:pt x="457499" y="478860"/>
                  <a:pt x="458421" y="479781"/>
                </a:cubicBezTo>
                <a:lnTo>
                  <a:pt x="462110" y="486228"/>
                </a:lnTo>
                <a:lnTo>
                  <a:pt x="454732" y="533197"/>
                </a:lnTo>
                <a:cubicBezTo>
                  <a:pt x="396627" y="532276"/>
                  <a:pt x="361579" y="525829"/>
                  <a:pt x="361579" y="518462"/>
                </a:cubicBezTo>
                <a:cubicBezTo>
                  <a:pt x="361579" y="485307"/>
                  <a:pt x="384637" y="483465"/>
                  <a:pt x="409539" y="475176"/>
                </a:cubicBezTo>
                <a:cubicBezTo>
                  <a:pt x="425218" y="470572"/>
                  <a:pt x="444586" y="466888"/>
                  <a:pt x="440897" y="440180"/>
                </a:cubicBezTo>
                <a:cubicBezTo>
                  <a:pt x="430752" y="430970"/>
                  <a:pt x="427063" y="411630"/>
                  <a:pt x="427063" y="411630"/>
                </a:cubicBezTo>
                <a:cubicBezTo>
                  <a:pt x="427063" y="411630"/>
                  <a:pt x="413228" y="404262"/>
                  <a:pt x="411383" y="391369"/>
                </a:cubicBezTo>
                <a:cubicBezTo>
                  <a:pt x="410461" y="381238"/>
                  <a:pt x="415995" y="376634"/>
                  <a:pt x="415995" y="376634"/>
                </a:cubicBezTo>
                <a:lnTo>
                  <a:pt x="415995" y="363740"/>
                </a:lnTo>
                <a:cubicBezTo>
                  <a:pt x="415995" y="335190"/>
                  <a:pt x="439975" y="312166"/>
                  <a:pt x="469488" y="312166"/>
                </a:cubicBezTo>
                <a:close/>
                <a:moveTo>
                  <a:pt x="107909" y="312166"/>
                </a:moveTo>
                <a:cubicBezTo>
                  <a:pt x="138345" y="312166"/>
                  <a:pt x="162325" y="335190"/>
                  <a:pt x="162325" y="363740"/>
                </a:cubicBezTo>
                <a:lnTo>
                  <a:pt x="162325" y="376634"/>
                </a:lnTo>
                <a:cubicBezTo>
                  <a:pt x="162325" y="376634"/>
                  <a:pt x="167859" y="381238"/>
                  <a:pt x="166937" y="391369"/>
                </a:cubicBezTo>
                <a:cubicBezTo>
                  <a:pt x="165092" y="404262"/>
                  <a:pt x="151257" y="411630"/>
                  <a:pt x="151257" y="411630"/>
                </a:cubicBezTo>
                <a:cubicBezTo>
                  <a:pt x="151257" y="411630"/>
                  <a:pt x="147568" y="430970"/>
                  <a:pt x="137423" y="440180"/>
                </a:cubicBezTo>
                <a:cubicBezTo>
                  <a:pt x="132811" y="467809"/>
                  <a:pt x="152180" y="470572"/>
                  <a:pt x="167859" y="475176"/>
                </a:cubicBezTo>
                <a:cubicBezTo>
                  <a:pt x="193684" y="483465"/>
                  <a:pt x="216741" y="485307"/>
                  <a:pt x="216741" y="518462"/>
                </a:cubicBezTo>
                <a:cubicBezTo>
                  <a:pt x="216741" y="525829"/>
                  <a:pt x="181693" y="532276"/>
                  <a:pt x="123588" y="533197"/>
                </a:cubicBezTo>
                <a:lnTo>
                  <a:pt x="116210" y="486228"/>
                </a:lnTo>
                <a:lnTo>
                  <a:pt x="119899" y="479781"/>
                </a:lnTo>
                <a:cubicBezTo>
                  <a:pt x="120821" y="478860"/>
                  <a:pt x="119899" y="477939"/>
                  <a:pt x="119899" y="477939"/>
                </a:cubicBezTo>
                <a:lnTo>
                  <a:pt x="109754" y="466888"/>
                </a:lnTo>
                <a:cubicBezTo>
                  <a:pt x="108832" y="465967"/>
                  <a:pt x="107909" y="465967"/>
                  <a:pt x="106987" y="466888"/>
                </a:cubicBezTo>
                <a:lnTo>
                  <a:pt x="96842" y="477939"/>
                </a:lnTo>
                <a:cubicBezTo>
                  <a:pt x="96842" y="477939"/>
                  <a:pt x="95919" y="478860"/>
                  <a:pt x="96842" y="479781"/>
                </a:cubicBezTo>
                <a:lnTo>
                  <a:pt x="100531" y="486228"/>
                </a:lnTo>
                <a:lnTo>
                  <a:pt x="93152" y="533197"/>
                </a:lnTo>
                <a:cubicBezTo>
                  <a:pt x="35047" y="532276"/>
                  <a:pt x="0" y="525829"/>
                  <a:pt x="0" y="518462"/>
                </a:cubicBezTo>
                <a:cubicBezTo>
                  <a:pt x="0" y="485307"/>
                  <a:pt x="23057" y="483465"/>
                  <a:pt x="48882" y="475176"/>
                </a:cubicBezTo>
                <a:cubicBezTo>
                  <a:pt x="64561" y="470572"/>
                  <a:pt x="83929" y="466888"/>
                  <a:pt x="79318" y="440180"/>
                </a:cubicBezTo>
                <a:cubicBezTo>
                  <a:pt x="69173" y="430970"/>
                  <a:pt x="65483" y="411630"/>
                  <a:pt x="65483" y="411630"/>
                </a:cubicBezTo>
                <a:cubicBezTo>
                  <a:pt x="65483" y="411630"/>
                  <a:pt x="51649" y="404262"/>
                  <a:pt x="49804" y="391369"/>
                </a:cubicBezTo>
                <a:cubicBezTo>
                  <a:pt x="48882" y="381238"/>
                  <a:pt x="54416" y="376634"/>
                  <a:pt x="54416" y="376634"/>
                </a:cubicBezTo>
                <a:lnTo>
                  <a:pt x="54416" y="363740"/>
                </a:lnTo>
                <a:cubicBezTo>
                  <a:pt x="54416" y="335190"/>
                  <a:pt x="78396" y="312166"/>
                  <a:pt x="107909" y="312166"/>
                </a:cubicBezTo>
                <a:close/>
                <a:moveTo>
                  <a:pt x="288717" y="237601"/>
                </a:moveTo>
                <a:cubicBezTo>
                  <a:pt x="297024" y="237601"/>
                  <a:pt x="303485" y="244048"/>
                  <a:pt x="303485" y="252338"/>
                </a:cubicBezTo>
                <a:lnTo>
                  <a:pt x="303485" y="331547"/>
                </a:lnTo>
                <a:lnTo>
                  <a:pt x="384708" y="398782"/>
                </a:lnTo>
                <a:cubicBezTo>
                  <a:pt x="390246" y="403387"/>
                  <a:pt x="391169" y="412598"/>
                  <a:pt x="386554" y="419045"/>
                </a:cubicBezTo>
                <a:cubicBezTo>
                  <a:pt x="383785" y="421808"/>
                  <a:pt x="379170" y="423650"/>
                  <a:pt x="375478" y="423650"/>
                </a:cubicBezTo>
                <a:cubicBezTo>
                  <a:pt x="371786" y="423650"/>
                  <a:pt x="369017" y="422729"/>
                  <a:pt x="366248" y="420887"/>
                </a:cubicBezTo>
                <a:lnTo>
                  <a:pt x="288717" y="356415"/>
                </a:lnTo>
                <a:lnTo>
                  <a:pt x="212108" y="420887"/>
                </a:lnTo>
                <a:cubicBezTo>
                  <a:pt x="205647" y="425492"/>
                  <a:pt x="196417" y="424571"/>
                  <a:pt x="191802" y="419045"/>
                </a:cubicBezTo>
                <a:cubicBezTo>
                  <a:pt x="186264" y="412598"/>
                  <a:pt x="187187" y="403387"/>
                  <a:pt x="193648" y="398782"/>
                </a:cubicBezTo>
                <a:lnTo>
                  <a:pt x="274872" y="331547"/>
                </a:lnTo>
                <a:lnTo>
                  <a:pt x="274872" y="252338"/>
                </a:lnTo>
                <a:cubicBezTo>
                  <a:pt x="274872" y="244048"/>
                  <a:pt x="281333" y="237601"/>
                  <a:pt x="288717" y="237601"/>
                </a:cubicBezTo>
                <a:close/>
                <a:moveTo>
                  <a:pt x="288699" y="0"/>
                </a:moveTo>
                <a:cubicBezTo>
                  <a:pt x="318213" y="0"/>
                  <a:pt x="343115" y="22103"/>
                  <a:pt x="343115" y="50653"/>
                </a:cubicBezTo>
                <a:lnTo>
                  <a:pt x="343115" y="63546"/>
                </a:lnTo>
                <a:cubicBezTo>
                  <a:pt x="343115" y="63546"/>
                  <a:pt x="348649" y="68151"/>
                  <a:pt x="346805" y="78282"/>
                </a:cubicBezTo>
                <a:cubicBezTo>
                  <a:pt x="345882" y="92096"/>
                  <a:pt x="332048" y="98543"/>
                  <a:pt x="332048" y="98543"/>
                </a:cubicBezTo>
                <a:cubicBezTo>
                  <a:pt x="332048" y="98543"/>
                  <a:pt x="328358" y="117883"/>
                  <a:pt x="318213" y="127093"/>
                </a:cubicBezTo>
                <a:cubicBezTo>
                  <a:pt x="313602" y="154722"/>
                  <a:pt x="332970" y="157484"/>
                  <a:pt x="348649" y="163010"/>
                </a:cubicBezTo>
                <a:cubicBezTo>
                  <a:pt x="374474" y="171299"/>
                  <a:pt x="397531" y="172220"/>
                  <a:pt x="397531" y="206295"/>
                </a:cubicBezTo>
                <a:cubicBezTo>
                  <a:pt x="397531" y="212742"/>
                  <a:pt x="362484" y="219189"/>
                  <a:pt x="304379" y="220110"/>
                </a:cubicBezTo>
                <a:lnTo>
                  <a:pt x="297000" y="173141"/>
                </a:lnTo>
                <a:lnTo>
                  <a:pt x="300689" y="167615"/>
                </a:lnTo>
                <a:cubicBezTo>
                  <a:pt x="300689" y="166694"/>
                  <a:pt x="300689" y="165773"/>
                  <a:pt x="300689" y="164852"/>
                </a:cubicBezTo>
                <a:lnTo>
                  <a:pt x="290544" y="154722"/>
                </a:lnTo>
                <a:cubicBezTo>
                  <a:pt x="289622" y="153801"/>
                  <a:pt x="287777" y="153801"/>
                  <a:pt x="287777" y="154722"/>
                </a:cubicBezTo>
                <a:lnTo>
                  <a:pt x="277632" y="164852"/>
                </a:lnTo>
                <a:cubicBezTo>
                  <a:pt x="276710" y="165773"/>
                  <a:pt x="276710" y="166694"/>
                  <a:pt x="277632" y="167615"/>
                </a:cubicBezTo>
                <a:lnTo>
                  <a:pt x="281321" y="173141"/>
                </a:lnTo>
                <a:lnTo>
                  <a:pt x="273943" y="221031"/>
                </a:lnTo>
                <a:cubicBezTo>
                  <a:pt x="215838" y="219189"/>
                  <a:pt x="180790" y="212742"/>
                  <a:pt x="180790" y="206295"/>
                </a:cubicBezTo>
                <a:cubicBezTo>
                  <a:pt x="180790" y="172220"/>
                  <a:pt x="203848" y="171299"/>
                  <a:pt x="228750" y="163010"/>
                </a:cubicBezTo>
                <a:cubicBezTo>
                  <a:pt x="244429" y="157484"/>
                  <a:pt x="264720" y="154722"/>
                  <a:pt x="260108" y="127093"/>
                </a:cubicBezTo>
                <a:cubicBezTo>
                  <a:pt x="249963" y="117883"/>
                  <a:pt x="246274" y="98543"/>
                  <a:pt x="246274" y="98543"/>
                </a:cubicBezTo>
                <a:cubicBezTo>
                  <a:pt x="246274" y="98543"/>
                  <a:pt x="232439" y="92096"/>
                  <a:pt x="230594" y="78282"/>
                </a:cubicBezTo>
                <a:cubicBezTo>
                  <a:pt x="229672" y="68151"/>
                  <a:pt x="235206" y="63546"/>
                  <a:pt x="235206" y="63546"/>
                </a:cubicBezTo>
                <a:lnTo>
                  <a:pt x="235206" y="50653"/>
                </a:lnTo>
                <a:cubicBezTo>
                  <a:pt x="235206" y="22103"/>
                  <a:pt x="259186" y="0"/>
                  <a:pt x="288699" y="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noFill/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7" name="圆角矩形 10"/>
          <p:cNvSpPr/>
          <p:nvPr/>
        </p:nvSpPr>
        <p:spPr>
          <a:xfrm>
            <a:off x="9088223" y="5005794"/>
            <a:ext cx="765275" cy="76527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8" name="圆角矩形 11"/>
          <p:cNvSpPr/>
          <p:nvPr/>
        </p:nvSpPr>
        <p:spPr>
          <a:xfrm>
            <a:off x="9264321" y="5182180"/>
            <a:ext cx="413078" cy="412502"/>
          </a:xfrm>
          <a:custGeom>
            <a:avLst/>
            <a:gdLst>
              <a:gd name="connsiteX0" fmla="*/ 145802 w 608415"/>
              <a:gd name="connsiteY0" fmla="*/ 316204 h 607568"/>
              <a:gd name="connsiteX1" fmla="*/ 335878 w 608415"/>
              <a:gd name="connsiteY1" fmla="*/ 316204 h 607568"/>
              <a:gd name="connsiteX2" fmla="*/ 355085 w 608415"/>
              <a:gd name="connsiteY2" fmla="*/ 335363 h 607568"/>
              <a:gd name="connsiteX3" fmla="*/ 335878 w 608415"/>
              <a:gd name="connsiteY3" fmla="*/ 354521 h 607568"/>
              <a:gd name="connsiteX4" fmla="*/ 145802 w 608415"/>
              <a:gd name="connsiteY4" fmla="*/ 354521 h 607568"/>
              <a:gd name="connsiteX5" fmla="*/ 126594 w 608415"/>
              <a:gd name="connsiteY5" fmla="*/ 335363 h 607568"/>
              <a:gd name="connsiteX6" fmla="*/ 145802 w 608415"/>
              <a:gd name="connsiteY6" fmla="*/ 316204 h 607568"/>
              <a:gd name="connsiteX7" fmla="*/ 145799 w 608415"/>
              <a:gd name="connsiteY7" fmla="*/ 252977 h 607568"/>
              <a:gd name="connsiteX8" fmla="*/ 430791 w 608415"/>
              <a:gd name="connsiteY8" fmla="*/ 252977 h 607568"/>
              <a:gd name="connsiteX9" fmla="*/ 449995 w 608415"/>
              <a:gd name="connsiteY9" fmla="*/ 272171 h 607568"/>
              <a:gd name="connsiteX10" fmla="*/ 430791 w 608415"/>
              <a:gd name="connsiteY10" fmla="*/ 291365 h 607568"/>
              <a:gd name="connsiteX11" fmla="*/ 145799 w 608415"/>
              <a:gd name="connsiteY11" fmla="*/ 291365 h 607568"/>
              <a:gd name="connsiteX12" fmla="*/ 126594 w 608415"/>
              <a:gd name="connsiteY12" fmla="*/ 272171 h 607568"/>
              <a:gd name="connsiteX13" fmla="*/ 145799 w 608415"/>
              <a:gd name="connsiteY13" fmla="*/ 252977 h 607568"/>
              <a:gd name="connsiteX14" fmla="*/ 145805 w 608415"/>
              <a:gd name="connsiteY14" fmla="*/ 189750 h 607568"/>
              <a:gd name="connsiteX15" fmla="*/ 209279 w 608415"/>
              <a:gd name="connsiteY15" fmla="*/ 189750 h 607568"/>
              <a:gd name="connsiteX16" fmla="*/ 228490 w 608415"/>
              <a:gd name="connsiteY16" fmla="*/ 208944 h 607568"/>
              <a:gd name="connsiteX17" fmla="*/ 209279 w 608415"/>
              <a:gd name="connsiteY17" fmla="*/ 228138 h 607568"/>
              <a:gd name="connsiteX18" fmla="*/ 145805 w 608415"/>
              <a:gd name="connsiteY18" fmla="*/ 228138 h 607568"/>
              <a:gd name="connsiteX19" fmla="*/ 126594 w 608415"/>
              <a:gd name="connsiteY19" fmla="*/ 208944 h 607568"/>
              <a:gd name="connsiteX20" fmla="*/ 145805 w 608415"/>
              <a:gd name="connsiteY20" fmla="*/ 189750 h 607568"/>
              <a:gd name="connsiteX21" fmla="*/ 70060 w 608415"/>
              <a:gd name="connsiteY21" fmla="*/ 133174 h 607568"/>
              <a:gd name="connsiteX22" fmla="*/ 70060 w 608415"/>
              <a:gd name="connsiteY22" fmla="*/ 442788 h 607568"/>
              <a:gd name="connsiteX23" fmla="*/ 538355 w 608415"/>
              <a:gd name="connsiteY23" fmla="*/ 442788 h 607568"/>
              <a:gd name="connsiteX24" fmla="*/ 538355 w 608415"/>
              <a:gd name="connsiteY24" fmla="*/ 133174 h 607568"/>
              <a:gd name="connsiteX25" fmla="*/ 38410 w 608415"/>
              <a:gd name="connsiteY25" fmla="*/ 69962 h 607568"/>
              <a:gd name="connsiteX26" fmla="*/ 38410 w 608415"/>
              <a:gd name="connsiteY26" fmla="*/ 94817 h 607568"/>
              <a:gd name="connsiteX27" fmla="*/ 570005 w 608415"/>
              <a:gd name="connsiteY27" fmla="*/ 94817 h 607568"/>
              <a:gd name="connsiteX28" fmla="*/ 570005 w 608415"/>
              <a:gd name="connsiteY28" fmla="*/ 69962 h 607568"/>
              <a:gd name="connsiteX29" fmla="*/ 304208 w 608415"/>
              <a:gd name="connsiteY29" fmla="*/ 0 h 607568"/>
              <a:gd name="connsiteX30" fmla="*/ 323413 w 608415"/>
              <a:gd name="connsiteY30" fmla="*/ 19178 h 607568"/>
              <a:gd name="connsiteX31" fmla="*/ 323413 w 608415"/>
              <a:gd name="connsiteY31" fmla="*/ 31606 h 607568"/>
              <a:gd name="connsiteX32" fmla="*/ 589210 w 608415"/>
              <a:gd name="connsiteY32" fmla="*/ 31606 h 607568"/>
              <a:gd name="connsiteX33" fmla="*/ 608415 w 608415"/>
              <a:gd name="connsiteY33" fmla="*/ 50784 h 607568"/>
              <a:gd name="connsiteX34" fmla="*/ 608415 w 608415"/>
              <a:gd name="connsiteY34" fmla="*/ 113995 h 607568"/>
              <a:gd name="connsiteX35" fmla="*/ 589210 w 608415"/>
              <a:gd name="connsiteY35" fmla="*/ 133174 h 607568"/>
              <a:gd name="connsiteX36" fmla="*/ 576765 w 608415"/>
              <a:gd name="connsiteY36" fmla="*/ 133174 h 607568"/>
              <a:gd name="connsiteX37" fmla="*/ 576765 w 608415"/>
              <a:gd name="connsiteY37" fmla="*/ 461967 h 607568"/>
              <a:gd name="connsiteX38" fmla="*/ 557560 w 608415"/>
              <a:gd name="connsiteY38" fmla="*/ 481145 h 607568"/>
              <a:gd name="connsiteX39" fmla="*/ 342618 w 608415"/>
              <a:gd name="connsiteY39" fmla="*/ 481145 h 607568"/>
              <a:gd name="connsiteX40" fmla="*/ 414521 w 608415"/>
              <a:gd name="connsiteY40" fmla="*/ 576883 h 607568"/>
              <a:gd name="connsiteX41" fmla="*/ 410680 w 608415"/>
              <a:gd name="connsiteY41" fmla="*/ 603733 h 607568"/>
              <a:gd name="connsiteX42" fmla="*/ 399157 w 608415"/>
              <a:gd name="connsiteY42" fmla="*/ 607568 h 607568"/>
              <a:gd name="connsiteX43" fmla="*/ 383793 w 608415"/>
              <a:gd name="connsiteY43" fmla="*/ 599897 h 607568"/>
              <a:gd name="connsiteX44" fmla="*/ 323413 w 608415"/>
              <a:gd name="connsiteY44" fmla="*/ 519348 h 607568"/>
              <a:gd name="connsiteX45" fmla="*/ 323413 w 608415"/>
              <a:gd name="connsiteY45" fmla="*/ 588390 h 607568"/>
              <a:gd name="connsiteX46" fmla="*/ 304208 w 608415"/>
              <a:gd name="connsiteY46" fmla="*/ 607568 h 607568"/>
              <a:gd name="connsiteX47" fmla="*/ 285003 w 608415"/>
              <a:gd name="connsiteY47" fmla="*/ 588390 h 607568"/>
              <a:gd name="connsiteX48" fmla="*/ 285003 w 608415"/>
              <a:gd name="connsiteY48" fmla="*/ 519348 h 607568"/>
              <a:gd name="connsiteX49" fmla="*/ 224622 w 608415"/>
              <a:gd name="connsiteY49" fmla="*/ 599897 h 607568"/>
              <a:gd name="connsiteX50" fmla="*/ 209258 w 608415"/>
              <a:gd name="connsiteY50" fmla="*/ 607568 h 607568"/>
              <a:gd name="connsiteX51" fmla="*/ 197735 w 608415"/>
              <a:gd name="connsiteY51" fmla="*/ 603733 h 607568"/>
              <a:gd name="connsiteX52" fmla="*/ 193894 w 608415"/>
              <a:gd name="connsiteY52" fmla="*/ 576883 h 607568"/>
              <a:gd name="connsiteX53" fmla="*/ 265798 w 608415"/>
              <a:gd name="connsiteY53" fmla="*/ 481145 h 607568"/>
              <a:gd name="connsiteX54" fmla="*/ 50855 w 608415"/>
              <a:gd name="connsiteY54" fmla="*/ 481145 h 607568"/>
              <a:gd name="connsiteX55" fmla="*/ 31650 w 608415"/>
              <a:gd name="connsiteY55" fmla="*/ 461967 h 607568"/>
              <a:gd name="connsiteX56" fmla="*/ 31650 w 608415"/>
              <a:gd name="connsiteY56" fmla="*/ 133174 h 607568"/>
              <a:gd name="connsiteX57" fmla="*/ 19205 w 608415"/>
              <a:gd name="connsiteY57" fmla="*/ 133174 h 607568"/>
              <a:gd name="connsiteX58" fmla="*/ 0 w 608415"/>
              <a:gd name="connsiteY58" fmla="*/ 113995 h 607568"/>
              <a:gd name="connsiteX59" fmla="*/ 0 w 608415"/>
              <a:gd name="connsiteY59" fmla="*/ 50784 h 607568"/>
              <a:gd name="connsiteX60" fmla="*/ 19205 w 608415"/>
              <a:gd name="connsiteY60" fmla="*/ 31606 h 607568"/>
              <a:gd name="connsiteX61" fmla="*/ 285003 w 608415"/>
              <a:gd name="connsiteY61" fmla="*/ 31606 h 607568"/>
              <a:gd name="connsiteX62" fmla="*/ 285003 w 608415"/>
              <a:gd name="connsiteY62" fmla="*/ 19178 h 607568"/>
              <a:gd name="connsiteX63" fmla="*/ 304208 w 608415"/>
              <a:gd name="connsiteY63" fmla="*/ 0 h 6075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</a:cxnLst>
            <a:rect l="l" t="t" r="r" b="b"/>
            <a:pathLst>
              <a:path w="608415" h="607568">
                <a:moveTo>
                  <a:pt x="145802" y="316204"/>
                </a:moveTo>
                <a:lnTo>
                  <a:pt x="335878" y="316204"/>
                </a:lnTo>
                <a:cubicBezTo>
                  <a:pt x="346480" y="316204"/>
                  <a:pt x="355085" y="324787"/>
                  <a:pt x="355085" y="335363"/>
                </a:cubicBezTo>
                <a:cubicBezTo>
                  <a:pt x="355085" y="345938"/>
                  <a:pt x="346480" y="354521"/>
                  <a:pt x="335878" y="354521"/>
                </a:cubicBezTo>
                <a:lnTo>
                  <a:pt x="145802" y="354521"/>
                </a:lnTo>
                <a:cubicBezTo>
                  <a:pt x="135199" y="354521"/>
                  <a:pt x="126594" y="345938"/>
                  <a:pt x="126594" y="335363"/>
                </a:cubicBezTo>
                <a:cubicBezTo>
                  <a:pt x="126594" y="324787"/>
                  <a:pt x="135199" y="316204"/>
                  <a:pt x="145802" y="316204"/>
                </a:cubicBezTo>
                <a:close/>
                <a:moveTo>
                  <a:pt x="145799" y="252977"/>
                </a:moveTo>
                <a:lnTo>
                  <a:pt x="430791" y="252977"/>
                </a:lnTo>
                <a:cubicBezTo>
                  <a:pt x="441392" y="252977"/>
                  <a:pt x="449995" y="261576"/>
                  <a:pt x="449995" y="272171"/>
                </a:cubicBezTo>
                <a:cubicBezTo>
                  <a:pt x="449995" y="282766"/>
                  <a:pt x="441392" y="291365"/>
                  <a:pt x="430791" y="291365"/>
                </a:cubicBezTo>
                <a:lnTo>
                  <a:pt x="145799" y="291365"/>
                </a:lnTo>
                <a:cubicBezTo>
                  <a:pt x="135198" y="291365"/>
                  <a:pt x="126594" y="282766"/>
                  <a:pt x="126594" y="272171"/>
                </a:cubicBezTo>
                <a:cubicBezTo>
                  <a:pt x="126594" y="261576"/>
                  <a:pt x="135198" y="252977"/>
                  <a:pt x="145799" y="252977"/>
                </a:cubicBezTo>
                <a:close/>
                <a:moveTo>
                  <a:pt x="145805" y="189750"/>
                </a:moveTo>
                <a:lnTo>
                  <a:pt x="209279" y="189750"/>
                </a:lnTo>
                <a:cubicBezTo>
                  <a:pt x="219884" y="189750"/>
                  <a:pt x="228490" y="198349"/>
                  <a:pt x="228490" y="208944"/>
                </a:cubicBezTo>
                <a:cubicBezTo>
                  <a:pt x="228490" y="219539"/>
                  <a:pt x="219884" y="228138"/>
                  <a:pt x="209279" y="228138"/>
                </a:cubicBezTo>
                <a:lnTo>
                  <a:pt x="145805" y="228138"/>
                </a:lnTo>
                <a:cubicBezTo>
                  <a:pt x="135201" y="228138"/>
                  <a:pt x="126594" y="219539"/>
                  <a:pt x="126594" y="208944"/>
                </a:cubicBezTo>
                <a:cubicBezTo>
                  <a:pt x="126594" y="198349"/>
                  <a:pt x="135201" y="189750"/>
                  <a:pt x="145805" y="189750"/>
                </a:cubicBezTo>
                <a:close/>
                <a:moveTo>
                  <a:pt x="70060" y="133174"/>
                </a:moveTo>
                <a:lnTo>
                  <a:pt x="70060" y="442788"/>
                </a:lnTo>
                <a:lnTo>
                  <a:pt x="538355" y="442788"/>
                </a:lnTo>
                <a:lnTo>
                  <a:pt x="538355" y="133174"/>
                </a:lnTo>
                <a:close/>
                <a:moveTo>
                  <a:pt x="38410" y="69962"/>
                </a:moveTo>
                <a:lnTo>
                  <a:pt x="38410" y="94817"/>
                </a:lnTo>
                <a:lnTo>
                  <a:pt x="570005" y="94817"/>
                </a:lnTo>
                <a:lnTo>
                  <a:pt x="570005" y="69962"/>
                </a:lnTo>
                <a:close/>
                <a:moveTo>
                  <a:pt x="304208" y="0"/>
                </a:moveTo>
                <a:cubicBezTo>
                  <a:pt x="314809" y="0"/>
                  <a:pt x="323413" y="8592"/>
                  <a:pt x="323413" y="19178"/>
                </a:cubicBezTo>
                <a:lnTo>
                  <a:pt x="323413" y="31606"/>
                </a:lnTo>
                <a:lnTo>
                  <a:pt x="589210" y="31606"/>
                </a:lnTo>
                <a:cubicBezTo>
                  <a:pt x="599811" y="31606"/>
                  <a:pt x="608415" y="40197"/>
                  <a:pt x="608415" y="50784"/>
                </a:cubicBezTo>
                <a:lnTo>
                  <a:pt x="608415" y="113995"/>
                </a:lnTo>
                <a:cubicBezTo>
                  <a:pt x="608415" y="124582"/>
                  <a:pt x="599811" y="133174"/>
                  <a:pt x="589210" y="133174"/>
                </a:cubicBezTo>
                <a:lnTo>
                  <a:pt x="576765" y="133174"/>
                </a:lnTo>
                <a:lnTo>
                  <a:pt x="576765" y="461967"/>
                </a:lnTo>
                <a:cubicBezTo>
                  <a:pt x="576765" y="472553"/>
                  <a:pt x="568161" y="481145"/>
                  <a:pt x="557560" y="481145"/>
                </a:cubicBezTo>
                <a:lnTo>
                  <a:pt x="342618" y="481145"/>
                </a:lnTo>
                <a:lnTo>
                  <a:pt x="414521" y="576883"/>
                </a:lnTo>
                <a:cubicBezTo>
                  <a:pt x="420974" y="585321"/>
                  <a:pt x="419284" y="597442"/>
                  <a:pt x="410680" y="603733"/>
                </a:cubicBezTo>
                <a:cubicBezTo>
                  <a:pt x="407300" y="606341"/>
                  <a:pt x="403306" y="607568"/>
                  <a:pt x="399157" y="607568"/>
                </a:cubicBezTo>
                <a:cubicBezTo>
                  <a:pt x="393319" y="607568"/>
                  <a:pt x="387634" y="604960"/>
                  <a:pt x="383793" y="599897"/>
                </a:cubicBezTo>
                <a:lnTo>
                  <a:pt x="323413" y="519348"/>
                </a:lnTo>
                <a:lnTo>
                  <a:pt x="323413" y="588390"/>
                </a:lnTo>
                <a:cubicBezTo>
                  <a:pt x="323413" y="598976"/>
                  <a:pt x="314809" y="607568"/>
                  <a:pt x="304208" y="607568"/>
                </a:cubicBezTo>
                <a:cubicBezTo>
                  <a:pt x="293607" y="607568"/>
                  <a:pt x="285003" y="598976"/>
                  <a:pt x="285003" y="588390"/>
                </a:cubicBezTo>
                <a:lnTo>
                  <a:pt x="285003" y="519348"/>
                </a:lnTo>
                <a:lnTo>
                  <a:pt x="224622" y="599897"/>
                </a:lnTo>
                <a:cubicBezTo>
                  <a:pt x="220781" y="604960"/>
                  <a:pt x="215096" y="607568"/>
                  <a:pt x="209258" y="607568"/>
                </a:cubicBezTo>
                <a:cubicBezTo>
                  <a:pt x="205110" y="607568"/>
                  <a:pt x="201115" y="606341"/>
                  <a:pt x="197735" y="603733"/>
                </a:cubicBezTo>
                <a:cubicBezTo>
                  <a:pt x="189131" y="597442"/>
                  <a:pt x="187441" y="585321"/>
                  <a:pt x="193894" y="576883"/>
                </a:cubicBezTo>
                <a:lnTo>
                  <a:pt x="265798" y="481145"/>
                </a:lnTo>
                <a:lnTo>
                  <a:pt x="50855" y="481145"/>
                </a:lnTo>
                <a:cubicBezTo>
                  <a:pt x="40253" y="481145"/>
                  <a:pt x="31650" y="472553"/>
                  <a:pt x="31650" y="461967"/>
                </a:cubicBezTo>
                <a:lnTo>
                  <a:pt x="31650" y="133174"/>
                </a:lnTo>
                <a:lnTo>
                  <a:pt x="19205" y="133174"/>
                </a:lnTo>
                <a:cubicBezTo>
                  <a:pt x="8604" y="133174"/>
                  <a:pt x="0" y="124582"/>
                  <a:pt x="0" y="113995"/>
                </a:cubicBezTo>
                <a:lnTo>
                  <a:pt x="0" y="50784"/>
                </a:lnTo>
                <a:cubicBezTo>
                  <a:pt x="0" y="40197"/>
                  <a:pt x="8604" y="31606"/>
                  <a:pt x="19205" y="31606"/>
                </a:cubicBezTo>
                <a:lnTo>
                  <a:pt x="285003" y="31606"/>
                </a:lnTo>
                <a:lnTo>
                  <a:pt x="285003" y="19178"/>
                </a:lnTo>
                <a:cubicBezTo>
                  <a:pt x="285003" y="8592"/>
                  <a:pt x="293607" y="0"/>
                  <a:pt x="304208" y="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noFill/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9" name="圆角矩形 13"/>
          <p:cNvSpPr/>
          <p:nvPr/>
        </p:nvSpPr>
        <p:spPr>
          <a:xfrm>
            <a:off x="10294610" y="5005794"/>
            <a:ext cx="765275" cy="765275"/>
          </a:xfrm>
          <a:prstGeom prst="round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0" name="圆角矩形 14"/>
          <p:cNvSpPr/>
          <p:nvPr/>
        </p:nvSpPr>
        <p:spPr>
          <a:xfrm>
            <a:off x="10470708" y="5189884"/>
            <a:ext cx="413078" cy="397094"/>
          </a:xfrm>
          <a:custGeom>
            <a:avLst/>
            <a:gdLst>
              <a:gd name="connsiteX0" fmla="*/ 241391 w 516922"/>
              <a:gd name="connsiteY0" fmla="*/ 466920 h 496921"/>
              <a:gd name="connsiteX1" fmla="*/ 374792 w 516922"/>
              <a:gd name="connsiteY1" fmla="*/ 466920 h 496921"/>
              <a:gd name="connsiteX2" fmla="*/ 394157 w 516922"/>
              <a:gd name="connsiteY2" fmla="*/ 492438 h 496921"/>
              <a:gd name="connsiteX3" fmla="*/ 241391 w 516922"/>
              <a:gd name="connsiteY3" fmla="*/ 492438 h 496921"/>
              <a:gd name="connsiteX4" fmla="*/ 45175 w 516922"/>
              <a:gd name="connsiteY4" fmla="*/ 266910 h 496921"/>
              <a:gd name="connsiteX5" fmla="*/ 178975 w 516922"/>
              <a:gd name="connsiteY5" fmla="*/ 266910 h 496921"/>
              <a:gd name="connsiteX6" fmla="*/ 178975 w 516922"/>
              <a:gd name="connsiteY6" fmla="*/ 312085 h 496921"/>
              <a:gd name="connsiteX7" fmla="*/ 45175 w 516922"/>
              <a:gd name="connsiteY7" fmla="*/ 312085 h 496921"/>
              <a:gd name="connsiteX8" fmla="*/ 45175 w 516922"/>
              <a:gd name="connsiteY8" fmla="*/ 167939 h 496921"/>
              <a:gd name="connsiteX9" fmla="*/ 178975 w 516922"/>
              <a:gd name="connsiteY9" fmla="*/ 167939 h 496921"/>
              <a:gd name="connsiteX10" fmla="*/ 178975 w 516922"/>
              <a:gd name="connsiteY10" fmla="*/ 213114 h 496921"/>
              <a:gd name="connsiteX11" fmla="*/ 45175 w 516922"/>
              <a:gd name="connsiteY11" fmla="*/ 213114 h 496921"/>
              <a:gd name="connsiteX12" fmla="*/ 254150 w 516922"/>
              <a:gd name="connsiteY12" fmla="*/ 92418 h 496921"/>
              <a:gd name="connsiteX13" fmla="*/ 497537 w 516922"/>
              <a:gd name="connsiteY13" fmla="*/ 92418 h 496921"/>
              <a:gd name="connsiteX14" fmla="*/ 516922 w 516922"/>
              <a:gd name="connsiteY14" fmla="*/ 111788 h 496921"/>
              <a:gd name="connsiteX15" fmla="*/ 516922 w 516922"/>
              <a:gd name="connsiteY15" fmla="*/ 402340 h 496921"/>
              <a:gd name="connsiteX16" fmla="*/ 497537 w 516922"/>
              <a:gd name="connsiteY16" fmla="*/ 421710 h 496921"/>
              <a:gd name="connsiteX17" fmla="*/ 359690 w 516922"/>
              <a:gd name="connsiteY17" fmla="*/ 421710 h 496921"/>
              <a:gd name="connsiteX18" fmla="*/ 359690 w 516922"/>
              <a:gd name="connsiteY18" fmla="*/ 458298 h 496921"/>
              <a:gd name="connsiteX19" fmla="*/ 254150 w 516922"/>
              <a:gd name="connsiteY19" fmla="*/ 458298 h 496921"/>
              <a:gd name="connsiteX20" fmla="*/ 254150 w 516922"/>
              <a:gd name="connsiteY20" fmla="*/ 382970 h 496921"/>
              <a:gd name="connsiteX21" fmla="*/ 478152 w 516922"/>
              <a:gd name="connsiteY21" fmla="*/ 382970 h 496921"/>
              <a:gd name="connsiteX22" fmla="*/ 478152 w 516922"/>
              <a:gd name="connsiteY22" fmla="*/ 131158 h 496921"/>
              <a:gd name="connsiteX23" fmla="*/ 254150 w 516922"/>
              <a:gd name="connsiteY23" fmla="*/ 131158 h 496921"/>
              <a:gd name="connsiteX24" fmla="*/ 45175 w 516922"/>
              <a:gd name="connsiteY24" fmla="*/ 75176 h 496921"/>
              <a:gd name="connsiteX25" fmla="*/ 178975 w 516922"/>
              <a:gd name="connsiteY25" fmla="*/ 75176 h 496921"/>
              <a:gd name="connsiteX26" fmla="*/ 178975 w 516922"/>
              <a:gd name="connsiteY26" fmla="*/ 120351 h 496921"/>
              <a:gd name="connsiteX27" fmla="*/ 45175 w 516922"/>
              <a:gd name="connsiteY27" fmla="*/ 120351 h 496921"/>
              <a:gd name="connsiteX28" fmla="*/ 28019 w 516922"/>
              <a:gd name="connsiteY28" fmla="*/ 27965 h 496921"/>
              <a:gd name="connsiteX29" fmla="*/ 28019 w 516922"/>
              <a:gd name="connsiteY29" fmla="*/ 466805 h 496921"/>
              <a:gd name="connsiteX30" fmla="*/ 196130 w 516922"/>
              <a:gd name="connsiteY30" fmla="*/ 466805 h 496921"/>
              <a:gd name="connsiteX31" fmla="*/ 196130 w 516922"/>
              <a:gd name="connsiteY31" fmla="*/ 27965 h 496921"/>
              <a:gd name="connsiteX32" fmla="*/ 28019 w 516922"/>
              <a:gd name="connsiteY32" fmla="*/ 0 h 496921"/>
              <a:gd name="connsiteX33" fmla="*/ 196130 w 516922"/>
              <a:gd name="connsiteY33" fmla="*/ 0 h 496921"/>
              <a:gd name="connsiteX34" fmla="*/ 224149 w 516922"/>
              <a:gd name="connsiteY34" fmla="*/ 27965 h 496921"/>
              <a:gd name="connsiteX35" fmla="*/ 224149 w 516922"/>
              <a:gd name="connsiteY35" fmla="*/ 466805 h 496921"/>
              <a:gd name="connsiteX36" fmla="*/ 196130 w 516922"/>
              <a:gd name="connsiteY36" fmla="*/ 496921 h 496921"/>
              <a:gd name="connsiteX37" fmla="*/ 28019 w 516922"/>
              <a:gd name="connsiteY37" fmla="*/ 496921 h 496921"/>
              <a:gd name="connsiteX38" fmla="*/ 0 w 516922"/>
              <a:gd name="connsiteY38" fmla="*/ 466805 h 496921"/>
              <a:gd name="connsiteX39" fmla="*/ 0 w 516922"/>
              <a:gd name="connsiteY39" fmla="*/ 27965 h 496921"/>
              <a:gd name="connsiteX40" fmla="*/ 28019 w 516922"/>
              <a:gd name="connsiteY40" fmla="*/ 0 h 4969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516922" h="496921">
                <a:moveTo>
                  <a:pt x="241391" y="466920"/>
                </a:moveTo>
                <a:lnTo>
                  <a:pt x="374792" y="466920"/>
                </a:lnTo>
                <a:lnTo>
                  <a:pt x="394157" y="492438"/>
                </a:lnTo>
                <a:lnTo>
                  <a:pt x="241391" y="492438"/>
                </a:lnTo>
                <a:close/>
                <a:moveTo>
                  <a:pt x="45175" y="266910"/>
                </a:moveTo>
                <a:lnTo>
                  <a:pt x="178975" y="266910"/>
                </a:lnTo>
                <a:lnTo>
                  <a:pt x="178975" y="312085"/>
                </a:lnTo>
                <a:lnTo>
                  <a:pt x="45175" y="312085"/>
                </a:lnTo>
                <a:close/>
                <a:moveTo>
                  <a:pt x="45175" y="167939"/>
                </a:moveTo>
                <a:lnTo>
                  <a:pt x="178975" y="167939"/>
                </a:lnTo>
                <a:lnTo>
                  <a:pt x="178975" y="213114"/>
                </a:lnTo>
                <a:lnTo>
                  <a:pt x="45175" y="213114"/>
                </a:lnTo>
                <a:close/>
                <a:moveTo>
                  <a:pt x="254150" y="92418"/>
                </a:moveTo>
                <a:lnTo>
                  <a:pt x="497537" y="92418"/>
                </a:lnTo>
                <a:cubicBezTo>
                  <a:pt x="508307" y="92418"/>
                  <a:pt x="516922" y="101027"/>
                  <a:pt x="516922" y="111788"/>
                </a:cubicBezTo>
                <a:lnTo>
                  <a:pt x="516922" y="402340"/>
                </a:lnTo>
                <a:cubicBezTo>
                  <a:pt x="516922" y="413101"/>
                  <a:pt x="508307" y="421710"/>
                  <a:pt x="497537" y="421710"/>
                </a:cubicBezTo>
                <a:lnTo>
                  <a:pt x="359690" y="421710"/>
                </a:lnTo>
                <a:lnTo>
                  <a:pt x="359690" y="458298"/>
                </a:lnTo>
                <a:lnTo>
                  <a:pt x="254150" y="458298"/>
                </a:lnTo>
                <a:lnTo>
                  <a:pt x="254150" y="382970"/>
                </a:lnTo>
                <a:lnTo>
                  <a:pt x="478152" y="382970"/>
                </a:lnTo>
                <a:lnTo>
                  <a:pt x="478152" y="131158"/>
                </a:lnTo>
                <a:lnTo>
                  <a:pt x="254150" y="131158"/>
                </a:lnTo>
                <a:close/>
                <a:moveTo>
                  <a:pt x="45175" y="75176"/>
                </a:moveTo>
                <a:lnTo>
                  <a:pt x="178975" y="75176"/>
                </a:lnTo>
                <a:lnTo>
                  <a:pt x="178975" y="120351"/>
                </a:lnTo>
                <a:lnTo>
                  <a:pt x="45175" y="120351"/>
                </a:lnTo>
                <a:close/>
                <a:moveTo>
                  <a:pt x="28019" y="27965"/>
                </a:moveTo>
                <a:lnTo>
                  <a:pt x="28019" y="466805"/>
                </a:lnTo>
                <a:lnTo>
                  <a:pt x="196130" y="466805"/>
                </a:lnTo>
                <a:lnTo>
                  <a:pt x="196130" y="27965"/>
                </a:lnTo>
                <a:close/>
                <a:moveTo>
                  <a:pt x="28019" y="0"/>
                </a:moveTo>
                <a:lnTo>
                  <a:pt x="196130" y="0"/>
                </a:lnTo>
                <a:cubicBezTo>
                  <a:pt x="211217" y="0"/>
                  <a:pt x="224149" y="12907"/>
                  <a:pt x="224149" y="27965"/>
                </a:cubicBezTo>
                <a:lnTo>
                  <a:pt x="224149" y="466805"/>
                </a:lnTo>
                <a:cubicBezTo>
                  <a:pt x="224149" y="484014"/>
                  <a:pt x="211217" y="496921"/>
                  <a:pt x="196130" y="496921"/>
                </a:cubicBezTo>
                <a:lnTo>
                  <a:pt x="28019" y="496921"/>
                </a:lnTo>
                <a:cubicBezTo>
                  <a:pt x="12932" y="496921"/>
                  <a:pt x="0" y="484014"/>
                  <a:pt x="0" y="466805"/>
                </a:cubicBezTo>
                <a:lnTo>
                  <a:pt x="0" y="27965"/>
                </a:lnTo>
                <a:cubicBezTo>
                  <a:pt x="0" y="12907"/>
                  <a:pt x="12932" y="0"/>
                  <a:pt x="28019" y="0"/>
                </a:cubicBezTo>
                <a:close/>
              </a:path>
            </a:pathLst>
          </a:cu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noFill/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34" name="组合 33"/>
          <p:cNvGrpSpPr/>
          <p:nvPr/>
        </p:nvGrpSpPr>
        <p:grpSpPr>
          <a:xfrm>
            <a:off x="6584069" y="1852206"/>
            <a:ext cx="4475816" cy="1162820"/>
            <a:chOff x="1969913" y="1876002"/>
            <a:chExt cx="4475816" cy="1162820"/>
          </a:xfrm>
        </p:grpSpPr>
        <p:sp>
          <p:nvSpPr>
            <p:cNvPr id="35" name="TextBox 53"/>
            <p:cNvSpPr txBox="1"/>
            <p:nvPr/>
          </p:nvSpPr>
          <p:spPr>
            <a:xfrm>
              <a:off x="1977501" y="2429424"/>
              <a:ext cx="4468228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6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6584069" y="3429000"/>
            <a:ext cx="4475816" cy="1162820"/>
            <a:chOff x="1969913" y="1876002"/>
            <a:chExt cx="4475816" cy="1162820"/>
          </a:xfrm>
        </p:grpSpPr>
        <p:sp>
          <p:nvSpPr>
            <p:cNvPr id="38" name="TextBox 53"/>
            <p:cNvSpPr txBox="1"/>
            <p:nvPr/>
          </p:nvSpPr>
          <p:spPr>
            <a:xfrm>
              <a:off x="1977501" y="2429424"/>
              <a:ext cx="4468228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9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40" name="文本框 39"/>
          <p:cNvSpPr txBox="1"/>
          <p:nvPr/>
        </p:nvSpPr>
        <p:spPr>
          <a:xfrm>
            <a:off x="9972814" y="1852206"/>
            <a:ext cx="8579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63.6%</a:t>
            </a:r>
            <a:endParaRPr lang="zh-CN" altLang="en-US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41" name="文本框 40"/>
          <p:cNvSpPr txBox="1"/>
          <p:nvPr/>
        </p:nvSpPr>
        <p:spPr>
          <a:xfrm>
            <a:off x="9972815" y="3383782"/>
            <a:ext cx="85792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86.7%</a:t>
            </a:r>
            <a:endParaRPr lang="zh-CN" altLang="en-US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不足之处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INADEQUACI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 p14:presetBounceEnd="38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8000">
                                          <p:cBhvr additive="base">
                                            <p:cTn id="7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8000">
                                          <p:cBhvr additive="base">
                                            <p:cTn id="8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0" presetID="2" presetClass="entr" presetSubtype="4" fill="hold" nodeType="afterEffect" p14:presetBounceEnd="2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2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3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4" fill="hold" nodeType="withEffect" p14:presetBounceEnd="20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20000">
                                          <p:cBhvr additive="base">
                                            <p:cTn id="16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20000">
                                          <p:cBhvr additive="base">
                                            <p:cTn id="17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9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3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1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6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0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62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65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  <p:bldP spid="18" grpId="0" animBg="1"/>
          <p:bldP spid="19" grpId="0" animBg="1"/>
          <p:bldP spid="20" grpId="0" animBg="1"/>
          <p:bldP spid="40" grpId="0"/>
          <p:bldP spid="41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1000" fill="hold"/>
                                            <p:tgtEl>
                                              <p:spTgt spid="10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10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2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3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4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1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6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7" dur="500" fill="hold"/>
                                            <p:tgtEl>
                                              <p:spTgt spid="37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8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9" presetID="53" presetClass="entr" presetSubtype="16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1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2" dur="500" fill="hold"/>
                                            <p:tgtEl>
                                              <p:spTgt spid="13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3" dur="500"/>
                                            <p:tgtEl>
                                              <p:spTgt spid="1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26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27" dur="50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1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2" dur="500" fill="hold"/>
                                            <p:tgtEl>
                                              <p:spTgt spid="15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3" dur="500"/>
                                            <p:tgtEl>
                                              <p:spTgt spid="1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36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37" dur="500" fill="hold"/>
                                            <p:tgtEl>
                                              <p:spTgt spid="16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38" dur="500"/>
                                            <p:tgtEl>
                                              <p:spTgt spid="1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1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2" dur="500" fill="hold"/>
                                            <p:tgtEl>
                                              <p:spTgt spid="17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3" dur="500"/>
                                            <p:tgtEl>
                                              <p:spTgt spid="1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46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47" dur="500" fill="hold"/>
                                            <p:tgtEl>
                                              <p:spTgt spid="18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48" dur="500"/>
                                            <p:tgtEl>
                                              <p:spTgt spid="1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49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1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2" dur="500" fill="hold"/>
                                            <p:tgtEl>
                                              <p:spTgt spid="19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3" dur="500"/>
                                            <p:tgtEl>
                                              <p:spTgt spid="1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54" presetID="53" presetClass="entr" presetSubtype="16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5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>
                                            <p:cTn id="56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w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w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57" dur="500" fill="hold"/>
                                            <p:tgtEl>
                                              <p:spTgt spid="20"/>
                                            </p:tgtEl>
                                            <p:attrNameLst>
                                              <p:attrName>ppt_h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fltVal val="0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h"/>
                                              </p:val>
                                            </p:tav>
                                          </p:tavLst>
                                        </p:anim>
                                        <p:animEffect transition="in" filter="fade">
                                          <p:cBhvr>
                                            <p:cTn id="58" dur="500"/>
                                            <p:tgtEl>
                                              <p:spTgt spid="2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59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60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0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62" dur="500"/>
                                            <p:tgtEl>
                                              <p:spTgt spid="40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63" presetID="14" presetClass="entr" presetSubtype="1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1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65" dur="500"/>
                                            <p:tgtEl>
                                              <p:spTgt spid="41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10" grpId="0" animBg="1"/>
          <p:bldP spid="13" grpId="0" animBg="1"/>
          <p:bldP spid="14" grpId="0" animBg="1"/>
          <p:bldP spid="15" grpId="0" animBg="1"/>
          <p:bldP spid="16" grpId="0" animBg="1"/>
          <p:bldP spid="17" grpId="0" animBg="1"/>
          <p:bldP spid="18" grpId="0" animBg="1"/>
          <p:bldP spid="19" grpId="0" animBg="1"/>
          <p:bldP spid="20" grpId="0" animBg="1"/>
          <p:bldP spid="40" grpId="0"/>
          <p:bldP spid="41" grpId="0"/>
        </p:bldLst>
      </p:timing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zh-CN" altLang="en-US"/>
          </a:p>
        </p:txBody>
      </p:sp>
      <p:pic>
        <p:nvPicPr>
          <p:cNvPr id="5" name="内容占位符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6857777"/>
          </a:xfrm>
        </p:spPr>
      </p:pic>
      <p:sp>
        <p:nvSpPr>
          <p:cNvPr id="6" name="文本框 5"/>
          <p:cNvSpPr txBox="1"/>
          <p:nvPr/>
        </p:nvSpPr>
        <p:spPr>
          <a:xfrm>
            <a:off x="1049358" y="2180862"/>
            <a:ext cx="2076209" cy="99520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5865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20XX</a:t>
            </a:r>
            <a:endParaRPr lang="zh-CN" altLang="en-US" sz="5865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1049358" y="3071211"/>
            <a:ext cx="510909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6400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谢谢您的观看</a:t>
            </a:r>
          </a:p>
        </p:txBody>
      </p:sp>
      <p:grpSp>
        <p:nvGrpSpPr>
          <p:cNvPr id="3" name="组合 2"/>
          <p:cNvGrpSpPr/>
          <p:nvPr/>
        </p:nvGrpSpPr>
        <p:grpSpPr>
          <a:xfrm>
            <a:off x="1126131" y="4332917"/>
            <a:ext cx="2316865" cy="587262"/>
            <a:chOff x="1126131" y="4332917"/>
            <a:chExt cx="2316865" cy="587262"/>
          </a:xfrm>
        </p:grpSpPr>
        <p:pic>
          <p:nvPicPr>
            <p:cNvPr id="11" name="图片 10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26131" y="4332917"/>
              <a:ext cx="2316865" cy="587262"/>
            </a:xfrm>
            <a:prstGeom prst="rect">
              <a:avLst/>
            </a:prstGeom>
          </p:spPr>
        </p:pic>
        <p:sp>
          <p:nvSpPr>
            <p:cNvPr id="12" name="文本框 11"/>
            <p:cNvSpPr txBox="1"/>
            <p:nvPr/>
          </p:nvSpPr>
          <p:spPr>
            <a:xfrm>
              <a:off x="1166308" y="4426493"/>
              <a:ext cx="195598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zh-CN" altLang="en-US" sz="200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汇报人：</a:t>
              </a:r>
              <a:r>
                <a:rPr lang="en-US" altLang="zh-CN" sz="2000">
                  <a:solidFill>
                    <a:schemeClr val="lt1">
                      <a:lumMod val="100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xiazaii</a:t>
              </a:r>
              <a:endParaRPr lang="zh-CN" altLang="en-US" sz="2000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12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13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 descr="white Android smartphone near black smartpho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331" y="0"/>
            <a:ext cx="7068669" cy="6858000"/>
          </a:xfrm>
          <a:custGeom>
            <a:avLst/>
            <a:gdLst>
              <a:gd name="connsiteX0" fmla="*/ 0 w 5301502"/>
              <a:gd name="connsiteY0" fmla="*/ 0 h 5143500"/>
              <a:gd name="connsiteX1" fmla="*/ 5301502 w 5301502"/>
              <a:gd name="connsiteY1" fmla="*/ 0 h 5143500"/>
              <a:gd name="connsiteX2" fmla="*/ 5301502 w 5301502"/>
              <a:gd name="connsiteY2" fmla="*/ 5143500 h 5143500"/>
              <a:gd name="connsiteX3" fmla="*/ 1510794 w 5301502"/>
              <a:gd name="connsiteY3" fmla="*/ 5143500 h 5143500"/>
              <a:gd name="connsiteX4" fmla="*/ 1557348 w 5301502"/>
              <a:gd name="connsiteY4" fmla="*/ 4941791 h 5143500"/>
              <a:gd name="connsiteX5" fmla="*/ 1665606 w 5301502"/>
              <a:gd name="connsiteY5" fmla="*/ 3867894 h 5143500"/>
              <a:gd name="connsiteX6" fmla="*/ 104898 w 5301502"/>
              <a:gd name="connsiteY6" fmla="*/ 10001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01502" h="5143500">
                <a:moveTo>
                  <a:pt x="0" y="0"/>
                </a:moveTo>
                <a:lnTo>
                  <a:pt x="5301502" y="0"/>
                </a:lnTo>
                <a:lnTo>
                  <a:pt x="5301502" y="5143500"/>
                </a:lnTo>
                <a:lnTo>
                  <a:pt x="1510794" y="5143500"/>
                </a:lnTo>
                <a:lnTo>
                  <a:pt x="1557348" y="4941791"/>
                </a:lnTo>
                <a:cubicBezTo>
                  <a:pt x="1628330" y="4594913"/>
                  <a:pt x="1665606" y="4235757"/>
                  <a:pt x="1665606" y="3867894"/>
                </a:cubicBezTo>
                <a:cubicBezTo>
                  <a:pt x="1665606" y="2396444"/>
                  <a:pt x="1069183" y="1064296"/>
                  <a:pt x="104898" y="10001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图形 8"/>
          <p:cNvSpPr/>
          <p:nvPr/>
        </p:nvSpPr>
        <p:spPr>
          <a:xfrm>
            <a:off x="10417472" y="0"/>
            <a:ext cx="1774528" cy="1267520"/>
          </a:xfrm>
          <a:custGeom>
            <a:avLst/>
            <a:gdLst>
              <a:gd name="connsiteX0" fmla="*/ 7144 w 5867400"/>
              <a:gd name="connsiteY0" fmla="*/ 7144 h 4191000"/>
              <a:gd name="connsiteX1" fmla="*/ 2483644 w 5867400"/>
              <a:gd name="connsiteY1" fmla="*/ 1731169 h 4191000"/>
              <a:gd name="connsiteX2" fmla="*/ 5865019 w 5867400"/>
              <a:gd name="connsiteY2" fmla="*/ 4188619 h 4191000"/>
              <a:gd name="connsiteX3" fmla="*/ 5865019 w 5867400"/>
              <a:gd name="connsiteY3" fmla="*/ 7144 h 4191000"/>
              <a:gd name="connsiteX4" fmla="*/ 7144 w 5867400"/>
              <a:gd name="connsiteY4" fmla="*/ 7144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7400" h="4191000">
                <a:moveTo>
                  <a:pt x="7144" y="7144"/>
                </a:moveTo>
                <a:cubicBezTo>
                  <a:pt x="7144" y="7144"/>
                  <a:pt x="7144" y="931069"/>
                  <a:pt x="2483644" y="1731169"/>
                </a:cubicBezTo>
                <a:cubicBezTo>
                  <a:pt x="2483644" y="1731169"/>
                  <a:pt x="4998244" y="2378869"/>
                  <a:pt x="5865019" y="4188619"/>
                </a:cubicBezTo>
                <a:lnTo>
                  <a:pt x="5865019" y="7144"/>
                </a:lnTo>
                <a:lnTo>
                  <a:pt x="7144" y="7144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sz="24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857633" y="964042"/>
            <a:ext cx="174438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b="1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01.</a:t>
            </a:r>
            <a:endParaRPr lang="zh-CN" altLang="en-US" sz="8000" b="1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857634" y="2032972"/>
            <a:ext cx="4372351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400" dirty="0">
                <a:solidFill>
                  <a:schemeClr val="bg1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PART ONE</a:t>
            </a:r>
            <a:endParaRPr lang="zh-CN" altLang="en-US" sz="6400" dirty="0">
              <a:solidFill>
                <a:schemeClr val="bg1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857633" y="4485117"/>
            <a:ext cx="5333617" cy="787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lt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单击此处添加文字阐述，添加简短问题说明文字，具体添加文字在此处添加单击</a:t>
            </a:r>
          </a:p>
        </p:txBody>
      </p:sp>
      <p:sp>
        <p:nvSpPr>
          <p:cNvPr id="21" name="TextBox 7"/>
          <p:cNvSpPr txBox="1"/>
          <p:nvPr/>
        </p:nvSpPr>
        <p:spPr>
          <a:xfrm>
            <a:off x="1005094" y="3705418"/>
            <a:ext cx="2140888" cy="564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70" dirty="0">
                <a:solidFill>
                  <a:schemeClr val="lt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工作概述</a:t>
            </a:r>
          </a:p>
        </p:txBody>
      </p:sp>
      <p:sp>
        <p:nvSpPr>
          <p:cNvPr id="16" name="矩形 15"/>
          <p:cNvSpPr/>
          <p:nvPr/>
        </p:nvSpPr>
        <p:spPr>
          <a:xfrm>
            <a:off x="1005094" y="3609406"/>
            <a:ext cx="1654540" cy="96012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9" grpId="0"/>
      <p:bldP spid="20" grpId="0"/>
      <p:bldP spid="21" grpId="0"/>
      <p:bldP spid="1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矩形 34"/>
          <p:cNvSpPr/>
          <p:nvPr/>
        </p:nvSpPr>
        <p:spPr>
          <a:xfrm>
            <a:off x="987786" y="1518469"/>
            <a:ext cx="3457300" cy="2221681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36" name="矩形 35"/>
          <p:cNvSpPr/>
          <p:nvPr/>
        </p:nvSpPr>
        <p:spPr>
          <a:xfrm>
            <a:off x="987786" y="3845179"/>
            <a:ext cx="3457300" cy="2189136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1" name="文本框 1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工作概述</a:t>
            </a:r>
          </a:p>
        </p:txBody>
      </p:sp>
      <p:sp>
        <p:nvSpPr>
          <p:cNvPr id="12" name="文本框 11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OVERVIEW OF WORK</a:t>
            </a:r>
          </a:p>
        </p:txBody>
      </p:sp>
      <p:sp>
        <p:nvSpPr>
          <p:cNvPr id="17" name="矩形 16"/>
          <p:cNvSpPr/>
          <p:nvPr/>
        </p:nvSpPr>
        <p:spPr>
          <a:xfrm>
            <a:off x="4549320" y="1518469"/>
            <a:ext cx="3238500" cy="4515846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8" name="矩形 17"/>
          <p:cNvSpPr/>
          <p:nvPr/>
        </p:nvSpPr>
        <p:spPr>
          <a:xfrm>
            <a:off x="7889787" y="1518469"/>
            <a:ext cx="3238500" cy="4515846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7" name="椭圆 13"/>
          <p:cNvSpPr/>
          <p:nvPr/>
        </p:nvSpPr>
        <p:spPr>
          <a:xfrm>
            <a:off x="4905616" y="2326081"/>
            <a:ext cx="755387" cy="708526"/>
          </a:xfrm>
          <a:custGeom>
            <a:avLst/>
            <a:gdLst>
              <a:gd name="connsiteX0" fmla="*/ 258582 w 606298"/>
              <a:gd name="connsiteY0" fmla="*/ 455598 h 568686"/>
              <a:gd name="connsiteX1" fmla="*/ 303149 w 606298"/>
              <a:gd name="connsiteY1" fmla="*/ 490637 h 568686"/>
              <a:gd name="connsiteX2" fmla="*/ 347716 w 606298"/>
              <a:gd name="connsiteY2" fmla="*/ 455598 h 568686"/>
              <a:gd name="connsiteX3" fmla="*/ 311784 w 606298"/>
              <a:gd name="connsiteY3" fmla="*/ 456896 h 568686"/>
              <a:gd name="connsiteX4" fmla="*/ 294607 w 606298"/>
              <a:gd name="connsiteY4" fmla="*/ 456896 h 568686"/>
              <a:gd name="connsiteX5" fmla="*/ 258582 w 606298"/>
              <a:gd name="connsiteY5" fmla="*/ 455598 h 568686"/>
              <a:gd name="connsiteX6" fmla="*/ 482810 w 606298"/>
              <a:gd name="connsiteY6" fmla="*/ 426955 h 568686"/>
              <a:gd name="connsiteX7" fmla="*/ 402311 w 606298"/>
              <a:gd name="connsiteY7" fmla="*/ 449202 h 568686"/>
              <a:gd name="connsiteX8" fmla="*/ 391633 w 606298"/>
              <a:gd name="connsiteY8" fmla="*/ 460233 h 568686"/>
              <a:gd name="connsiteX9" fmla="*/ 333696 w 606298"/>
              <a:gd name="connsiteY9" fmla="*/ 510752 h 568686"/>
              <a:gd name="connsiteX10" fmla="*/ 407603 w 606298"/>
              <a:gd name="connsiteY10" fmla="*/ 533647 h 568686"/>
              <a:gd name="connsiteX11" fmla="*/ 445578 w 606298"/>
              <a:gd name="connsiteY11" fmla="*/ 523358 h 568686"/>
              <a:gd name="connsiteX12" fmla="*/ 482810 w 606298"/>
              <a:gd name="connsiteY12" fmla="*/ 426955 h 568686"/>
              <a:gd name="connsiteX13" fmla="*/ 123488 w 606298"/>
              <a:gd name="connsiteY13" fmla="*/ 426955 h 568686"/>
              <a:gd name="connsiteX14" fmla="*/ 160720 w 606298"/>
              <a:gd name="connsiteY14" fmla="*/ 523358 h 568686"/>
              <a:gd name="connsiteX15" fmla="*/ 198788 w 606298"/>
              <a:gd name="connsiteY15" fmla="*/ 533647 h 568686"/>
              <a:gd name="connsiteX16" fmla="*/ 272602 w 606298"/>
              <a:gd name="connsiteY16" fmla="*/ 510752 h 568686"/>
              <a:gd name="connsiteX17" fmla="*/ 214665 w 606298"/>
              <a:gd name="connsiteY17" fmla="*/ 460233 h 568686"/>
              <a:gd name="connsiteX18" fmla="*/ 204080 w 606298"/>
              <a:gd name="connsiteY18" fmla="*/ 449202 h 568686"/>
              <a:gd name="connsiteX19" fmla="*/ 123488 w 606298"/>
              <a:gd name="connsiteY19" fmla="*/ 426955 h 568686"/>
              <a:gd name="connsiteX20" fmla="*/ 469069 w 606298"/>
              <a:gd name="connsiteY20" fmla="*/ 346681 h 568686"/>
              <a:gd name="connsiteX21" fmla="*/ 450777 w 606298"/>
              <a:gd name="connsiteY21" fmla="*/ 374953 h 568686"/>
              <a:gd name="connsiteX22" fmla="*/ 449292 w 606298"/>
              <a:gd name="connsiteY22" fmla="*/ 377178 h 568686"/>
              <a:gd name="connsiteX23" fmla="*/ 425523 w 606298"/>
              <a:gd name="connsiteY23" fmla="*/ 409250 h 568686"/>
              <a:gd name="connsiteX24" fmla="*/ 479189 w 606298"/>
              <a:gd name="connsiteY24" fmla="*/ 391360 h 568686"/>
              <a:gd name="connsiteX25" fmla="*/ 469069 w 606298"/>
              <a:gd name="connsiteY25" fmla="*/ 346681 h 568686"/>
              <a:gd name="connsiteX26" fmla="*/ 137229 w 606298"/>
              <a:gd name="connsiteY26" fmla="*/ 346681 h 568686"/>
              <a:gd name="connsiteX27" fmla="*/ 127109 w 606298"/>
              <a:gd name="connsiteY27" fmla="*/ 391360 h 568686"/>
              <a:gd name="connsiteX28" fmla="*/ 180868 w 606298"/>
              <a:gd name="connsiteY28" fmla="*/ 409250 h 568686"/>
              <a:gd name="connsiteX29" fmla="*/ 157006 w 606298"/>
              <a:gd name="connsiteY29" fmla="*/ 377178 h 568686"/>
              <a:gd name="connsiteX30" fmla="*/ 155521 w 606298"/>
              <a:gd name="connsiteY30" fmla="*/ 375046 h 568686"/>
              <a:gd name="connsiteX31" fmla="*/ 137229 w 606298"/>
              <a:gd name="connsiteY31" fmla="*/ 346681 h 568686"/>
              <a:gd name="connsiteX32" fmla="*/ 303114 w 606298"/>
              <a:gd name="connsiteY32" fmla="*/ 237523 h 568686"/>
              <a:gd name="connsiteX33" fmla="*/ 350005 w 606298"/>
              <a:gd name="connsiteY33" fmla="*/ 284343 h 568686"/>
              <a:gd name="connsiteX34" fmla="*/ 303114 w 606298"/>
              <a:gd name="connsiteY34" fmla="*/ 331163 h 568686"/>
              <a:gd name="connsiteX35" fmla="*/ 256223 w 606298"/>
              <a:gd name="connsiteY35" fmla="*/ 284343 h 568686"/>
              <a:gd name="connsiteX36" fmla="*/ 303114 w 606298"/>
              <a:gd name="connsiteY36" fmla="*/ 237523 h 568686"/>
              <a:gd name="connsiteX37" fmla="*/ 517257 w 606298"/>
              <a:gd name="connsiteY37" fmla="*/ 210604 h 568686"/>
              <a:gd name="connsiteX38" fmla="*/ 516792 w 606298"/>
              <a:gd name="connsiteY38" fmla="*/ 213292 h 568686"/>
              <a:gd name="connsiteX39" fmla="*/ 490888 w 606298"/>
              <a:gd name="connsiteY39" fmla="*/ 303392 h 568686"/>
              <a:gd name="connsiteX40" fmla="*/ 511500 w 606298"/>
              <a:gd name="connsiteY40" fmla="*/ 374953 h 568686"/>
              <a:gd name="connsiteX41" fmla="*/ 572130 w 606298"/>
              <a:gd name="connsiteY41" fmla="*/ 290971 h 568686"/>
              <a:gd name="connsiteX42" fmla="*/ 517257 w 606298"/>
              <a:gd name="connsiteY42" fmla="*/ 210604 h 568686"/>
              <a:gd name="connsiteX43" fmla="*/ 89041 w 606298"/>
              <a:gd name="connsiteY43" fmla="*/ 210604 h 568686"/>
              <a:gd name="connsiteX44" fmla="*/ 34168 w 606298"/>
              <a:gd name="connsiteY44" fmla="*/ 290971 h 568686"/>
              <a:gd name="connsiteX45" fmla="*/ 94798 w 606298"/>
              <a:gd name="connsiteY45" fmla="*/ 374953 h 568686"/>
              <a:gd name="connsiteX46" fmla="*/ 115410 w 606298"/>
              <a:gd name="connsiteY46" fmla="*/ 303392 h 568686"/>
              <a:gd name="connsiteX47" fmla="*/ 89506 w 606298"/>
              <a:gd name="connsiteY47" fmla="*/ 213292 h 568686"/>
              <a:gd name="connsiteX48" fmla="*/ 419952 w 606298"/>
              <a:gd name="connsiteY48" fmla="*/ 171487 h 568686"/>
              <a:gd name="connsiteX49" fmla="*/ 438893 w 606298"/>
              <a:gd name="connsiteY49" fmla="*/ 199666 h 568686"/>
              <a:gd name="connsiteX50" fmla="*/ 470833 w 606298"/>
              <a:gd name="connsiteY50" fmla="*/ 256952 h 568686"/>
              <a:gd name="connsiteX51" fmla="*/ 484017 w 606298"/>
              <a:gd name="connsiteY51" fmla="*/ 200407 h 568686"/>
              <a:gd name="connsiteX52" fmla="*/ 484946 w 606298"/>
              <a:gd name="connsiteY52" fmla="*/ 193085 h 568686"/>
              <a:gd name="connsiteX53" fmla="*/ 419952 w 606298"/>
              <a:gd name="connsiteY53" fmla="*/ 171487 h 568686"/>
              <a:gd name="connsiteX54" fmla="*/ 186346 w 606298"/>
              <a:gd name="connsiteY54" fmla="*/ 171487 h 568686"/>
              <a:gd name="connsiteX55" fmla="*/ 121352 w 606298"/>
              <a:gd name="connsiteY55" fmla="*/ 193085 h 568686"/>
              <a:gd name="connsiteX56" fmla="*/ 122281 w 606298"/>
              <a:gd name="connsiteY56" fmla="*/ 200407 h 568686"/>
              <a:gd name="connsiteX57" fmla="*/ 135465 w 606298"/>
              <a:gd name="connsiteY57" fmla="*/ 256952 h 568686"/>
              <a:gd name="connsiteX58" fmla="*/ 167405 w 606298"/>
              <a:gd name="connsiteY58" fmla="*/ 199666 h 568686"/>
              <a:gd name="connsiteX59" fmla="*/ 186346 w 606298"/>
              <a:gd name="connsiteY59" fmla="*/ 171487 h 568686"/>
              <a:gd name="connsiteX60" fmla="*/ 303149 w 606298"/>
              <a:gd name="connsiteY60" fmla="*/ 159459 h 568686"/>
              <a:gd name="connsiteX61" fmla="*/ 236113 w 606298"/>
              <a:gd name="connsiteY61" fmla="*/ 162866 h 568686"/>
              <a:gd name="connsiteX62" fmla="*/ 196559 w 606298"/>
              <a:gd name="connsiteY62" fmla="*/ 218020 h 568686"/>
              <a:gd name="connsiteX63" fmla="*/ 153385 w 606298"/>
              <a:gd name="connsiteY63" fmla="*/ 301260 h 568686"/>
              <a:gd name="connsiteX64" fmla="*/ 184118 w 606298"/>
              <a:gd name="connsiteY64" fmla="*/ 356321 h 568686"/>
              <a:gd name="connsiteX65" fmla="*/ 222835 w 606298"/>
              <a:gd name="connsiteY65" fmla="*/ 406284 h 568686"/>
              <a:gd name="connsiteX66" fmla="*/ 227385 w 606298"/>
              <a:gd name="connsiteY66" fmla="*/ 411104 h 568686"/>
              <a:gd name="connsiteX67" fmla="*/ 234813 w 606298"/>
              <a:gd name="connsiteY67" fmla="*/ 419169 h 568686"/>
              <a:gd name="connsiteX68" fmla="*/ 294607 w 606298"/>
              <a:gd name="connsiteY68" fmla="*/ 422691 h 568686"/>
              <a:gd name="connsiteX69" fmla="*/ 311784 w 606298"/>
              <a:gd name="connsiteY69" fmla="*/ 422691 h 568686"/>
              <a:gd name="connsiteX70" fmla="*/ 371485 w 606298"/>
              <a:gd name="connsiteY70" fmla="*/ 419169 h 568686"/>
              <a:gd name="connsiteX71" fmla="*/ 378913 w 606298"/>
              <a:gd name="connsiteY71" fmla="*/ 411104 h 568686"/>
              <a:gd name="connsiteX72" fmla="*/ 383463 w 606298"/>
              <a:gd name="connsiteY72" fmla="*/ 406284 h 568686"/>
              <a:gd name="connsiteX73" fmla="*/ 422273 w 606298"/>
              <a:gd name="connsiteY73" fmla="*/ 356321 h 568686"/>
              <a:gd name="connsiteX74" fmla="*/ 452913 w 606298"/>
              <a:gd name="connsiteY74" fmla="*/ 301260 h 568686"/>
              <a:gd name="connsiteX75" fmla="*/ 409831 w 606298"/>
              <a:gd name="connsiteY75" fmla="*/ 218020 h 568686"/>
              <a:gd name="connsiteX76" fmla="*/ 370185 w 606298"/>
              <a:gd name="connsiteY76" fmla="*/ 162866 h 568686"/>
              <a:gd name="connsiteX77" fmla="*/ 303149 w 606298"/>
              <a:gd name="connsiteY77" fmla="*/ 159459 h 568686"/>
              <a:gd name="connsiteX78" fmla="*/ 303149 w 606298"/>
              <a:gd name="connsiteY78" fmla="*/ 95754 h 568686"/>
              <a:gd name="connsiteX79" fmla="*/ 269631 w 606298"/>
              <a:gd name="connsiteY79" fmla="*/ 125788 h 568686"/>
              <a:gd name="connsiteX80" fmla="*/ 336667 w 606298"/>
              <a:gd name="connsiteY80" fmla="*/ 125788 h 568686"/>
              <a:gd name="connsiteX81" fmla="*/ 303149 w 606298"/>
              <a:gd name="connsiteY81" fmla="*/ 95754 h 568686"/>
              <a:gd name="connsiteX82" fmla="*/ 413453 w 606298"/>
              <a:gd name="connsiteY82" fmla="*/ 34112 h 568686"/>
              <a:gd name="connsiteX83" fmla="*/ 326454 w 606298"/>
              <a:gd name="connsiteY83" fmla="*/ 70078 h 568686"/>
              <a:gd name="connsiteX84" fmla="*/ 388012 w 606298"/>
              <a:gd name="connsiteY84" fmla="*/ 130608 h 568686"/>
              <a:gd name="connsiteX85" fmla="*/ 490424 w 606298"/>
              <a:gd name="connsiteY85" fmla="*/ 158138 h 568686"/>
              <a:gd name="connsiteX86" fmla="*/ 490424 w 606298"/>
              <a:gd name="connsiteY86" fmla="*/ 156933 h 568686"/>
              <a:gd name="connsiteX87" fmla="*/ 453841 w 606298"/>
              <a:gd name="connsiteY87" fmla="*/ 45143 h 568686"/>
              <a:gd name="connsiteX88" fmla="*/ 413453 w 606298"/>
              <a:gd name="connsiteY88" fmla="*/ 34112 h 568686"/>
              <a:gd name="connsiteX89" fmla="*/ 192845 w 606298"/>
              <a:gd name="connsiteY89" fmla="*/ 34112 h 568686"/>
              <a:gd name="connsiteX90" fmla="*/ 152549 w 606298"/>
              <a:gd name="connsiteY90" fmla="*/ 45143 h 568686"/>
              <a:gd name="connsiteX91" fmla="*/ 115874 w 606298"/>
              <a:gd name="connsiteY91" fmla="*/ 156933 h 568686"/>
              <a:gd name="connsiteX92" fmla="*/ 115967 w 606298"/>
              <a:gd name="connsiteY92" fmla="*/ 158138 h 568686"/>
              <a:gd name="connsiteX93" fmla="*/ 218286 w 606298"/>
              <a:gd name="connsiteY93" fmla="*/ 130608 h 568686"/>
              <a:gd name="connsiteX94" fmla="*/ 279937 w 606298"/>
              <a:gd name="connsiteY94" fmla="*/ 70078 h 568686"/>
              <a:gd name="connsiteX95" fmla="*/ 192845 w 606298"/>
              <a:gd name="connsiteY95" fmla="*/ 34112 h 568686"/>
              <a:gd name="connsiteX96" fmla="*/ 192845 w 606298"/>
              <a:gd name="connsiteY96" fmla="*/ 0 h 568686"/>
              <a:gd name="connsiteX97" fmla="*/ 303149 w 606298"/>
              <a:gd name="connsiteY97" fmla="*/ 44494 h 568686"/>
              <a:gd name="connsiteX98" fmla="*/ 413453 w 606298"/>
              <a:gd name="connsiteY98" fmla="*/ 0 h 568686"/>
              <a:gd name="connsiteX99" fmla="*/ 472411 w 606298"/>
              <a:gd name="connsiteY99" fmla="*/ 16500 h 568686"/>
              <a:gd name="connsiteX100" fmla="*/ 515214 w 606298"/>
              <a:gd name="connsiteY100" fmla="*/ 78050 h 568686"/>
              <a:gd name="connsiteX101" fmla="*/ 524127 w 606298"/>
              <a:gd name="connsiteY101" fmla="*/ 167964 h 568686"/>
              <a:gd name="connsiteX102" fmla="*/ 524127 w 606298"/>
              <a:gd name="connsiteY102" fmla="*/ 174824 h 568686"/>
              <a:gd name="connsiteX103" fmla="*/ 606298 w 606298"/>
              <a:gd name="connsiteY103" fmla="*/ 290971 h 568686"/>
              <a:gd name="connsiteX104" fmla="*/ 516607 w 606298"/>
              <a:gd name="connsiteY104" fmla="*/ 411382 h 568686"/>
              <a:gd name="connsiteX105" fmla="*/ 516792 w 606298"/>
              <a:gd name="connsiteY105" fmla="*/ 413792 h 568686"/>
              <a:gd name="connsiteX106" fmla="*/ 464519 w 606298"/>
              <a:gd name="connsiteY106" fmla="*/ 553299 h 568686"/>
              <a:gd name="connsiteX107" fmla="*/ 408903 w 606298"/>
              <a:gd name="connsiteY107" fmla="*/ 568686 h 568686"/>
              <a:gd name="connsiteX108" fmla="*/ 303149 w 606298"/>
              <a:gd name="connsiteY108" fmla="*/ 532628 h 568686"/>
              <a:gd name="connsiteX109" fmla="*/ 197395 w 606298"/>
              <a:gd name="connsiteY109" fmla="*/ 568686 h 568686"/>
              <a:gd name="connsiteX110" fmla="*/ 141779 w 606298"/>
              <a:gd name="connsiteY110" fmla="*/ 553299 h 568686"/>
              <a:gd name="connsiteX111" fmla="*/ 89506 w 606298"/>
              <a:gd name="connsiteY111" fmla="*/ 413700 h 568686"/>
              <a:gd name="connsiteX112" fmla="*/ 89784 w 606298"/>
              <a:gd name="connsiteY112" fmla="*/ 411382 h 568686"/>
              <a:gd name="connsiteX113" fmla="*/ 0 w 606298"/>
              <a:gd name="connsiteY113" fmla="*/ 290971 h 568686"/>
              <a:gd name="connsiteX114" fmla="*/ 82171 w 606298"/>
              <a:gd name="connsiteY114" fmla="*/ 174824 h 568686"/>
              <a:gd name="connsiteX115" fmla="*/ 82171 w 606298"/>
              <a:gd name="connsiteY115" fmla="*/ 167964 h 568686"/>
              <a:gd name="connsiteX116" fmla="*/ 91084 w 606298"/>
              <a:gd name="connsiteY116" fmla="*/ 78050 h 568686"/>
              <a:gd name="connsiteX117" fmla="*/ 133887 w 606298"/>
              <a:gd name="connsiteY117" fmla="*/ 16500 h 568686"/>
              <a:gd name="connsiteX118" fmla="*/ 192845 w 606298"/>
              <a:gd name="connsiteY118" fmla="*/ 0 h 5686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</a:cxnLst>
            <a:rect l="l" t="t" r="r" b="b"/>
            <a:pathLst>
              <a:path w="606298" h="568686">
                <a:moveTo>
                  <a:pt x="258582" y="455598"/>
                </a:moveTo>
                <a:cubicBezTo>
                  <a:pt x="273159" y="469039"/>
                  <a:pt x="288200" y="480811"/>
                  <a:pt x="303149" y="490637"/>
                </a:cubicBezTo>
                <a:cubicBezTo>
                  <a:pt x="318190" y="480811"/>
                  <a:pt x="333139" y="469039"/>
                  <a:pt x="347716" y="455598"/>
                </a:cubicBezTo>
                <a:cubicBezTo>
                  <a:pt x="335274" y="456432"/>
                  <a:pt x="323483" y="456896"/>
                  <a:pt x="311784" y="456896"/>
                </a:cubicBezTo>
                <a:lnTo>
                  <a:pt x="294607" y="456896"/>
                </a:lnTo>
                <a:cubicBezTo>
                  <a:pt x="282908" y="456896"/>
                  <a:pt x="271024" y="456432"/>
                  <a:pt x="258582" y="455598"/>
                </a:cubicBezTo>
                <a:close/>
                <a:moveTo>
                  <a:pt x="482810" y="426955"/>
                </a:moveTo>
                <a:cubicBezTo>
                  <a:pt x="458020" y="436688"/>
                  <a:pt x="431001" y="444104"/>
                  <a:pt x="402311" y="449202"/>
                </a:cubicBezTo>
                <a:lnTo>
                  <a:pt x="391633" y="460233"/>
                </a:lnTo>
                <a:cubicBezTo>
                  <a:pt x="373249" y="479421"/>
                  <a:pt x="353751" y="496384"/>
                  <a:pt x="333696" y="510752"/>
                </a:cubicBezTo>
                <a:cubicBezTo>
                  <a:pt x="360436" y="525768"/>
                  <a:pt x="385877" y="533647"/>
                  <a:pt x="407603" y="533647"/>
                </a:cubicBezTo>
                <a:cubicBezTo>
                  <a:pt x="421995" y="533647"/>
                  <a:pt x="434808" y="530218"/>
                  <a:pt x="445578" y="523358"/>
                </a:cubicBezTo>
                <a:cubicBezTo>
                  <a:pt x="470833" y="507507"/>
                  <a:pt x="484017" y="473303"/>
                  <a:pt x="482810" y="426955"/>
                </a:cubicBezTo>
                <a:close/>
                <a:moveTo>
                  <a:pt x="123488" y="426955"/>
                </a:moveTo>
                <a:cubicBezTo>
                  <a:pt x="122281" y="473303"/>
                  <a:pt x="135465" y="507507"/>
                  <a:pt x="160720" y="523358"/>
                </a:cubicBezTo>
                <a:cubicBezTo>
                  <a:pt x="171490" y="530218"/>
                  <a:pt x="184303" y="533647"/>
                  <a:pt x="198788" y="533647"/>
                </a:cubicBezTo>
                <a:cubicBezTo>
                  <a:pt x="220421" y="533647"/>
                  <a:pt x="245862" y="525768"/>
                  <a:pt x="272602" y="510752"/>
                </a:cubicBezTo>
                <a:cubicBezTo>
                  <a:pt x="252547" y="496384"/>
                  <a:pt x="233142" y="479421"/>
                  <a:pt x="214665" y="460233"/>
                </a:cubicBezTo>
                <a:lnTo>
                  <a:pt x="204080" y="449202"/>
                </a:lnTo>
                <a:cubicBezTo>
                  <a:pt x="175297" y="444104"/>
                  <a:pt x="148278" y="436688"/>
                  <a:pt x="123488" y="426955"/>
                </a:cubicBezTo>
                <a:close/>
                <a:moveTo>
                  <a:pt x="469069" y="346681"/>
                </a:moveTo>
                <a:cubicBezTo>
                  <a:pt x="463591" y="356043"/>
                  <a:pt x="457555" y="365313"/>
                  <a:pt x="450777" y="374953"/>
                </a:cubicBezTo>
                <a:lnTo>
                  <a:pt x="449292" y="377178"/>
                </a:lnTo>
                <a:cubicBezTo>
                  <a:pt x="437686" y="393770"/>
                  <a:pt x="434529" y="398405"/>
                  <a:pt x="425523" y="409250"/>
                </a:cubicBezTo>
                <a:cubicBezTo>
                  <a:pt x="444464" y="404523"/>
                  <a:pt x="462476" y="398497"/>
                  <a:pt x="479189" y="391360"/>
                </a:cubicBezTo>
                <a:cubicBezTo>
                  <a:pt x="476961" y="376992"/>
                  <a:pt x="473525" y="361976"/>
                  <a:pt x="469069" y="346681"/>
                </a:cubicBezTo>
                <a:close/>
                <a:moveTo>
                  <a:pt x="137229" y="346681"/>
                </a:moveTo>
                <a:cubicBezTo>
                  <a:pt x="132773" y="361976"/>
                  <a:pt x="129337" y="376992"/>
                  <a:pt x="127109" y="391360"/>
                </a:cubicBezTo>
                <a:cubicBezTo>
                  <a:pt x="143822" y="398497"/>
                  <a:pt x="161834" y="404523"/>
                  <a:pt x="180868" y="409250"/>
                </a:cubicBezTo>
                <a:cubicBezTo>
                  <a:pt x="171769" y="398312"/>
                  <a:pt x="168426" y="393492"/>
                  <a:pt x="157006" y="377178"/>
                </a:cubicBezTo>
                <a:lnTo>
                  <a:pt x="155521" y="375046"/>
                </a:lnTo>
                <a:cubicBezTo>
                  <a:pt x="148743" y="365313"/>
                  <a:pt x="142800" y="356043"/>
                  <a:pt x="137229" y="346681"/>
                </a:cubicBezTo>
                <a:close/>
                <a:moveTo>
                  <a:pt x="303114" y="237523"/>
                </a:moveTo>
                <a:cubicBezTo>
                  <a:pt x="329011" y="237523"/>
                  <a:pt x="350005" y="258485"/>
                  <a:pt x="350005" y="284343"/>
                </a:cubicBezTo>
                <a:cubicBezTo>
                  <a:pt x="350005" y="310201"/>
                  <a:pt x="329011" y="331163"/>
                  <a:pt x="303114" y="331163"/>
                </a:cubicBezTo>
                <a:cubicBezTo>
                  <a:pt x="277217" y="331163"/>
                  <a:pt x="256223" y="310201"/>
                  <a:pt x="256223" y="284343"/>
                </a:cubicBezTo>
                <a:cubicBezTo>
                  <a:pt x="256223" y="258485"/>
                  <a:pt x="277217" y="237523"/>
                  <a:pt x="303114" y="237523"/>
                </a:cubicBezTo>
                <a:close/>
                <a:moveTo>
                  <a:pt x="517257" y="210604"/>
                </a:moveTo>
                <a:lnTo>
                  <a:pt x="516792" y="213292"/>
                </a:lnTo>
                <a:cubicBezTo>
                  <a:pt x="511593" y="245550"/>
                  <a:pt x="503144" y="275027"/>
                  <a:pt x="490888" y="303392"/>
                </a:cubicBezTo>
                <a:cubicBezTo>
                  <a:pt x="500173" y="327771"/>
                  <a:pt x="507043" y="351872"/>
                  <a:pt x="511500" y="374953"/>
                </a:cubicBezTo>
                <a:cubicBezTo>
                  <a:pt x="550682" y="351223"/>
                  <a:pt x="572130" y="321560"/>
                  <a:pt x="572130" y="290971"/>
                </a:cubicBezTo>
                <a:cubicBezTo>
                  <a:pt x="572130" y="262143"/>
                  <a:pt x="552725" y="233778"/>
                  <a:pt x="517257" y="210604"/>
                </a:cubicBezTo>
                <a:close/>
                <a:moveTo>
                  <a:pt x="89041" y="210604"/>
                </a:moveTo>
                <a:cubicBezTo>
                  <a:pt x="53573" y="233778"/>
                  <a:pt x="34168" y="262143"/>
                  <a:pt x="34168" y="290971"/>
                </a:cubicBezTo>
                <a:cubicBezTo>
                  <a:pt x="34168" y="321560"/>
                  <a:pt x="55616" y="351223"/>
                  <a:pt x="94798" y="374953"/>
                </a:cubicBezTo>
                <a:cubicBezTo>
                  <a:pt x="99255" y="351872"/>
                  <a:pt x="106218" y="327771"/>
                  <a:pt x="115410" y="303392"/>
                </a:cubicBezTo>
                <a:cubicBezTo>
                  <a:pt x="103247" y="275027"/>
                  <a:pt x="94705" y="245550"/>
                  <a:pt x="89506" y="213292"/>
                </a:cubicBezTo>
                <a:close/>
                <a:moveTo>
                  <a:pt x="419952" y="171487"/>
                </a:moveTo>
                <a:cubicBezTo>
                  <a:pt x="426451" y="180571"/>
                  <a:pt x="432765" y="190026"/>
                  <a:pt x="438893" y="199666"/>
                </a:cubicBezTo>
                <a:cubicBezTo>
                  <a:pt x="450777" y="218576"/>
                  <a:pt x="461548" y="237856"/>
                  <a:pt x="470833" y="256952"/>
                </a:cubicBezTo>
                <a:cubicBezTo>
                  <a:pt x="477146" y="237949"/>
                  <a:pt x="481510" y="219410"/>
                  <a:pt x="484017" y="200407"/>
                </a:cubicBezTo>
                <a:lnTo>
                  <a:pt x="484946" y="193085"/>
                </a:lnTo>
                <a:cubicBezTo>
                  <a:pt x="465633" y="184278"/>
                  <a:pt x="443814" y="177048"/>
                  <a:pt x="419952" y="171487"/>
                </a:cubicBezTo>
                <a:close/>
                <a:moveTo>
                  <a:pt x="186346" y="171487"/>
                </a:moveTo>
                <a:cubicBezTo>
                  <a:pt x="162577" y="177048"/>
                  <a:pt x="140758" y="184278"/>
                  <a:pt x="121352" y="193085"/>
                </a:cubicBezTo>
                <a:lnTo>
                  <a:pt x="122281" y="200407"/>
                </a:lnTo>
                <a:cubicBezTo>
                  <a:pt x="124881" y="219410"/>
                  <a:pt x="129152" y="237949"/>
                  <a:pt x="135465" y="256952"/>
                </a:cubicBezTo>
                <a:cubicBezTo>
                  <a:pt x="144750" y="237856"/>
                  <a:pt x="155521" y="218576"/>
                  <a:pt x="167405" y="199666"/>
                </a:cubicBezTo>
                <a:cubicBezTo>
                  <a:pt x="173533" y="190026"/>
                  <a:pt x="179847" y="180571"/>
                  <a:pt x="186346" y="171487"/>
                </a:cubicBezTo>
                <a:close/>
                <a:moveTo>
                  <a:pt x="303149" y="159459"/>
                </a:moveTo>
                <a:cubicBezTo>
                  <a:pt x="279473" y="159459"/>
                  <a:pt x="255797" y="160595"/>
                  <a:pt x="236113" y="162866"/>
                </a:cubicBezTo>
                <a:cubicBezTo>
                  <a:pt x="222000" y="180200"/>
                  <a:pt x="208630" y="198739"/>
                  <a:pt x="196559" y="218020"/>
                </a:cubicBezTo>
                <a:cubicBezTo>
                  <a:pt x="179754" y="244438"/>
                  <a:pt x="165270" y="272432"/>
                  <a:pt x="153385" y="301260"/>
                </a:cubicBezTo>
                <a:cubicBezTo>
                  <a:pt x="162020" y="318965"/>
                  <a:pt x="172047" y="337040"/>
                  <a:pt x="184118" y="356321"/>
                </a:cubicBezTo>
                <a:cubicBezTo>
                  <a:pt x="199809" y="381534"/>
                  <a:pt x="207980" y="390340"/>
                  <a:pt x="222835" y="406284"/>
                </a:cubicBezTo>
                <a:cubicBezTo>
                  <a:pt x="224321" y="407767"/>
                  <a:pt x="225807" y="409436"/>
                  <a:pt x="227385" y="411104"/>
                </a:cubicBezTo>
                <a:lnTo>
                  <a:pt x="234813" y="419169"/>
                </a:lnTo>
                <a:cubicBezTo>
                  <a:pt x="254218" y="421486"/>
                  <a:pt x="274273" y="422691"/>
                  <a:pt x="294607" y="422691"/>
                </a:cubicBezTo>
                <a:lnTo>
                  <a:pt x="311784" y="422691"/>
                </a:lnTo>
                <a:cubicBezTo>
                  <a:pt x="332025" y="422691"/>
                  <a:pt x="352080" y="421486"/>
                  <a:pt x="371485" y="419169"/>
                </a:cubicBezTo>
                <a:lnTo>
                  <a:pt x="378913" y="411104"/>
                </a:lnTo>
                <a:cubicBezTo>
                  <a:pt x="380491" y="409436"/>
                  <a:pt x="382070" y="407767"/>
                  <a:pt x="383463" y="406284"/>
                </a:cubicBezTo>
                <a:cubicBezTo>
                  <a:pt x="398318" y="390340"/>
                  <a:pt x="406489" y="381534"/>
                  <a:pt x="422273" y="356321"/>
                </a:cubicBezTo>
                <a:cubicBezTo>
                  <a:pt x="434343" y="337040"/>
                  <a:pt x="444371" y="318965"/>
                  <a:pt x="452913" y="301260"/>
                </a:cubicBezTo>
                <a:cubicBezTo>
                  <a:pt x="441028" y="272432"/>
                  <a:pt x="426544" y="244438"/>
                  <a:pt x="409831" y="218020"/>
                </a:cubicBezTo>
                <a:cubicBezTo>
                  <a:pt x="397668" y="198739"/>
                  <a:pt x="384391" y="180200"/>
                  <a:pt x="370185" y="162866"/>
                </a:cubicBezTo>
                <a:cubicBezTo>
                  <a:pt x="350502" y="160595"/>
                  <a:pt x="326825" y="159459"/>
                  <a:pt x="303149" y="159459"/>
                </a:cubicBezTo>
                <a:close/>
                <a:moveTo>
                  <a:pt x="303149" y="95754"/>
                </a:moveTo>
                <a:cubicBezTo>
                  <a:pt x="291729" y="104931"/>
                  <a:pt x="280494" y="115035"/>
                  <a:pt x="269631" y="125788"/>
                </a:cubicBezTo>
                <a:cubicBezTo>
                  <a:pt x="288758" y="124861"/>
                  <a:pt x="317540" y="124861"/>
                  <a:pt x="336667" y="125788"/>
                </a:cubicBezTo>
                <a:cubicBezTo>
                  <a:pt x="325897" y="115035"/>
                  <a:pt x="314662" y="104931"/>
                  <a:pt x="303149" y="95754"/>
                </a:cubicBezTo>
                <a:close/>
                <a:moveTo>
                  <a:pt x="413453" y="34112"/>
                </a:moveTo>
                <a:cubicBezTo>
                  <a:pt x="388941" y="34112"/>
                  <a:pt x="359693" y="46162"/>
                  <a:pt x="326454" y="70078"/>
                </a:cubicBezTo>
                <a:cubicBezTo>
                  <a:pt x="347530" y="87226"/>
                  <a:pt x="368235" y="107619"/>
                  <a:pt x="388012" y="130608"/>
                </a:cubicBezTo>
                <a:cubicBezTo>
                  <a:pt x="425801" y="136077"/>
                  <a:pt x="460155" y="145346"/>
                  <a:pt x="490424" y="158138"/>
                </a:cubicBezTo>
                <a:lnTo>
                  <a:pt x="490424" y="156933"/>
                </a:lnTo>
                <a:cubicBezTo>
                  <a:pt x="493023" y="105117"/>
                  <a:pt x="478632" y="61179"/>
                  <a:pt x="453841" y="45143"/>
                </a:cubicBezTo>
                <a:cubicBezTo>
                  <a:pt x="442607" y="37820"/>
                  <a:pt x="428958" y="34112"/>
                  <a:pt x="413453" y="34112"/>
                </a:cubicBezTo>
                <a:close/>
                <a:moveTo>
                  <a:pt x="192845" y="34112"/>
                </a:moveTo>
                <a:cubicBezTo>
                  <a:pt x="177340" y="34112"/>
                  <a:pt x="163784" y="37820"/>
                  <a:pt x="152549" y="45143"/>
                </a:cubicBezTo>
                <a:cubicBezTo>
                  <a:pt x="127759" y="61179"/>
                  <a:pt x="113368" y="105117"/>
                  <a:pt x="115874" y="156933"/>
                </a:cubicBezTo>
                <a:lnTo>
                  <a:pt x="115967" y="158138"/>
                </a:lnTo>
                <a:cubicBezTo>
                  <a:pt x="146143" y="145346"/>
                  <a:pt x="180497" y="136077"/>
                  <a:pt x="218286" y="130608"/>
                </a:cubicBezTo>
                <a:cubicBezTo>
                  <a:pt x="238062" y="107619"/>
                  <a:pt x="258768" y="87226"/>
                  <a:pt x="279937" y="70078"/>
                </a:cubicBezTo>
                <a:cubicBezTo>
                  <a:pt x="246697" y="46162"/>
                  <a:pt x="217450" y="34112"/>
                  <a:pt x="192845" y="34112"/>
                </a:cubicBezTo>
                <a:close/>
                <a:moveTo>
                  <a:pt x="192845" y="0"/>
                </a:moveTo>
                <a:cubicBezTo>
                  <a:pt x="225342" y="0"/>
                  <a:pt x="262482" y="14924"/>
                  <a:pt x="303149" y="44494"/>
                </a:cubicBezTo>
                <a:cubicBezTo>
                  <a:pt x="343816" y="14924"/>
                  <a:pt x="380956" y="0"/>
                  <a:pt x="413453" y="0"/>
                </a:cubicBezTo>
                <a:cubicBezTo>
                  <a:pt x="435643" y="0"/>
                  <a:pt x="455513" y="5562"/>
                  <a:pt x="472411" y="16500"/>
                </a:cubicBezTo>
                <a:cubicBezTo>
                  <a:pt x="491445" y="28828"/>
                  <a:pt x="506208" y="50148"/>
                  <a:pt x="515214" y="78050"/>
                </a:cubicBezTo>
                <a:cubicBezTo>
                  <a:pt x="523756" y="104468"/>
                  <a:pt x="526820" y="135613"/>
                  <a:pt x="524127" y="167964"/>
                </a:cubicBezTo>
                <a:lnTo>
                  <a:pt x="524127" y="174824"/>
                </a:lnTo>
                <a:cubicBezTo>
                  <a:pt x="577144" y="205506"/>
                  <a:pt x="606298" y="246662"/>
                  <a:pt x="606298" y="290971"/>
                </a:cubicBezTo>
                <a:cubicBezTo>
                  <a:pt x="606298" y="337597"/>
                  <a:pt x="574451" y="380236"/>
                  <a:pt x="516607" y="411382"/>
                </a:cubicBezTo>
                <a:cubicBezTo>
                  <a:pt x="516700" y="412216"/>
                  <a:pt x="516792" y="412958"/>
                  <a:pt x="516792" y="413792"/>
                </a:cubicBezTo>
                <a:cubicBezTo>
                  <a:pt x="521528" y="479513"/>
                  <a:pt x="503051" y="529105"/>
                  <a:pt x="464519" y="553299"/>
                </a:cubicBezTo>
                <a:cubicBezTo>
                  <a:pt x="448363" y="563495"/>
                  <a:pt x="429701" y="568686"/>
                  <a:pt x="408903" y="568686"/>
                </a:cubicBezTo>
                <a:cubicBezTo>
                  <a:pt x="376870" y="568686"/>
                  <a:pt x="340381" y="556172"/>
                  <a:pt x="303149" y="532628"/>
                </a:cubicBezTo>
                <a:cubicBezTo>
                  <a:pt x="266010" y="556172"/>
                  <a:pt x="229428" y="568686"/>
                  <a:pt x="197395" y="568686"/>
                </a:cubicBezTo>
                <a:cubicBezTo>
                  <a:pt x="176690" y="568686"/>
                  <a:pt x="157935" y="563495"/>
                  <a:pt x="141779" y="553299"/>
                </a:cubicBezTo>
                <a:cubicBezTo>
                  <a:pt x="103340" y="529105"/>
                  <a:pt x="84770" y="479513"/>
                  <a:pt x="89506" y="413700"/>
                </a:cubicBezTo>
                <a:cubicBezTo>
                  <a:pt x="89598" y="412958"/>
                  <a:pt x="89691" y="412124"/>
                  <a:pt x="89784" y="411382"/>
                </a:cubicBezTo>
                <a:cubicBezTo>
                  <a:pt x="31847" y="380236"/>
                  <a:pt x="0" y="337597"/>
                  <a:pt x="0" y="290971"/>
                </a:cubicBezTo>
                <a:cubicBezTo>
                  <a:pt x="0" y="246662"/>
                  <a:pt x="29154" y="205506"/>
                  <a:pt x="82171" y="174824"/>
                </a:cubicBezTo>
                <a:lnTo>
                  <a:pt x="82171" y="167964"/>
                </a:lnTo>
                <a:cubicBezTo>
                  <a:pt x="79478" y="135613"/>
                  <a:pt x="82542" y="104468"/>
                  <a:pt x="91084" y="78050"/>
                </a:cubicBezTo>
                <a:cubicBezTo>
                  <a:pt x="100090" y="50148"/>
                  <a:pt x="114946" y="28828"/>
                  <a:pt x="133887" y="16500"/>
                </a:cubicBezTo>
                <a:cubicBezTo>
                  <a:pt x="150785" y="5562"/>
                  <a:pt x="170655" y="0"/>
                  <a:pt x="192845" y="0"/>
                </a:cubicBezTo>
                <a:close/>
              </a:path>
            </a:pathLst>
          </a:cu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8" name="椭圆 45"/>
          <p:cNvSpPr/>
          <p:nvPr/>
        </p:nvSpPr>
        <p:spPr>
          <a:xfrm>
            <a:off x="8297108" y="2313474"/>
            <a:ext cx="755387" cy="733741"/>
          </a:xfrm>
          <a:custGeom>
            <a:avLst/>
            <a:gdLst>
              <a:gd name="connsiteX0" fmla="*/ 357006 w 608274"/>
              <a:gd name="connsiteY0" fmla="*/ 315793 h 590844"/>
              <a:gd name="connsiteX1" fmla="*/ 344664 w 608274"/>
              <a:gd name="connsiteY1" fmla="*/ 351821 h 590844"/>
              <a:gd name="connsiteX2" fmla="*/ 552405 w 608274"/>
              <a:gd name="connsiteY2" fmla="*/ 559238 h 590844"/>
              <a:gd name="connsiteX3" fmla="*/ 554572 w 608274"/>
              <a:gd name="connsiteY3" fmla="*/ 560178 h 590844"/>
              <a:gd name="connsiteX4" fmla="*/ 554666 w 608274"/>
              <a:gd name="connsiteY4" fmla="*/ 560178 h 590844"/>
              <a:gd name="connsiteX5" fmla="*/ 556928 w 608274"/>
              <a:gd name="connsiteY5" fmla="*/ 559238 h 590844"/>
              <a:gd name="connsiteX6" fmla="*/ 576618 w 608274"/>
              <a:gd name="connsiteY6" fmla="*/ 539578 h 590844"/>
              <a:gd name="connsiteX7" fmla="*/ 577560 w 608274"/>
              <a:gd name="connsiteY7" fmla="*/ 537320 h 590844"/>
              <a:gd name="connsiteX8" fmla="*/ 576618 w 608274"/>
              <a:gd name="connsiteY8" fmla="*/ 535063 h 590844"/>
              <a:gd name="connsiteX9" fmla="*/ 347019 w 608274"/>
              <a:gd name="connsiteY9" fmla="*/ 272617 h 590844"/>
              <a:gd name="connsiteX10" fmla="*/ 361339 w 608274"/>
              <a:gd name="connsiteY10" fmla="*/ 276756 h 590844"/>
              <a:gd name="connsiteX11" fmla="*/ 370572 w 608274"/>
              <a:gd name="connsiteY11" fmla="*/ 285974 h 590844"/>
              <a:gd name="connsiteX12" fmla="*/ 598287 w 608274"/>
              <a:gd name="connsiteY12" fmla="*/ 513333 h 590844"/>
              <a:gd name="connsiteX13" fmla="*/ 608274 w 608274"/>
              <a:gd name="connsiteY13" fmla="*/ 537320 h 590844"/>
              <a:gd name="connsiteX14" fmla="*/ 598287 w 608274"/>
              <a:gd name="connsiteY14" fmla="*/ 561213 h 590844"/>
              <a:gd name="connsiteX15" fmla="*/ 578691 w 608274"/>
              <a:gd name="connsiteY15" fmla="*/ 580873 h 590844"/>
              <a:gd name="connsiteX16" fmla="*/ 554666 w 608274"/>
              <a:gd name="connsiteY16" fmla="*/ 590844 h 590844"/>
              <a:gd name="connsiteX17" fmla="*/ 554572 w 608274"/>
              <a:gd name="connsiteY17" fmla="*/ 590844 h 590844"/>
              <a:gd name="connsiteX18" fmla="*/ 530736 w 608274"/>
              <a:gd name="connsiteY18" fmla="*/ 580873 h 590844"/>
              <a:gd name="connsiteX19" fmla="*/ 316211 w 608274"/>
              <a:gd name="connsiteY19" fmla="*/ 366683 h 590844"/>
              <a:gd name="connsiteX20" fmla="*/ 312442 w 608274"/>
              <a:gd name="connsiteY20" fmla="*/ 350880 h 590844"/>
              <a:gd name="connsiteX21" fmla="*/ 327328 w 608274"/>
              <a:gd name="connsiteY21" fmla="*/ 307610 h 590844"/>
              <a:gd name="connsiteX22" fmla="*/ 335902 w 608274"/>
              <a:gd name="connsiteY22" fmla="*/ 282588 h 590844"/>
              <a:gd name="connsiteX23" fmla="*/ 347019 w 608274"/>
              <a:gd name="connsiteY23" fmla="*/ 272617 h 590844"/>
              <a:gd name="connsiteX24" fmla="*/ 74870 w 608274"/>
              <a:gd name="connsiteY24" fmla="*/ 82350 h 590844"/>
              <a:gd name="connsiteX25" fmla="*/ 426850 w 608274"/>
              <a:gd name="connsiteY25" fmla="*/ 82350 h 590844"/>
              <a:gd name="connsiteX26" fmla="*/ 426850 w 608274"/>
              <a:gd name="connsiteY26" fmla="*/ 306027 h 590844"/>
              <a:gd name="connsiteX27" fmla="*/ 379461 w 608274"/>
              <a:gd name="connsiteY27" fmla="*/ 258714 h 590844"/>
              <a:gd name="connsiteX28" fmla="*/ 341210 w 608274"/>
              <a:gd name="connsiteY28" fmla="*/ 247709 h 590844"/>
              <a:gd name="connsiteX29" fmla="*/ 315867 w 608274"/>
              <a:gd name="connsiteY29" fmla="*/ 265957 h 590844"/>
              <a:gd name="connsiteX30" fmla="*/ 204507 w 608274"/>
              <a:gd name="connsiteY30" fmla="*/ 235763 h 590844"/>
              <a:gd name="connsiteX31" fmla="*/ 195274 w 608274"/>
              <a:gd name="connsiteY31" fmla="*/ 230590 h 590844"/>
              <a:gd name="connsiteX32" fmla="*/ 213740 w 608274"/>
              <a:gd name="connsiteY32" fmla="*/ 231154 h 590844"/>
              <a:gd name="connsiteX33" fmla="*/ 225517 w 608274"/>
              <a:gd name="connsiteY33" fmla="*/ 231719 h 590844"/>
              <a:gd name="connsiteX34" fmla="*/ 248599 w 608274"/>
              <a:gd name="connsiteY34" fmla="*/ 232377 h 590844"/>
              <a:gd name="connsiteX35" fmla="*/ 322085 w 608274"/>
              <a:gd name="connsiteY35" fmla="*/ 227674 h 590844"/>
              <a:gd name="connsiteX36" fmla="*/ 361749 w 608274"/>
              <a:gd name="connsiteY36" fmla="*/ 186852 h 590844"/>
              <a:gd name="connsiteX37" fmla="*/ 323216 w 608274"/>
              <a:gd name="connsiteY37" fmla="*/ 133049 h 590844"/>
              <a:gd name="connsiteX38" fmla="*/ 205167 w 608274"/>
              <a:gd name="connsiteY38" fmla="*/ 122514 h 590844"/>
              <a:gd name="connsiteX39" fmla="*/ 158248 w 608274"/>
              <a:gd name="connsiteY39" fmla="*/ 124395 h 590844"/>
              <a:gd name="connsiteX40" fmla="*/ 157683 w 608274"/>
              <a:gd name="connsiteY40" fmla="*/ 124395 h 590844"/>
              <a:gd name="connsiteX41" fmla="*/ 137239 w 608274"/>
              <a:gd name="connsiteY41" fmla="*/ 144336 h 590844"/>
              <a:gd name="connsiteX42" fmla="*/ 157212 w 608274"/>
              <a:gd name="connsiteY42" fmla="*/ 165312 h 590844"/>
              <a:gd name="connsiteX43" fmla="*/ 208087 w 608274"/>
              <a:gd name="connsiteY43" fmla="*/ 163336 h 590844"/>
              <a:gd name="connsiteX44" fmla="*/ 306634 w 608274"/>
              <a:gd name="connsiteY44" fmla="*/ 170485 h 590844"/>
              <a:gd name="connsiteX45" fmla="*/ 321049 w 608274"/>
              <a:gd name="connsiteY45" fmla="*/ 183465 h 590844"/>
              <a:gd name="connsiteX46" fmla="*/ 311251 w 608274"/>
              <a:gd name="connsiteY46" fmla="*/ 188263 h 590844"/>
              <a:gd name="connsiteX47" fmla="*/ 250200 w 608274"/>
              <a:gd name="connsiteY47" fmla="*/ 191461 h 590844"/>
              <a:gd name="connsiteX48" fmla="*/ 225517 w 608274"/>
              <a:gd name="connsiteY48" fmla="*/ 190896 h 590844"/>
              <a:gd name="connsiteX49" fmla="*/ 216755 w 608274"/>
              <a:gd name="connsiteY49" fmla="*/ 190426 h 590844"/>
              <a:gd name="connsiteX50" fmla="*/ 156929 w 608274"/>
              <a:gd name="connsiteY50" fmla="*/ 206040 h 590844"/>
              <a:gd name="connsiteX51" fmla="*/ 150335 w 608274"/>
              <a:gd name="connsiteY51" fmla="*/ 236516 h 590844"/>
              <a:gd name="connsiteX52" fmla="*/ 187078 w 608274"/>
              <a:gd name="connsiteY52" fmla="*/ 272823 h 590844"/>
              <a:gd name="connsiteX53" fmla="*/ 300887 w 608274"/>
              <a:gd name="connsiteY53" fmla="*/ 305839 h 590844"/>
              <a:gd name="connsiteX54" fmla="*/ 291277 w 608274"/>
              <a:gd name="connsiteY54" fmla="*/ 334057 h 590844"/>
              <a:gd name="connsiteX55" fmla="*/ 74870 w 608274"/>
              <a:gd name="connsiteY55" fmla="*/ 334057 h 590844"/>
              <a:gd name="connsiteX56" fmla="*/ 41731 w 608274"/>
              <a:gd name="connsiteY56" fmla="*/ 0 h 590844"/>
              <a:gd name="connsiteX57" fmla="*/ 459894 w 608274"/>
              <a:gd name="connsiteY57" fmla="*/ 0 h 590844"/>
              <a:gd name="connsiteX58" fmla="*/ 501720 w 608274"/>
              <a:gd name="connsiteY58" fmla="*/ 41669 h 590844"/>
              <a:gd name="connsiteX59" fmla="*/ 501720 w 608274"/>
              <a:gd name="connsiteY59" fmla="*/ 374737 h 590844"/>
              <a:gd name="connsiteX60" fmla="*/ 501155 w 608274"/>
              <a:gd name="connsiteY60" fmla="*/ 380193 h 590844"/>
              <a:gd name="connsiteX61" fmla="*/ 457539 w 608274"/>
              <a:gd name="connsiteY61" fmla="*/ 336643 h 590844"/>
              <a:gd name="connsiteX62" fmla="*/ 457539 w 608274"/>
              <a:gd name="connsiteY62" fmla="*/ 66971 h 590844"/>
              <a:gd name="connsiteX63" fmla="*/ 442184 w 608274"/>
              <a:gd name="connsiteY63" fmla="*/ 51639 h 590844"/>
              <a:gd name="connsiteX64" fmla="*/ 59536 w 608274"/>
              <a:gd name="connsiteY64" fmla="*/ 51639 h 590844"/>
              <a:gd name="connsiteX65" fmla="*/ 44181 w 608274"/>
              <a:gd name="connsiteY65" fmla="*/ 66971 h 590844"/>
              <a:gd name="connsiteX66" fmla="*/ 44181 w 608274"/>
              <a:gd name="connsiteY66" fmla="*/ 349341 h 590844"/>
              <a:gd name="connsiteX67" fmla="*/ 59536 w 608274"/>
              <a:gd name="connsiteY67" fmla="*/ 364673 h 590844"/>
              <a:gd name="connsiteX68" fmla="*/ 287128 w 608274"/>
              <a:gd name="connsiteY68" fmla="*/ 364673 h 590844"/>
              <a:gd name="connsiteX69" fmla="*/ 298055 w 608274"/>
              <a:gd name="connsiteY69" fmla="*/ 384708 h 590844"/>
              <a:gd name="connsiteX70" fmla="*/ 329801 w 608274"/>
              <a:gd name="connsiteY70" fmla="*/ 416406 h 590844"/>
              <a:gd name="connsiteX71" fmla="*/ 41731 w 608274"/>
              <a:gd name="connsiteY71" fmla="*/ 416406 h 590844"/>
              <a:gd name="connsiteX72" fmla="*/ 0 w 608274"/>
              <a:gd name="connsiteY72" fmla="*/ 374737 h 590844"/>
              <a:gd name="connsiteX73" fmla="*/ 0 w 608274"/>
              <a:gd name="connsiteY73" fmla="*/ 41669 h 590844"/>
              <a:gd name="connsiteX74" fmla="*/ 41731 w 608274"/>
              <a:gd name="connsiteY74" fmla="*/ 0 h 5908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</a:cxnLst>
            <a:rect l="l" t="t" r="r" b="b"/>
            <a:pathLst>
              <a:path w="608274" h="590844">
                <a:moveTo>
                  <a:pt x="357006" y="315793"/>
                </a:moveTo>
                <a:lnTo>
                  <a:pt x="344664" y="351821"/>
                </a:lnTo>
                <a:lnTo>
                  <a:pt x="552405" y="559238"/>
                </a:lnTo>
                <a:cubicBezTo>
                  <a:pt x="552971" y="559802"/>
                  <a:pt x="553818" y="560178"/>
                  <a:pt x="554572" y="560178"/>
                </a:cubicBezTo>
                <a:lnTo>
                  <a:pt x="554666" y="560178"/>
                </a:lnTo>
                <a:cubicBezTo>
                  <a:pt x="555514" y="560178"/>
                  <a:pt x="556362" y="559802"/>
                  <a:pt x="556928" y="559238"/>
                </a:cubicBezTo>
                <a:lnTo>
                  <a:pt x="576618" y="539578"/>
                </a:lnTo>
                <a:cubicBezTo>
                  <a:pt x="577372" y="538825"/>
                  <a:pt x="577560" y="537885"/>
                  <a:pt x="577560" y="537320"/>
                </a:cubicBezTo>
                <a:cubicBezTo>
                  <a:pt x="577560" y="536756"/>
                  <a:pt x="577372" y="535815"/>
                  <a:pt x="576618" y="535063"/>
                </a:cubicBezTo>
                <a:close/>
                <a:moveTo>
                  <a:pt x="347019" y="272617"/>
                </a:moveTo>
                <a:cubicBezTo>
                  <a:pt x="352106" y="271394"/>
                  <a:pt x="357571" y="272993"/>
                  <a:pt x="361339" y="276756"/>
                </a:cubicBezTo>
                <a:lnTo>
                  <a:pt x="370572" y="285974"/>
                </a:lnTo>
                <a:lnTo>
                  <a:pt x="598287" y="513333"/>
                </a:lnTo>
                <a:cubicBezTo>
                  <a:pt x="604694" y="519730"/>
                  <a:pt x="608274" y="528290"/>
                  <a:pt x="608274" y="537320"/>
                </a:cubicBezTo>
                <a:cubicBezTo>
                  <a:pt x="608274" y="546351"/>
                  <a:pt x="604694" y="554817"/>
                  <a:pt x="598287" y="561213"/>
                </a:cubicBezTo>
                <a:lnTo>
                  <a:pt x="578691" y="580873"/>
                </a:lnTo>
                <a:cubicBezTo>
                  <a:pt x="572284" y="587269"/>
                  <a:pt x="563805" y="590844"/>
                  <a:pt x="554666" y="590844"/>
                </a:cubicBezTo>
                <a:lnTo>
                  <a:pt x="554572" y="590844"/>
                </a:lnTo>
                <a:cubicBezTo>
                  <a:pt x="545622" y="590844"/>
                  <a:pt x="537143" y="587269"/>
                  <a:pt x="530736" y="580873"/>
                </a:cubicBezTo>
                <a:lnTo>
                  <a:pt x="316211" y="366683"/>
                </a:lnTo>
                <a:cubicBezTo>
                  <a:pt x="312066" y="362544"/>
                  <a:pt x="310558" y="356430"/>
                  <a:pt x="312442" y="350880"/>
                </a:cubicBezTo>
                <a:lnTo>
                  <a:pt x="327328" y="307610"/>
                </a:lnTo>
                <a:lnTo>
                  <a:pt x="335902" y="282588"/>
                </a:lnTo>
                <a:cubicBezTo>
                  <a:pt x="337598" y="277602"/>
                  <a:pt x="341837" y="273840"/>
                  <a:pt x="347019" y="272617"/>
                </a:cubicBezTo>
                <a:close/>
                <a:moveTo>
                  <a:pt x="74870" y="82350"/>
                </a:moveTo>
                <a:lnTo>
                  <a:pt x="426850" y="82350"/>
                </a:lnTo>
                <a:lnTo>
                  <a:pt x="426850" y="306027"/>
                </a:lnTo>
                <a:lnTo>
                  <a:pt x="379461" y="258714"/>
                </a:lnTo>
                <a:cubicBezTo>
                  <a:pt x="369474" y="248650"/>
                  <a:pt x="354966" y="244511"/>
                  <a:pt x="341210" y="247709"/>
                </a:cubicBezTo>
                <a:cubicBezTo>
                  <a:pt x="330564" y="250249"/>
                  <a:pt x="321520" y="256927"/>
                  <a:pt x="315867" y="265957"/>
                </a:cubicBezTo>
                <a:cubicBezTo>
                  <a:pt x="275073" y="263229"/>
                  <a:pt x="245113" y="254764"/>
                  <a:pt x="204507" y="235763"/>
                </a:cubicBezTo>
                <a:cubicBezTo>
                  <a:pt x="200550" y="233882"/>
                  <a:pt x="197535" y="232095"/>
                  <a:pt x="195274" y="230590"/>
                </a:cubicBezTo>
                <a:cubicBezTo>
                  <a:pt x="201398" y="230308"/>
                  <a:pt x="209500" y="230872"/>
                  <a:pt x="213740" y="231154"/>
                </a:cubicBezTo>
                <a:cubicBezTo>
                  <a:pt x="218262" y="231531"/>
                  <a:pt x="222313" y="231719"/>
                  <a:pt x="225517" y="231719"/>
                </a:cubicBezTo>
                <a:cubicBezTo>
                  <a:pt x="232959" y="231719"/>
                  <a:pt x="240779" y="232095"/>
                  <a:pt x="248599" y="232377"/>
                </a:cubicBezTo>
                <a:cubicBezTo>
                  <a:pt x="272812" y="233318"/>
                  <a:pt x="297966" y="234258"/>
                  <a:pt x="322085" y="227674"/>
                </a:cubicBezTo>
                <a:cubicBezTo>
                  <a:pt x="355813" y="218456"/>
                  <a:pt x="361089" y="196070"/>
                  <a:pt x="361749" y="186852"/>
                </a:cubicBezTo>
                <a:cubicBezTo>
                  <a:pt x="363351" y="165594"/>
                  <a:pt x="347900" y="143960"/>
                  <a:pt x="323216" y="133049"/>
                </a:cubicBezTo>
                <a:cubicBezTo>
                  <a:pt x="286190" y="116776"/>
                  <a:pt x="245019" y="119692"/>
                  <a:pt x="205167" y="122514"/>
                </a:cubicBezTo>
                <a:cubicBezTo>
                  <a:pt x="188585" y="123737"/>
                  <a:pt x="172851" y="124866"/>
                  <a:pt x="158248" y="124395"/>
                </a:cubicBezTo>
                <a:lnTo>
                  <a:pt x="157683" y="124395"/>
                </a:lnTo>
                <a:cubicBezTo>
                  <a:pt x="146660" y="124395"/>
                  <a:pt x="137522" y="133237"/>
                  <a:pt x="137239" y="144336"/>
                </a:cubicBezTo>
                <a:cubicBezTo>
                  <a:pt x="136956" y="155623"/>
                  <a:pt x="145907" y="165030"/>
                  <a:pt x="157212" y="165312"/>
                </a:cubicBezTo>
                <a:cubicBezTo>
                  <a:pt x="173699" y="165688"/>
                  <a:pt x="191223" y="164465"/>
                  <a:pt x="208087" y="163336"/>
                </a:cubicBezTo>
                <a:cubicBezTo>
                  <a:pt x="242946" y="160891"/>
                  <a:pt x="278935" y="158257"/>
                  <a:pt x="306634" y="170485"/>
                </a:cubicBezTo>
                <a:cubicBezTo>
                  <a:pt x="316809" y="174906"/>
                  <a:pt x="320955" y="181866"/>
                  <a:pt x="321049" y="183465"/>
                </a:cubicBezTo>
                <a:cubicBezTo>
                  <a:pt x="320672" y="184124"/>
                  <a:pt x="318034" y="186381"/>
                  <a:pt x="311251" y="188263"/>
                </a:cubicBezTo>
                <a:cubicBezTo>
                  <a:pt x="293256" y="193248"/>
                  <a:pt x="271398" y="192307"/>
                  <a:pt x="250200" y="191461"/>
                </a:cubicBezTo>
                <a:cubicBezTo>
                  <a:pt x="241815" y="191178"/>
                  <a:pt x="233525" y="190896"/>
                  <a:pt x="225517" y="190896"/>
                </a:cubicBezTo>
                <a:cubicBezTo>
                  <a:pt x="223067" y="190896"/>
                  <a:pt x="220052" y="190614"/>
                  <a:pt x="216755" y="190426"/>
                </a:cubicBezTo>
                <a:cubicBezTo>
                  <a:pt x="198477" y="189015"/>
                  <a:pt x="170873" y="187134"/>
                  <a:pt x="156929" y="206040"/>
                </a:cubicBezTo>
                <a:cubicBezTo>
                  <a:pt x="150052" y="215258"/>
                  <a:pt x="147697" y="226075"/>
                  <a:pt x="150335" y="236516"/>
                </a:cubicBezTo>
                <a:cubicBezTo>
                  <a:pt x="154857" y="254387"/>
                  <a:pt x="172851" y="266145"/>
                  <a:pt x="187078" y="272823"/>
                </a:cubicBezTo>
                <a:cubicBezTo>
                  <a:pt x="228437" y="292200"/>
                  <a:pt x="260752" y="301888"/>
                  <a:pt x="300887" y="305839"/>
                </a:cubicBezTo>
                <a:lnTo>
                  <a:pt x="291277" y="334057"/>
                </a:lnTo>
                <a:lnTo>
                  <a:pt x="74870" y="334057"/>
                </a:lnTo>
                <a:close/>
                <a:moveTo>
                  <a:pt x="41731" y="0"/>
                </a:moveTo>
                <a:lnTo>
                  <a:pt x="459894" y="0"/>
                </a:lnTo>
                <a:cubicBezTo>
                  <a:pt x="482974" y="0"/>
                  <a:pt x="501720" y="18624"/>
                  <a:pt x="501720" y="41669"/>
                </a:cubicBezTo>
                <a:lnTo>
                  <a:pt x="501720" y="374737"/>
                </a:lnTo>
                <a:cubicBezTo>
                  <a:pt x="501720" y="376618"/>
                  <a:pt x="501343" y="378311"/>
                  <a:pt x="501155" y="380193"/>
                </a:cubicBezTo>
                <a:lnTo>
                  <a:pt x="457539" y="336643"/>
                </a:lnTo>
                <a:lnTo>
                  <a:pt x="457539" y="66971"/>
                </a:lnTo>
                <a:cubicBezTo>
                  <a:pt x="457539" y="58506"/>
                  <a:pt x="450663" y="51639"/>
                  <a:pt x="442184" y="51639"/>
                </a:cubicBezTo>
                <a:lnTo>
                  <a:pt x="59536" y="51639"/>
                </a:lnTo>
                <a:cubicBezTo>
                  <a:pt x="51057" y="51639"/>
                  <a:pt x="44181" y="58506"/>
                  <a:pt x="44181" y="66971"/>
                </a:cubicBezTo>
                <a:lnTo>
                  <a:pt x="44181" y="349341"/>
                </a:lnTo>
                <a:cubicBezTo>
                  <a:pt x="44181" y="357806"/>
                  <a:pt x="51057" y="364673"/>
                  <a:pt x="59536" y="364673"/>
                </a:cubicBezTo>
                <a:lnTo>
                  <a:pt x="287128" y="364673"/>
                </a:lnTo>
                <a:cubicBezTo>
                  <a:pt x="288729" y="372198"/>
                  <a:pt x="292497" y="379158"/>
                  <a:pt x="298055" y="384708"/>
                </a:cubicBezTo>
                <a:lnTo>
                  <a:pt x="329801" y="416406"/>
                </a:lnTo>
                <a:lnTo>
                  <a:pt x="41731" y="416406"/>
                </a:lnTo>
                <a:cubicBezTo>
                  <a:pt x="18746" y="416406"/>
                  <a:pt x="0" y="397688"/>
                  <a:pt x="0" y="374737"/>
                </a:cubicBezTo>
                <a:lnTo>
                  <a:pt x="0" y="41669"/>
                </a:lnTo>
                <a:cubicBezTo>
                  <a:pt x="0" y="18624"/>
                  <a:pt x="18746" y="0"/>
                  <a:pt x="41731" y="0"/>
                </a:cubicBezTo>
                <a:close/>
              </a:path>
            </a:pathLst>
          </a:cu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29" name="组合 28"/>
          <p:cNvGrpSpPr/>
          <p:nvPr/>
        </p:nvGrpSpPr>
        <p:grpSpPr>
          <a:xfrm>
            <a:off x="4905616" y="3429000"/>
            <a:ext cx="2548478" cy="1518353"/>
            <a:chOff x="4616186" y="-597888"/>
            <a:chExt cx="2548478" cy="1518353"/>
          </a:xfrm>
        </p:grpSpPr>
        <p:sp>
          <p:nvSpPr>
            <p:cNvPr id="30" name="TextBox 53"/>
            <p:cNvSpPr txBox="1"/>
            <p:nvPr/>
          </p:nvSpPr>
          <p:spPr>
            <a:xfrm>
              <a:off x="4616186" y="-12098"/>
              <a:ext cx="2548478" cy="9325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1" name="TextBox 42"/>
            <p:cNvSpPr txBox="1"/>
            <p:nvPr/>
          </p:nvSpPr>
          <p:spPr>
            <a:xfrm>
              <a:off x="4616186" y="-597888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32" name="组合 31"/>
          <p:cNvGrpSpPr/>
          <p:nvPr/>
        </p:nvGrpSpPr>
        <p:grpSpPr>
          <a:xfrm>
            <a:off x="8234798" y="3429000"/>
            <a:ext cx="2548478" cy="1518353"/>
            <a:chOff x="4616186" y="-597888"/>
            <a:chExt cx="2548478" cy="1518353"/>
          </a:xfrm>
        </p:grpSpPr>
        <p:sp>
          <p:nvSpPr>
            <p:cNvPr id="33" name="TextBox 53"/>
            <p:cNvSpPr txBox="1"/>
            <p:nvPr/>
          </p:nvSpPr>
          <p:spPr>
            <a:xfrm>
              <a:off x="4616186" y="-12098"/>
              <a:ext cx="2548478" cy="9325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4" name="TextBox 42"/>
            <p:cNvSpPr txBox="1"/>
            <p:nvPr/>
          </p:nvSpPr>
          <p:spPr>
            <a:xfrm>
              <a:off x="4616186" y="-597888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500"/>
                            </p:stCondLst>
                            <p:childTnLst>
                              <p:par>
                                <p:cTn id="25" presetID="53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2000"/>
                            </p:stCondLst>
                            <p:childTnLst>
                              <p:par>
                                <p:cTn id="36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500"/>
                            </p:stCondLst>
                            <p:childTnLst>
                              <p:par>
                                <p:cTn id="41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 animBg="1"/>
      <p:bldP spid="36" grpId="0" animBg="1"/>
      <p:bldP spid="17" grpId="0" animBg="1"/>
      <p:bldP spid="18" grpId="0" animBg="1"/>
      <p:bldP spid="27" grpId="0" animBg="1"/>
      <p:bldP spid="2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4"/>
          <p:cNvGrpSpPr/>
          <p:nvPr/>
        </p:nvGrpSpPr>
        <p:grpSpPr>
          <a:xfrm>
            <a:off x="5138155" y="1704109"/>
            <a:ext cx="1752928" cy="3404937"/>
            <a:chOff x="5122851" y="1910225"/>
            <a:chExt cx="1874368" cy="3640827"/>
          </a:xfrm>
        </p:grpSpPr>
        <p:sp>
          <p:nvSpPr>
            <p:cNvPr id="13" name="Freeform 417"/>
            <p:cNvSpPr/>
            <p:nvPr/>
          </p:nvSpPr>
          <p:spPr bwMode="auto">
            <a:xfrm>
              <a:off x="5494526" y="1910225"/>
              <a:ext cx="1182969" cy="1182969"/>
            </a:xfrm>
            <a:custGeom>
              <a:avLst/>
              <a:gdLst>
                <a:gd name="T0" fmla="*/ 886 w 888"/>
                <a:gd name="T1" fmla="*/ 467 h 889"/>
                <a:gd name="T2" fmla="*/ 878 w 888"/>
                <a:gd name="T3" fmla="*/ 534 h 889"/>
                <a:gd name="T4" fmla="*/ 860 w 888"/>
                <a:gd name="T5" fmla="*/ 597 h 889"/>
                <a:gd name="T6" fmla="*/ 834 w 888"/>
                <a:gd name="T7" fmla="*/ 656 h 889"/>
                <a:gd name="T8" fmla="*/ 799 w 888"/>
                <a:gd name="T9" fmla="*/ 711 h 889"/>
                <a:gd name="T10" fmla="*/ 757 w 888"/>
                <a:gd name="T11" fmla="*/ 758 h 889"/>
                <a:gd name="T12" fmla="*/ 709 w 888"/>
                <a:gd name="T13" fmla="*/ 800 h 889"/>
                <a:gd name="T14" fmla="*/ 655 w 888"/>
                <a:gd name="T15" fmla="*/ 835 h 889"/>
                <a:gd name="T16" fmla="*/ 597 w 888"/>
                <a:gd name="T17" fmla="*/ 861 h 889"/>
                <a:gd name="T18" fmla="*/ 533 w 888"/>
                <a:gd name="T19" fmla="*/ 880 h 889"/>
                <a:gd name="T20" fmla="*/ 466 w 888"/>
                <a:gd name="T21" fmla="*/ 887 h 889"/>
                <a:gd name="T22" fmla="*/ 420 w 888"/>
                <a:gd name="T23" fmla="*/ 887 h 889"/>
                <a:gd name="T24" fmla="*/ 354 w 888"/>
                <a:gd name="T25" fmla="*/ 880 h 889"/>
                <a:gd name="T26" fmla="*/ 291 w 888"/>
                <a:gd name="T27" fmla="*/ 861 h 889"/>
                <a:gd name="T28" fmla="*/ 232 w 888"/>
                <a:gd name="T29" fmla="*/ 835 h 889"/>
                <a:gd name="T30" fmla="*/ 178 w 888"/>
                <a:gd name="T31" fmla="*/ 800 h 889"/>
                <a:gd name="T32" fmla="*/ 130 w 888"/>
                <a:gd name="T33" fmla="*/ 758 h 889"/>
                <a:gd name="T34" fmla="*/ 88 w 888"/>
                <a:gd name="T35" fmla="*/ 711 h 889"/>
                <a:gd name="T36" fmla="*/ 53 w 888"/>
                <a:gd name="T37" fmla="*/ 656 h 889"/>
                <a:gd name="T38" fmla="*/ 27 w 888"/>
                <a:gd name="T39" fmla="*/ 597 h 889"/>
                <a:gd name="T40" fmla="*/ 9 w 888"/>
                <a:gd name="T41" fmla="*/ 534 h 889"/>
                <a:gd name="T42" fmla="*/ 1 w 888"/>
                <a:gd name="T43" fmla="*/ 467 h 889"/>
                <a:gd name="T44" fmla="*/ 1 w 888"/>
                <a:gd name="T45" fmla="*/ 422 h 889"/>
                <a:gd name="T46" fmla="*/ 9 w 888"/>
                <a:gd name="T47" fmla="*/ 355 h 889"/>
                <a:gd name="T48" fmla="*/ 27 w 888"/>
                <a:gd name="T49" fmla="*/ 292 h 889"/>
                <a:gd name="T50" fmla="*/ 53 w 888"/>
                <a:gd name="T51" fmla="*/ 233 h 889"/>
                <a:gd name="T52" fmla="*/ 88 w 888"/>
                <a:gd name="T53" fmla="*/ 180 h 889"/>
                <a:gd name="T54" fmla="*/ 130 w 888"/>
                <a:gd name="T55" fmla="*/ 131 h 889"/>
                <a:gd name="T56" fmla="*/ 178 w 888"/>
                <a:gd name="T57" fmla="*/ 89 h 889"/>
                <a:gd name="T58" fmla="*/ 232 w 888"/>
                <a:gd name="T59" fmla="*/ 54 h 889"/>
                <a:gd name="T60" fmla="*/ 291 w 888"/>
                <a:gd name="T61" fmla="*/ 28 h 889"/>
                <a:gd name="T62" fmla="*/ 354 w 888"/>
                <a:gd name="T63" fmla="*/ 10 h 889"/>
                <a:gd name="T64" fmla="*/ 420 w 888"/>
                <a:gd name="T65" fmla="*/ 2 h 889"/>
                <a:gd name="T66" fmla="*/ 466 w 888"/>
                <a:gd name="T67" fmla="*/ 2 h 889"/>
                <a:gd name="T68" fmla="*/ 533 w 888"/>
                <a:gd name="T69" fmla="*/ 10 h 889"/>
                <a:gd name="T70" fmla="*/ 597 w 888"/>
                <a:gd name="T71" fmla="*/ 28 h 889"/>
                <a:gd name="T72" fmla="*/ 655 w 888"/>
                <a:gd name="T73" fmla="*/ 54 h 889"/>
                <a:gd name="T74" fmla="*/ 709 w 888"/>
                <a:gd name="T75" fmla="*/ 89 h 889"/>
                <a:gd name="T76" fmla="*/ 757 w 888"/>
                <a:gd name="T77" fmla="*/ 131 h 889"/>
                <a:gd name="T78" fmla="*/ 799 w 888"/>
                <a:gd name="T79" fmla="*/ 180 h 889"/>
                <a:gd name="T80" fmla="*/ 834 w 888"/>
                <a:gd name="T81" fmla="*/ 233 h 889"/>
                <a:gd name="T82" fmla="*/ 860 w 888"/>
                <a:gd name="T83" fmla="*/ 292 h 889"/>
                <a:gd name="T84" fmla="*/ 878 w 888"/>
                <a:gd name="T85" fmla="*/ 355 h 889"/>
                <a:gd name="T86" fmla="*/ 886 w 888"/>
                <a:gd name="T87" fmla="*/ 422 h 8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8" h="889">
                  <a:moveTo>
                    <a:pt x="888" y="445"/>
                  </a:moveTo>
                  <a:lnTo>
                    <a:pt x="888" y="445"/>
                  </a:lnTo>
                  <a:lnTo>
                    <a:pt x="886" y="467"/>
                  </a:lnTo>
                  <a:lnTo>
                    <a:pt x="885" y="491"/>
                  </a:lnTo>
                  <a:lnTo>
                    <a:pt x="883" y="512"/>
                  </a:lnTo>
                  <a:lnTo>
                    <a:pt x="878" y="534"/>
                  </a:lnTo>
                  <a:lnTo>
                    <a:pt x="873" y="555"/>
                  </a:lnTo>
                  <a:lnTo>
                    <a:pt x="868" y="576"/>
                  </a:lnTo>
                  <a:lnTo>
                    <a:pt x="860" y="597"/>
                  </a:lnTo>
                  <a:lnTo>
                    <a:pt x="853" y="617"/>
                  </a:lnTo>
                  <a:lnTo>
                    <a:pt x="843" y="637"/>
                  </a:lnTo>
                  <a:lnTo>
                    <a:pt x="834" y="656"/>
                  </a:lnTo>
                  <a:lnTo>
                    <a:pt x="823" y="675"/>
                  </a:lnTo>
                  <a:lnTo>
                    <a:pt x="812" y="693"/>
                  </a:lnTo>
                  <a:lnTo>
                    <a:pt x="799" y="711"/>
                  </a:lnTo>
                  <a:lnTo>
                    <a:pt x="786" y="727"/>
                  </a:lnTo>
                  <a:lnTo>
                    <a:pt x="772" y="743"/>
                  </a:lnTo>
                  <a:lnTo>
                    <a:pt x="757" y="758"/>
                  </a:lnTo>
                  <a:lnTo>
                    <a:pt x="742" y="773"/>
                  </a:lnTo>
                  <a:lnTo>
                    <a:pt x="726" y="787"/>
                  </a:lnTo>
                  <a:lnTo>
                    <a:pt x="709" y="800"/>
                  </a:lnTo>
                  <a:lnTo>
                    <a:pt x="691" y="813"/>
                  </a:lnTo>
                  <a:lnTo>
                    <a:pt x="674" y="824"/>
                  </a:lnTo>
                  <a:lnTo>
                    <a:pt x="655" y="835"/>
                  </a:lnTo>
                  <a:lnTo>
                    <a:pt x="636" y="845"/>
                  </a:lnTo>
                  <a:lnTo>
                    <a:pt x="617" y="854"/>
                  </a:lnTo>
                  <a:lnTo>
                    <a:pt x="597" y="861"/>
                  </a:lnTo>
                  <a:lnTo>
                    <a:pt x="575" y="869"/>
                  </a:lnTo>
                  <a:lnTo>
                    <a:pt x="554" y="875"/>
                  </a:lnTo>
                  <a:lnTo>
                    <a:pt x="533" y="880"/>
                  </a:lnTo>
                  <a:lnTo>
                    <a:pt x="511" y="884"/>
                  </a:lnTo>
                  <a:lnTo>
                    <a:pt x="488" y="886"/>
                  </a:lnTo>
                  <a:lnTo>
                    <a:pt x="466" y="887"/>
                  </a:lnTo>
                  <a:lnTo>
                    <a:pt x="444" y="889"/>
                  </a:lnTo>
                  <a:lnTo>
                    <a:pt x="444" y="889"/>
                  </a:lnTo>
                  <a:lnTo>
                    <a:pt x="420" y="887"/>
                  </a:lnTo>
                  <a:lnTo>
                    <a:pt x="398" y="886"/>
                  </a:lnTo>
                  <a:lnTo>
                    <a:pt x="377" y="884"/>
                  </a:lnTo>
                  <a:lnTo>
                    <a:pt x="354" y="880"/>
                  </a:lnTo>
                  <a:lnTo>
                    <a:pt x="333" y="875"/>
                  </a:lnTo>
                  <a:lnTo>
                    <a:pt x="312" y="869"/>
                  </a:lnTo>
                  <a:lnTo>
                    <a:pt x="291" y="861"/>
                  </a:lnTo>
                  <a:lnTo>
                    <a:pt x="271" y="854"/>
                  </a:lnTo>
                  <a:lnTo>
                    <a:pt x="251" y="845"/>
                  </a:lnTo>
                  <a:lnTo>
                    <a:pt x="232" y="835"/>
                  </a:lnTo>
                  <a:lnTo>
                    <a:pt x="214" y="824"/>
                  </a:lnTo>
                  <a:lnTo>
                    <a:pt x="195" y="813"/>
                  </a:lnTo>
                  <a:lnTo>
                    <a:pt x="178" y="800"/>
                  </a:lnTo>
                  <a:lnTo>
                    <a:pt x="161" y="787"/>
                  </a:lnTo>
                  <a:lnTo>
                    <a:pt x="145" y="773"/>
                  </a:lnTo>
                  <a:lnTo>
                    <a:pt x="130" y="758"/>
                  </a:lnTo>
                  <a:lnTo>
                    <a:pt x="115" y="743"/>
                  </a:lnTo>
                  <a:lnTo>
                    <a:pt x="102" y="727"/>
                  </a:lnTo>
                  <a:lnTo>
                    <a:pt x="88" y="711"/>
                  </a:lnTo>
                  <a:lnTo>
                    <a:pt x="76" y="693"/>
                  </a:lnTo>
                  <a:lnTo>
                    <a:pt x="64" y="675"/>
                  </a:lnTo>
                  <a:lnTo>
                    <a:pt x="53" y="656"/>
                  </a:lnTo>
                  <a:lnTo>
                    <a:pt x="43" y="637"/>
                  </a:lnTo>
                  <a:lnTo>
                    <a:pt x="35" y="617"/>
                  </a:lnTo>
                  <a:lnTo>
                    <a:pt x="27" y="597"/>
                  </a:lnTo>
                  <a:lnTo>
                    <a:pt x="20" y="576"/>
                  </a:lnTo>
                  <a:lnTo>
                    <a:pt x="14" y="555"/>
                  </a:lnTo>
                  <a:lnTo>
                    <a:pt x="9" y="534"/>
                  </a:lnTo>
                  <a:lnTo>
                    <a:pt x="5" y="512"/>
                  </a:lnTo>
                  <a:lnTo>
                    <a:pt x="2" y="491"/>
                  </a:lnTo>
                  <a:lnTo>
                    <a:pt x="1" y="467"/>
                  </a:lnTo>
                  <a:lnTo>
                    <a:pt x="0" y="445"/>
                  </a:lnTo>
                  <a:lnTo>
                    <a:pt x="0" y="445"/>
                  </a:lnTo>
                  <a:lnTo>
                    <a:pt x="1" y="422"/>
                  </a:lnTo>
                  <a:lnTo>
                    <a:pt x="2" y="400"/>
                  </a:lnTo>
                  <a:lnTo>
                    <a:pt x="5" y="377"/>
                  </a:lnTo>
                  <a:lnTo>
                    <a:pt x="9" y="355"/>
                  </a:lnTo>
                  <a:lnTo>
                    <a:pt x="14" y="334"/>
                  </a:lnTo>
                  <a:lnTo>
                    <a:pt x="20" y="313"/>
                  </a:lnTo>
                  <a:lnTo>
                    <a:pt x="27" y="292"/>
                  </a:lnTo>
                  <a:lnTo>
                    <a:pt x="35" y="272"/>
                  </a:lnTo>
                  <a:lnTo>
                    <a:pt x="43" y="252"/>
                  </a:lnTo>
                  <a:lnTo>
                    <a:pt x="53" y="233"/>
                  </a:lnTo>
                  <a:lnTo>
                    <a:pt x="64" y="214"/>
                  </a:lnTo>
                  <a:lnTo>
                    <a:pt x="76" y="197"/>
                  </a:lnTo>
                  <a:lnTo>
                    <a:pt x="88" y="180"/>
                  </a:lnTo>
                  <a:lnTo>
                    <a:pt x="102" y="162"/>
                  </a:lnTo>
                  <a:lnTo>
                    <a:pt x="115" y="146"/>
                  </a:lnTo>
                  <a:lnTo>
                    <a:pt x="130" y="131"/>
                  </a:lnTo>
                  <a:lnTo>
                    <a:pt x="145" y="116"/>
                  </a:lnTo>
                  <a:lnTo>
                    <a:pt x="161" y="102"/>
                  </a:lnTo>
                  <a:lnTo>
                    <a:pt x="178" y="89"/>
                  </a:lnTo>
                  <a:lnTo>
                    <a:pt x="195" y="76"/>
                  </a:lnTo>
                  <a:lnTo>
                    <a:pt x="214" y="65"/>
                  </a:lnTo>
                  <a:lnTo>
                    <a:pt x="232" y="54"/>
                  </a:lnTo>
                  <a:lnTo>
                    <a:pt x="251" y="44"/>
                  </a:lnTo>
                  <a:lnTo>
                    <a:pt x="271" y="35"/>
                  </a:lnTo>
                  <a:lnTo>
                    <a:pt x="291" y="28"/>
                  </a:lnTo>
                  <a:lnTo>
                    <a:pt x="312" y="20"/>
                  </a:lnTo>
                  <a:lnTo>
                    <a:pt x="333" y="15"/>
                  </a:lnTo>
                  <a:lnTo>
                    <a:pt x="354" y="10"/>
                  </a:lnTo>
                  <a:lnTo>
                    <a:pt x="377" y="5"/>
                  </a:lnTo>
                  <a:lnTo>
                    <a:pt x="398" y="3"/>
                  </a:lnTo>
                  <a:lnTo>
                    <a:pt x="420" y="2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66" y="2"/>
                  </a:lnTo>
                  <a:lnTo>
                    <a:pt x="488" y="3"/>
                  </a:lnTo>
                  <a:lnTo>
                    <a:pt x="511" y="5"/>
                  </a:lnTo>
                  <a:lnTo>
                    <a:pt x="533" y="10"/>
                  </a:lnTo>
                  <a:lnTo>
                    <a:pt x="554" y="15"/>
                  </a:lnTo>
                  <a:lnTo>
                    <a:pt x="575" y="20"/>
                  </a:lnTo>
                  <a:lnTo>
                    <a:pt x="597" y="28"/>
                  </a:lnTo>
                  <a:lnTo>
                    <a:pt x="617" y="35"/>
                  </a:lnTo>
                  <a:lnTo>
                    <a:pt x="636" y="44"/>
                  </a:lnTo>
                  <a:lnTo>
                    <a:pt x="655" y="54"/>
                  </a:lnTo>
                  <a:lnTo>
                    <a:pt x="674" y="65"/>
                  </a:lnTo>
                  <a:lnTo>
                    <a:pt x="691" y="76"/>
                  </a:lnTo>
                  <a:lnTo>
                    <a:pt x="709" y="89"/>
                  </a:lnTo>
                  <a:lnTo>
                    <a:pt x="726" y="102"/>
                  </a:lnTo>
                  <a:lnTo>
                    <a:pt x="742" y="116"/>
                  </a:lnTo>
                  <a:lnTo>
                    <a:pt x="757" y="131"/>
                  </a:lnTo>
                  <a:lnTo>
                    <a:pt x="772" y="146"/>
                  </a:lnTo>
                  <a:lnTo>
                    <a:pt x="786" y="162"/>
                  </a:lnTo>
                  <a:lnTo>
                    <a:pt x="799" y="180"/>
                  </a:lnTo>
                  <a:lnTo>
                    <a:pt x="812" y="197"/>
                  </a:lnTo>
                  <a:lnTo>
                    <a:pt x="823" y="214"/>
                  </a:lnTo>
                  <a:lnTo>
                    <a:pt x="834" y="233"/>
                  </a:lnTo>
                  <a:lnTo>
                    <a:pt x="843" y="252"/>
                  </a:lnTo>
                  <a:lnTo>
                    <a:pt x="853" y="272"/>
                  </a:lnTo>
                  <a:lnTo>
                    <a:pt x="860" y="292"/>
                  </a:lnTo>
                  <a:lnTo>
                    <a:pt x="868" y="313"/>
                  </a:lnTo>
                  <a:lnTo>
                    <a:pt x="873" y="334"/>
                  </a:lnTo>
                  <a:lnTo>
                    <a:pt x="878" y="355"/>
                  </a:lnTo>
                  <a:lnTo>
                    <a:pt x="883" y="377"/>
                  </a:lnTo>
                  <a:lnTo>
                    <a:pt x="885" y="400"/>
                  </a:lnTo>
                  <a:lnTo>
                    <a:pt x="886" y="422"/>
                  </a:lnTo>
                  <a:lnTo>
                    <a:pt x="888" y="445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4" name="Freeform 108"/>
            <p:cNvSpPr/>
            <p:nvPr/>
          </p:nvSpPr>
          <p:spPr bwMode="auto">
            <a:xfrm>
              <a:off x="5842224" y="2949316"/>
              <a:ext cx="1154995" cy="1894349"/>
            </a:xfrm>
            <a:custGeom>
              <a:avLst/>
              <a:gdLst>
                <a:gd name="connsiteX0" fmla="*/ 429660 w 1154995"/>
                <a:gd name="connsiteY0" fmla="*/ 227803 h 1894349"/>
                <a:gd name="connsiteX1" fmla="*/ 445579 w 1154995"/>
                <a:gd name="connsiteY1" fmla="*/ 227803 h 1894349"/>
                <a:gd name="connsiteX2" fmla="*/ 462824 w 1154995"/>
                <a:gd name="connsiteY2" fmla="*/ 229130 h 1894349"/>
                <a:gd name="connsiteX3" fmla="*/ 477417 w 1154995"/>
                <a:gd name="connsiteY3" fmla="*/ 231783 h 1894349"/>
                <a:gd name="connsiteX4" fmla="*/ 492009 w 1154995"/>
                <a:gd name="connsiteY4" fmla="*/ 235763 h 1894349"/>
                <a:gd name="connsiteX5" fmla="*/ 506601 w 1154995"/>
                <a:gd name="connsiteY5" fmla="*/ 242395 h 1894349"/>
                <a:gd name="connsiteX6" fmla="*/ 519867 w 1154995"/>
                <a:gd name="connsiteY6" fmla="*/ 249028 h 1894349"/>
                <a:gd name="connsiteX7" fmla="*/ 531806 w 1154995"/>
                <a:gd name="connsiteY7" fmla="*/ 258314 h 1894349"/>
                <a:gd name="connsiteX8" fmla="*/ 545072 w 1154995"/>
                <a:gd name="connsiteY8" fmla="*/ 266274 h 1894349"/>
                <a:gd name="connsiteX9" fmla="*/ 554358 w 1154995"/>
                <a:gd name="connsiteY9" fmla="*/ 278213 h 1894349"/>
                <a:gd name="connsiteX10" fmla="*/ 564971 w 1154995"/>
                <a:gd name="connsiteY10" fmla="*/ 290152 h 1894349"/>
                <a:gd name="connsiteX11" fmla="*/ 572930 w 1154995"/>
                <a:gd name="connsiteY11" fmla="*/ 303418 h 1894349"/>
                <a:gd name="connsiteX12" fmla="*/ 580890 w 1154995"/>
                <a:gd name="connsiteY12" fmla="*/ 316683 h 1894349"/>
                <a:gd name="connsiteX13" fmla="*/ 586196 w 1154995"/>
                <a:gd name="connsiteY13" fmla="*/ 331276 h 1894349"/>
                <a:gd name="connsiteX14" fmla="*/ 591502 w 1154995"/>
                <a:gd name="connsiteY14" fmla="*/ 345868 h 1894349"/>
                <a:gd name="connsiteX15" fmla="*/ 594156 w 1154995"/>
                <a:gd name="connsiteY15" fmla="*/ 360460 h 1894349"/>
                <a:gd name="connsiteX16" fmla="*/ 595482 w 1154995"/>
                <a:gd name="connsiteY16" fmla="*/ 377706 h 1894349"/>
                <a:gd name="connsiteX17" fmla="*/ 595482 w 1154995"/>
                <a:gd name="connsiteY17" fmla="*/ 393625 h 1894349"/>
                <a:gd name="connsiteX18" fmla="*/ 594156 w 1154995"/>
                <a:gd name="connsiteY18" fmla="*/ 408217 h 1894349"/>
                <a:gd name="connsiteX19" fmla="*/ 591502 w 1154995"/>
                <a:gd name="connsiteY19" fmla="*/ 425462 h 1894349"/>
                <a:gd name="connsiteX20" fmla="*/ 587523 w 1154995"/>
                <a:gd name="connsiteY20" fmla="*/ 440055 h 1894349"/>
                <a:gd name="connsiteX21" fmla="*/ 580890 w 1154995"/>
                <a:gd name="connsiteY21" fmla="*/ 453320 h 1894349"/>
                <a:gd name="connsiteX22" fmla="*/ 574257 w 1154995"/>
                <a:gd name="connsiteY22" fmla="*/ 467913 h 1894349"/>
                <a:gd name="connsiteX23" fmla="*/ 564971 w 1154995"/>
                <a:gd name="connsiteY23" fmla="*/ 479852 h 1894349"/>
                <a:gd name="connsiteX24" fmla="*/ 554358 w 1154995"/>
                <a:gd name="connsiteY24" fmla="*/ 491791 h 1894349"/>
                <a:gd name="connsiteX25" fmla="*/ 545072 w 1154995"/>
                <a:gd name="connsiteY25" fmla="*/ 502403 h 1894349"/>
                <a:gd name="connsiteX26" fmla="*/ 533133 w 1154995"/>
                <a:gd name="connsiteY26" fmla="*/ 513016 h 1894349"/>
                <a:gd name="connsiteX27" fmla="*/ 519867 w 1154995"/>
                <a:gd name="connsiteY27" fmla="*/ 520975 h 1894349"/>
                <a:gd name="connsiteX28" fmla="*/ 506601 w 1154995"/>
                <a:gd name="connsiteY28" fmla="*/ 527608 h 1894349"/>
                <a:gd name="connsiteX29" fmla="*/ 492009 w 1154995"/>
                <a:gd name="connsiteY29" fmla="*/ 534241 h 1894349"/>
                <a:gd name="connsiteX30" fmla="*/ 477417 w 1154995"/>
                <a:gd name="connsiteY30" fmla="*/ 539547 h 1894349"/>
                <a:gd name="connsiteX31" fmla="*/ 462824 w 1154995"/>
                <a:gd name="connsiteY31" fmla="*/ 542201 h 1894349"/>
                <a:gd name="connsiteX32" fmla="*/ 445579 w 1154995"/>
                <a:gd name="connsiteY32" fmla="*/ 543527 h 1894349"/>
                <a:gd name="connsiteX33" fmla="*/ 429660 w 1154995"/>
                <a:gd name="connsiteY33" fmla="*/ 543527 h 1894349"/>
                <a:gd name="connsiteX34" fmla="*/ 412414 w 1154995"/>
                <a:gd name="connsiteY34" fmla="*/ 542201 h 1894349"/>
                <a:gd name="connsiteX35" fmla="*/ 397822 w 1154995"/>
                <a:gd name="connsiteY35" fmla="*/ 539547 h 1894349"/>
                <a:gd name="connsiteX36" fmla="*/ 383229 w 1154995"/>
                <a:gd name="connsiteY36" fmla="*/ 534241 h 1894349"/>
                <a:gd name="connsiteX37" fmla="*/ 369964 w 1154995"/>
                <a:gd name="connsiteY37" fmla="*/ 528935 h 1894349"/>
                <a:gd name="connsiteX38" fmla="*/ 355371 w 1154995"/>
                <a:gd name="connsiteY38" fmla="*/ 520975 h 1894349"/>
                <a:gd name="connsiteX39" fmla="*/ 343432 w 1154995"/>
                <a:gd name="connsiteY39" fmla="*/ 513016 h 1894349"/>
                <a:gd name="connsiteX40" fmla="*/ 331493 w 1154995"/>
                <a:gd name="connsiteY40" fmla="*/ 502403 h 1894349"/>
                <a:gd name="connsiteX41" fmla="*/ 320880 w 1154995"/>
                <a:gd name="connsiteY41" fmla="*/ 493117 h 1894349"/>
                <a:gd name="connsiteX42" fmla="*/ 310268 w 1154995"/>
                <a:gd name="connsiteY42" fmla="*/ 481178 h 1894349"/>
                <a:gd name="connsiteX43" fmla="*/ 302308 w 1154995"/>
                <a:gd name="connsiteY43" fmla="*/ 467913 h 1894349"/>
                <a:gd name="connsiteX44" fmla="*/ 294349 w 1154995"/>
                <a:gd name="connsiteY44" fmla="*/ 454647 h 1894349"/>
                <a:gd name="connsiteX45" fmla="*/ 289042 w 1154995"/>
                <a:gd name="connsiteY45" fmla="*/ 440055 h 1894349"/>
                <a:gd name="connsiteX46" fmla="*/ 283736 w 1154995"/>
                <a:gd name="connsiteY46" fmla="*/ 425462 h 1894349"/>
                <a:gd name="connsiteX47" fmla="*/ 281083 w 1154995"/>
                <a:gd name="connsiteY47" fmla="*/ 408217 h 1894349"/>
                <a:gd name="connsiteX48" fmla="*/ 279756 w 1154995"/>
                <a:gd name="connsiteY48" fmla="*/ 393625 h 1894349"/>
                <a:gd name="connsiteX49" fmla="*/ 279756 w 1154995"/>
                <a:gd name="connsiteY49" fmla="*/ 377706 h 1894349"/>
                <a:gd name="connsiteX50" fmla="*/ 281083 w 1154995"/>
                <a:gd name="connsiteY50" fmla="*/ 360460 h 1894349"/>
                <a:gd name="connsiteX51" fmla="*/ 283736 w 1154995"/>
                <a:gd name="connsiteY51" fmla="*/ 345868 h 1894349"/>
                <a:gd name="connsiteX52" fmla="*/ 289042 w 1154995"/>
                <a:gd name="connsiteY52" fmla="*/ 331276 h 1894349"/>
                <a:gd name="connsiteX53" fmla="*/ 294349 w 1154995"/>
                <a:gd name="connsiteY53" fmla="*/ 316683 h 1894349"/>
                <a:gd name="connsiteX54" fmla="*/ 302308 w 1154995"/>
                <a:gd name="connsiteY54" fmla="*/ 303418 h 1894349"/>
                <a:gd name="connsiteX55" fmla="*/ 310268 w 1154995"/>
                <a:gd name="connsiteY55" fmla="*/ 290152 h 1894349"/>
                <a:gd name="connsiteX56" fmla="*/ 320880 w 1154995"/>
                <a:gd name="connsiteY56" fmla="*/ 278213 h 1894349"/>
                <a:gd name="connsiteX57" fmla="*/ 330166 w 1154995"/>
                <a:gd name="connsiteY57" fmla="*/ 268927 h 1894349"/>
                <a:gd name="connsiteX58" fmla="*/ 342106 w 1154995"/>
                <a:gd name="connsiteY58" fmla="*/ 258314 h 1894349"/>
                <a:gd name="connsiteX59" fmla="*/ 355371 w 1154995"/>
                <a:gd name="connsiteY59" fmla="*/ 250355 h 1894349"/>
                <a:gd name="connsiteX60" fmla="*/ 368637 w 1154995"/>
                <a:gd name="connsiteY60" fmla="*/ 242395 h 1894349"/>
                <a:gd name="connsiteX61" fmla="*/ 383229 w 1154995"/>
                <a:gd name="connsiteY61" fmla="*/ 235763 h 1894349"/>
                <a:gd name="connsiteX62" fmla="*/ 397822 w 1154995"/>
                <a:gd name="connsiteY62" fmla="*/ 231783 h 1894349"/>
                <a:gd name="connsiteX63" fmla="*/ 412414 w 1154995"/>
                <a:gd name="connsiteY63" fmla="*/ 229130 h 1894349"/>
                <a:gd name="connsiteX64" fmla="*/ 59948 w 1154995"/>
                <a:gd name="connsiteY64" fmla="*/ 0 h 1894349"/>
                <a:gd name="connsiteX65" fmla="*/ 70605 w 1154995"/>
                <a:gd name="connsiteY65" fmla="*/ 0 h 1894349"/>
                <a:gd name="connsiteX66" fmla="*/ 83927 w 1154995"/>
                <a:gd name="connsiteY66" fmla="*/ 3972 h 1894349"/>
                <a:gd name="connsiteX67" fmla="*/ 95917 w 1154995"/>
                <a:gd name="connsiteY67" fmla="*/ 7945 h 1894349"/>
                <a:gd name="connsiteX68" fmla="*/ 106574 w 1154995"/>
                <a:gd name="connsiteY68" fmla="*/ 14565 h 1894349"/>
                <a:gd name="connsiteX69" fmla="*/ 114567 w 1154995"/>
                <a:gd name="connsiteY69" fmla="*/ 25159 h 1894349"/>
                <a:gd name="connsiteX70" fmla="*/ 122560 w 1154995"/>
                <a:gd name="connsiteY70" fmla="*/ 34428 h 1894349"/>
                <a:gd name="connsiteX71" fmla="*/ 125225 w 1154995"/>
                <a:gd name="connsiteY71" fmla="*/ 46345 h 1894349"/>
                <a:gd name="connsiteX72" fmla="*/ 129221 w 1154995"/>
                <a:gd name="connsiteY72" fmla="*/ 59587 h 1894349"/>
                <a:gd name="connsiteX73" fmla="*/ 154785 w 1154995"/>
                <a:gd name="connsiteY73" fmla="*/ 356876 h 1894349"/>
                <a:gd name="connsiteX74" fmla="*/ 302473 w 1154995"/>
                <a:gd name="connsiteY74" fmla="*/ 563802 h 1894349"/>
                <a:gd name="connsiteX75" fmla="*/ 317056 w 1154995"/>
                <a:gd name="connsiteY75" fmla="*/ 564846 h 1894349"/>
                <a:gd name="connsiteX76" fmla="*/ 456935 w 1154995"/>
                <a:gd name="connsiteY76" fmla="*/ 590207 h 1894349"/>
                <a:gd name="connsiteX77" fmla="*/ 472921 w 1154995"/>
                <a:gd name="connsiteY77" fmla="*/ 595546 h 1894349"/>
                <a:gd name="connsiteX78" fmla="*/ 488907 w 1154995"/>
                <a:gd name="connsiteY78" fmla="*/ 603555 h 1894349"/>
                <a:gd name="connsiteX79" fmla="*/ 490977 w 1154995"/>
                <a:gd name="connsiteY79" fmla="*/ 605422 h 1894349"/>
                <a:gd name="connsiteX80" fmla="*/ 746856 w 1154995"/>
                <a:gd name="connsiteY80" fmla="*/ 732952 h 1894349"/>
                <a:gd name="connsiteX81" fmla="*/ 1087241 w 1154995"/>
                <a:gd name="connsiteY81" fmla="*/ 707385 h 1894349"/>
                <a:gd name="connsiteX82" fmla="*/ 1100526 w 1154995"/>
                <a:gd name="connsiteY82" fmla="*/ 708717 h 1894349"/>
                <a:gd name="connsiteX83" fmla="*/ 1112483 w 1154995"/>
                <a:gd name="connsiteY83" fmla="*/ 712714 h 1894349"/>
                <a:gd name="connsiteX84" fmla="*/ 1123111 w 1154995"/>
                <a:gd name="connsiteY84" fmla="*/ 718042 h 1894349"/>
                <a:gd name="connsiteX85" fmla="*/ 1132410 w 1154995"/>
                <a:gd name="connsiteY85" fmla="*/ 724703 h 1894349"/>
                <a:gd name="connsiteX86" fmla="*/ 1141710 w 1154995"/>
                <a:gd name="connsiteY86" fmla="*/ 734028 h 1894349"/>
                <a:gd name="connsiteX87" fmla="*/ 1148353 w 1154995"/>
                <a:gd name="connsiteY87" fmla="*/ 744686 h 1894349"/>
                <a:gd name="connsiteX88" fmla="*/ 1152338 w 1154995"/>
                <a:gd name="connsiteY88" fmla="*/ 758007 h 1894349"/>
                <a:gd name="connsiteX89" fmla="*/ 1154995 w 1154995"/>
                <a:gd name="connsiteY89" fmla="*/ 769997 h 1894349"/>
                <a:gd name="connsiteX90" fmla="*/ 1154995 w 1154995"/>
                <a:gd name="connsiteY90" fmla="*/ 781986 h 1894349"/>
                <a:gd name="connsiteX91" fmla="*/ 1151010 w 1154995"/>
                <a:gd name="connsiteY91" fmla="*/ 795308 h 1894349"/>
                <a:gd name="connsiteX92" fmla="*/ 1145696 w 1154995"/>
                <a:gd name="connsiteY92" fmla="*/ 807297 h 1894349"/>
                <a:gd name="connsiteX93" fmla="*/ 1137725 w 1154995"/>
                <a:gd name="connsiteY93" fmla="*/ 816622 h 1894349"/>
                <a:gd name="connsiteX94" fmla="*/ 1129753 w 1154995"/>
                <a:gd name="connsiteY94" fmla="*/ 825948 h 1894349"/>
                <a:gd name="connsiteX95" fmla="*/ 1117797 w 1154995"/>
                <a:gd name="connsiteY95" fmla="*/ 832608 h 1894349"/>
                <a:gd name="connsiteX96" fmla="*/ 1105840 w 1154995"/>
                <a:gd name="connsiteY96" fmla="*/ 835273 h 1894349"/>
                <a:gd name="connsiteX97" fmla="*/ 1093883 w 1154995"/>
                <a:gd name="connsiteY97" fmla="*/ 837937 h 1894349"/>
                <a:gd name="connsiteX98" fmla="*/ 739170 w 1154995"/>
                <a:gd name="connsiteY98" fmla="*/ 863248 h 1894349"/>
                <a:gd name="connsiteX99" fmla="*/ 727213 w 1154995"/>
                <a:gd name="connsiteY99" fmla="*/ 863248 h 1894349"/>
                <a:gd name="connsiteX100" fmla="*/ 713928 w 1154995"/>
                <a:gd name="connsiteY100" fmla="*/ 860584 h 1894349"/>
                <a:gd name="connsiteX101" fmla="*/ 703300 w 1154995"/>
                <a:gd name="connsiteY101" fmla="*/ 855255 h 1894349"/>
                <a:gd name="connsiteX102" fmla="*/ 702765 w 1154995"/>
                <a:gd name="connsiteY102" fmla="*/ 854796 h 1894349"/>
                <a:gd name="connsiteX103" fmla="*/ 697340 w 1154995"/>
                <a:gd name="connsiteY103" fmla="*/ 852622 h 1894349"/>
                <a:gd name="connsiteX104" fmla="*/ 516986 w 1154995"/>
                <a:gd name="connsiteY104" fmla="*/ 762306 h 1894349"/>
                <a:gd name="connsiteX105" fmla="*/ 447956 w 1154995"/>
                <a:gd name="connsiteY105" fmla="*/ 1141641 h 1894349"/>
                <a:gd name="connsiteX106" fmla="*/ 516334 w 1154995"/>
                <a:gd name="connsiteY106" fmla="*/ 1392722 h 1894349"/>
                <a:gd name="connsiteX107" fmla="*/ 525481 w 1154995"/>
                <a:gd name="connsiteY107" fmla="*/ 1404112 h 1894349"/>
                <a:gd name="connsiteX108" fmla="*/ 703342 w 1154995"/>
                <a:gd name="connsiteY108" fmla="*/ 1706515 h 1894349"/>
                <a:gd name="connsiteX109" fmla="*/ 710028 w 1154995"/>
                <a:gd name="connsiteY109" fmla="*/ 1723833 h 1894349"/>
                <a:gd name="connsiteX110" fmla="*/ 712703 w 1154995"/>
                <a:gd name="connsiteY110" fmla="*/ 1738487 h 1894349"/>
                <a:gd name="connsiteX111" fmla="*/ 715377 w 1154995"/>
                <a:gd name="connsiteY111" fmla="*/ 1754473 h 1894349"/>
                <a:gd name="connsiteX112" fmla="*/ 711365 w 1154995"/>
                <a:gd name="connsiteY112" fmla="*/ 1771791 h 1894349"/>
                <a:gd name="connsiteX113" fmla="*/ 706016 w 1154995"/>
                <a:gd name="connsiteY113" fmla="*/ 1786445 h 1894349"/>
                <a:gd name="connsiteX114" fmla="*/ 697992 w 1154995"/>
                <a:gd name="connsiteY114" fmla="*/ 1801099 h 1894349"/>
                <a:gd name="connsiteX115" fmla="*/ 685957 w 1154995"/>
                <a:gd name="connsiteY115" fmla="*/ 1813088 h 1894349"/>
                <a:gd name="connsiteX116" fmla="*/ 672584 w 1154995"/>
                <a:gd name="connsiteY116" fmla="*/ 1822414 h 1894349"/>
                <a:gd name="connsiteX117" fmla="*/ 656536 w 1154995"/>
                <a:gd name="connsiteY117" fmla="*/ 1831739 h 1894349"/>
                <a:gd name="connsiteX118" fmla="*/ 641826 w 1154995"/>
                <a:gd name="connsiteY118" fmla="*/ 1834403 h 1894349"/>
                <a:gd name="connsiteX119" fmla="*/ 624441 w 1154995"/>
                <a:gd name="connsiteY119" fmla="*/ 1834403 h 1894349"/>
                <a:gd name="connsiteX120" fmla="*/ 608393 w 1154995"/>
                <a:gd name="connsiteY120" fmla="*/ 1833071 h 1894349"/>
                <a:gd name="connsiteX121" fmla="*/ 593683 w 1154995"/>
                <a:gd name="connsiteY121" fmla="*/ 1826410 h 1894349"/>
                <a:gd name="connsiteX122" fmla="*/ 578973 w 1154995"/>
                <a:gd name="connsiteY122" fmla="*/ 1818417 h 1894349"/>
                <a:gd name="connsiteX123" fmla="*/ 566937 w 1154995"/>
                <a:gd name="connsiteY123" fmla="*/ 1807760 h 1894349"/>
                <a:gd name="connsiteX124" fmla="*/ 556239 w 1154995"/>
                <a:gd name="connsiteY124" fmla="*/ 1793106 h 1894349"/>
                <a:gd name="connsiteX125" fmla="*/ 378378 w 1154995"/>
                <a:gd name="connsiteY125" fmla="*/ 1489371 h 1894349"/>
                <a:gd name="connsiteX126" fmla="*/ 371691 w 1154995"/>
                <a:gd name="connsiteY126" fmla="*/ 1474717 h 1894349"/>
                <a:gd name="connsiteX127" fmla="*/ 371044 w 1154995"/>
                <a:gd name="connsiteY127" fmla="*/ 1470849 h 1894349"/>
                <a:gd name="connsiteX128" fmla="*/ 369735 w 1154995"/>
                <a:gd name="connsiteY128" fmla="*/ 1469387 h 1894349"/>
                <a:gd name="connsiteX129" fmla="*/ 361780 w 1154995"/>
                <a:gd name="connsiteY129" fmla="*/ 1456065 h 1894349"/>
                <a:gd name="connsiteX130" fmla="*/ 355151 w 1154995"/>
                <a:gd name="connsiteY130" fmla="*/ 1440079 h 1894349"/>
                <a:gd name="connsiteX131" fmla="*/ 297934 w 1154995"/>
                <a:gd name="connsiteY131" fmla="*/ 1229978 h 1894349"/>
                <a:gd name="connsiteX132" fmla="*/ 287348 w 1154995"/>
                <a:gd name="connsiteY132" fmla="*/ 1227919 h 1894349"/>
                <a:gd name="connsiteX133" fmla="*/ 253112 w 1154995"/>
                <a:gd name="connsiteY133" fmla="*/ 1444238 h 1894349"/>
                <a:gd name="connsiteX134" fmla="*/ 248689 w 1154995"/>
                <a:gd name="connsiteY134" fmla="*/ 1457476 h 1894349"/>
                <a:gd name="connsiteX135" fmla="*/ 283751 w 1154995"/>
                <a:gd name="connsiteY135" fmla="*/ 1802667 h 1894349"/>
                <a:gd name="connsiteX136" fmla="*/ 283751 w 1154995"/>
                <a:gd name="connsiteY136" fmla="*/ 1818611 h 1894349"/>
                <a:gd name="connsiteX137" fmla="*/ 279807 w 1154995"/>
                <a:gd name="connsiteY137" fmla="*/ 1835885 h 1894349"/>
                <a:gd name="connsiteX138" fmla="*/ 274548 w 1154995"/>
                <a:gd name="connsiteY138" fmla="*/ 1850501 h 1894349"/>
                <a:gd name="connsiteX139" fmla="*/ 265346 w 1154995"/>
                <a:gd name="connsiteY139" fmla="*/ 1865117 h 1894349"/>
                <a:gd name="connsiteX140" fmla="*/ 253514 w 1154995"/>
                <a:gd name="connsiteY140" fmla="*/ 1877076 h 1894349"/>
                <a:gd name="connsiteX141" fmla="*/ 240367 w 1154995"/>
                <a:gd name="connsiteY141" fmla="*/ 1885048 h 1894349"/>
                <a:gd name="connsiteX142" fmla="*/ 225906 w 1154995"/>
                <a:gd name="connsiteY142" fmla="*/ 1891692 h 1894349"/>
                <a:gd name="connsiteX143" fmla="*/ 210131 w 1154995"/>
                <a:gd name="connsiteY143" fmla="*/ 1894349 h 1894349"/>
                <a:gd name="connsiteX144" fmla="*/ 193040 w 1154995"/>
                <a:gd name="connsiteY144" fmla="*/ 1894349 h 1894349"/>
                <a:gd name="connsiteX145" fmla="*/ 177265 w 1154995"/>
                <a:gd name="connsiteY145" fmla="*/ 1891692 h 1894349"/>
                <a:gd name="connsiteX146" fmla="*/ 162803 w 1154995"/>
                <a:gd name="connsiteY146" fmla="*/ 1886377 h 1894349"/>
                <a:gd name="connsiteX147" fmla="*/ 149657 w 1154995"/>
                <a:gd name="connsiteY147" fmla="*/ 1877076 h 1894349"/>
                <a:gd name="connsiteX148" fmla="*/ 137825 w 1154995"/>
                <a:gd name="connsiteY148" fmla="*/ 1866446 h 1894349"/>
                <a:gd name="connsiteX149" fmla="*/ 127308 w 1154995"/>
                <a:gd name="connsiteY149" fmla="*/ 1851830 h 1894349"/>
                <a:gd name="connsiteX150" fmla="*/ 120735 w 1154995"/>
                <a:gd name="connsiteY150" fmla="*/ 1837214 h 1894349"/>
                <a:gd name="connsiteX151" fmla="*/ 118106 w 1154995"/>
                <a:gd name="connsiteY151" fmla="*/ 1819940 h 1894349"/>
                <a:gd name="connsiteX152" fmla="*/ 83925 w 1154995"/>
                <a:gd name="connsiteY152" fmla="*/ 1471812 h 1894349"/>
                <a:gd name="connsiteX153" fmla="*/ 83925 w 1154995"/>
                <a:gd name="connsiteY153" fmla="*/ 1454538 h 1894349"/>
                <a:gd name="connsiteX154" fmla="*/ 85940 w 1154995"/>
                <a:gd name="connsiteY154" fmla="*/ 1442318 h 1894349"/>
                <a:gd name="connsiteX155" fmla="*/ 83925 w 1154995"/>
                <a:gd name="connsiteY155" fmla="*/ 1433606 h 1894349"/>
                <a:gd name="connsiteX156" fmla="*/ 85257 w 1154995"/>
                <a:gd name="connsiteY156" fmla="*/ 1417657 h 1894349"/>
                <a:gd name="connsiteX157" fmla="*/ 150534 w 1154995"/>
                <a:gd name="connsiteY157" fmla="*/ 1013619 h 1894349"/>
                <a:gd name="connsiteX158" fmla="*/ 152564 w 1154995"/>
                <a:gd name="connsiteY158" fmla="*/ 1007543 h 1894349"/>
                <a:gd name="connsiteX159" fmla="*/ 208946 w 1154995"/>
                <a:gd name="connsiteY159" fmla="*/ 656135 h 1894349"/>
                <a:gd name="connsiteX160" fmla="*/ 42587 w 1154995"/>
                <a:gd name="connsiteY160" fmla="*/ 421974 h 1894349"/>
                <a:gd name="connsiteX161" fmla="*/ 37279 w 1154995"/>
                <a:gd name="connsiteY161" fmla="*/ 411351 h 1894349"/>
                <a:gd name="connsiteX162" fmla="*/ 35131 w 1154995"/>
                <a:gd name="connsiteY162" fmla="*/ 405977 h 1894349"/>
                <a:gd name="connsiteX163" fmla="*/ 34636 w 1154995"/>
                <a:gd name="connsiteY163" fmla="*/ 405189 h 1894349"/>
                <a:gd name="connsiteX164" fmla="*/ 29308 w 1154995"/>
                <a:gd name="connsiteY164" fmla="*/ 393272 h 1894349"/>
                <a:gd name="connsiteX165" fmla="*/ 26643 w 1154995"/>
                <a:gd name="connsiteY165" fmla="*/ 380030 h 1894349"/>
                <a:gd name="connsiteX166" fmla="*/ 0 w 1154995"/>
                <a:gd name="connsiteY166" fmla="*/ 71504 h 1894349"/>
                <a:gd name="connsiteX167" fmla="*/ 0 w 1154995"/>
                <a:gd name="connsiteY167" fmla="*/ 58262 h 1894349"/>
                <a:gd name="connsiteX168" fmla="*/ 2664 w 1154995"/>
                <a:gd name="connsiteY168" fmla="*/ 45021 h 1894349"/>
                <a:gd name="connsiteX169" fmla="*/ 7993 w 1154995"/>
                <a:gd name="connsiteY169" fmla="*/ 33104 h 1894349"/>
                <a:gd name="connsiteX170" fmla="*/ 14654 w 1154995"/>
                <a:gd name="connsiteY170" fmla="*/ 23835 h 1894349"/>
                <a:gd name="connsiteX171" fmla="*/ 22647 w 1154995"/>
                <a:gd name="connsiteY171" fmla="*/ 14565 h 1894349"/>
                <a:gd name="connsiteX172" fmla="*/ 34636 w 1154995"/>
                <a:gd name="connsiteY172" fmla="*/ 7945 h 1894349"/>
                <a:gd name="connsiteX173" fmla="*/ 46626 w 1154995"/>
                <a:gd name="connsiteY173" fmla="*/ 3972 h 18943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</a:cxnLst>
              <a:rect l="l" t="t" r="r" b="b"/>
              <a:pathLst>
                <a:path w="1154995" h="1894349">
                  <a:moveTo>
                    <a:pt x="429660" y="227803"/>
                  </a:moveTo>
                  <a:lnTo>
                    <a:pt x="445579" y="227803"/>
                  </a:lnTo>
                  <a:lnTo>
                    <a:pt x="462824" y="229130"/>
                  </a:lnTo>
                  <a:lnTo>
                    <a:pt x="477417" y="231783"/>
                  </a:lnTo>
                  <a:lnTo>
                    <a:pt x="492009" y="235763"/>
                  </a:lnTo>
                  <a:lnTo>
                    <a:pt x="506601" y="242395"/>
                  </a:lnTo>
                  <a:lnTo>
                    <a:pt x="519867" y="249028"/>
                  </a:lnTo>
                  <a:lnTo>
                    <a:pt x="531806" y="258314"/>
                  </a:lnTo>
                  <a:lnTo>
                    <a:pt x="545072" y="266274"/>
                  </a:lnTo>
                  <a:lnTo>
                    <a:pt x="554358" y="278213"/>
                  </a:lnTo>
                  <a:lnTo>
                    <a:pt x="564971" y="290152"/>
                  </a:lnTo>
                  <a:lnTo>
                    <a:pt x="572930" y="303418"/>
                  </a:lnTo>
                  <a:lnTo>
                    <a:pt x="580890" y="316683"/>
                  </a:lnTo>
                  <a:lnTo>
                    <a:pt x="586196" y="331276"/>
                  </a:lnTo>
                  <a:lnTo>
                    <a:pt x="591502" y="345868"/>
                  </a:lnTo>
                  <a:lnTo>
                    <a:pt x="594156" y="360460"/>
                  </a:lnTo>
                  <a:lnTo>
                    <a:pt x="595482" y="377706"/>
                  </a:lnTo>
                  <a:lnTo>
                    <a:pt x="595482" y="393625"/>
                  </a:lnTo>
                  <a:lnTo>
                    <a:pt x="594156" y="408217"/>
                  </a:lnTo>
                  <a:lnTo>
                    <a:pt x="591502" y="425462"/>
                  </a:lnTo>
                  <a:lnTo>
                    <a:pt x="587523" y="440055"/>
                  </a:lnTo>
                  <a:lnTo>
                    <a:pt x="580890" y="453320"/>
                  </a:lnTo>
                  <a:lnTo>
                    <a:pt x="574257" y="467913"/>
                  </a:lnTo>
                  <a:lnTo>
                    <a:pt x="564971" y="479852"/>
                  </a:lnTo>
                  <a:lnTo>
                    <a:pt x="554358" y="491791"/>
                  </a:lnTo>
                  <a:lnTo>
                    <a:pt x="545072" y="502403"/>
                  </a:lnTo>
                  <a:lnTo>
                    <a:pt x="533133" y="513016"/>
                  </a:lnTo>
                  <a:lnTo>
                    <a:pt x="519867" y="520975"/>
                  </a:lnTo>
                  <a:lnTo>
                    <a:pt x="506601" y="527608"/>
                  </a:lnTo>
                  <a:lnTo>
                    <a:pt x="492009" y="534241"/>
                  </a:lnTo>
                  <a:lnTo>
                    <a:pt x="477417" y="539547"/>
                  </a:lnTo>
                  <a:lnTo>
                    <a:pt x="462824" y="542201"/>
                  </a:lnTo>
                  <a:lnTo>
                    <a:pt x="445579" y="543527"/>
                  </a:lnTo>
                  <a:lnTo>
                    <a:pt x="429660" y="543527"/>
                  </a:lnTo>
                  <a:lnTo>
                    <a:pt x="412414" y="542201"/>
                  </a:lnTo>
                  <a:lnTo>
                    <a:pt x="397822" y="539547"/>
                  </a:lnTo>
                  <a:lnTo>
                    <a:pt x="383229" y="534241"/>
                  </a:lnTo>
                  <a:lnTo>
                    <a:pt x="369964" y="528935"/>
                  </a:lnTo>
                  <a:lnTo>
                    <a:pt x="355371" y="520975"/>
                  </a:lnTo>
                  <a:lnTo>
                    <a:pt x="343432" y="513016"/>
                  </a:lnTo>
                  <a:lnTo>
                    <a:pt x="331493" y="502403"/>
                  </a:lnTo>
                  <a:lnTo>
                    <a:pt x="320880" y="493117"/>
                  </a:lnTo>
                  <a:lnTo>
                    <a:pt x="310268" y="481178"/>
                  </a:lnTo>
                  <a:lnTo>
                    <a:pt x="302308" y="467913"/>
                  </a:lnTo>
                  <a:lnTo>
                    <a:pt x="294349" y="454647"/>
                  </a:lnTo>
                  <a:lnTo>
                    <a:pt x="289042" y="440055"/>
                  </a:lnTo>
                  <a:lnTo>
                    <a:pt x="283736" y="425462"/>
                  </a:lnTo>
                  <a:lnTo>
                    <a:pt x="281083" y="408217"/>
                  </a:lnTo>
                  <a:lnTo>
                    <a:pt x="279756" y="393625"/>
                  </a:lnTo>
                  <a:lnTo>
                    <a:pt x="279756" y="377706"/>
                  </a:lnTo>
                  <a:lnTo>
                    <a:pt x="281083" y="360460"/>
                  </a:lnTo>
                  <a:lnTo>
                    <a:pt x="283736" y="345868"/>
                  </a:lnTo>
                  <a:lnTo>
                    <a:pt x="289042" y="331276"/>
                  </a:lnTo>
                  <a:lnTo>
                    <a:pt x="294349" y="316683"/>
                  </a:lnTo>
                  <a:lnTo>
                    <a:pt x="302308" y="303418"/>
                  </a:lnTo>
                  <a:lnTo>
                    <a:pt x="310268" y="290152"/>
                  </a:lnTo>
                  <a:lnTo>
                    <a:pt x="320880" y="278213"/>
                  </a:lnTo>
                  <a:lnTo>
                    <a:pt x="330166" y="268927"/>
                  </a:lnTo>
                  <a:lnTo>
                    <a:pt x="342106" y="258314"/>
                  </a:lnTo>
                  <a:lnTo>
                    <a:pt x="355371" y="250355"/>
                  </a:lnTo>
                  <a:lnTo>
                    <a:pt x="368637" y="242395"/>
                  </a:lnTo>
                  <a:lnTo>
                    <a:pt x="383229" y="235763"/>
                  </a:lnTo>
                  <a:lnTo>
                    <a:pt x="397822" y="231783"/>
                  </a:lnTo>
                  <a:lnTo>
                    <a:pt x="412414" y="229130"/>
                  </a:lnTo>
                  <a:close/>
                  <a:moveTo>
                    <a:pt x="59948" y="0"/>
                  </a:moveTo>
                  <a:lnTo>
                    <a:pt x="70605" y="0"/>
                  </a:lnTo>
                  <a:lnTo>
                    <a:pt x="83927" y="3972"/>
                  </a:lnTo>
                  <a:lnTo>
                    <a:pt x="95917" y="7945"/>
                  </a:lnTo>
                  <a:lnTo>
                    <a:pt x="106574" y="14565"/>
                  </a:lnTo>
                  <a:lnTo>
                    <a:pt x="114567" y="25159"/>
                  </a:lnTo>
                  <a:lnTo>
                    <a:pt x="122560" y="34428"/>
                  </a:lnTo>
                  <a:lnTo>
                    <a:pt x="125225" y="46345"/>
                  </a:lnTo>
                  <a:lnTo>
                    <a:pt x="129221" y="59587"/>
                  </a:lnTo>
                  <a:lnTo>
                    <a:pt x="154785" y="356876"/>
                  </a:lnTo>
                  <a:lnTo>
                    <a:pt x="302473" y="563802"/>
                  </a:lnTo>
                  <a:lnTo>
                    <a:pt x="317056" y="564846"/>
                  </a:lnTo>
                  <a:lnTo>
                    <a:pt x="456935" y="590207"/>
                  </a:lnTo>
                  <a:lnTo>
                    <a:pt x="472921" y="595546"/>
                  </a:lnTo>
                  <a:lnTo>
                    <a:pt x="488907" y="603555"/>
                  </a:lnTo>
                  <a:lnTo>
                    <a:pt x="490977" y="605422"/>
                  </a:lnTo>
                  <a:lnTo>
                    <a:pt x="746856" y="732952"/>
                  </a:lnTo>
                  <a:lnTo>
                    <a:pt x="1087241" y="707385"/>
                  </a:lnTo>
                  <a:lnTo>
                    <a:pt x="1100526" y="708717"/>
                  </a:lnTo>
                  <a:lnTo>
                    <a:pt x="1112483" y="712714"/>
                  </a:lnTo>
                  <a:lnTo>
                    <a:pt x="1123111" y="718042"/>
                  </a:lnTo>
                  <a:lnTo>
                    <a:pt x="1132410" y="724703"/>
                  </a:lnTo>
                  <a:lnTo>
                    <a:pt x="1141710" y="734028"/>
                  </a:lnTo>
                  <a:lnTo>
                    <a:pt x="1148353" y="744686"/>
                  </a:lnTo>
                  <a:lnTo>
                    <a:pt x="1152338" y="758007"/>
                  </a:lnTo>
                  <a:lnTo>
                    <a:pt x="1154995" y="769997"/>
                  </a:lnTo>
                  <a:lnTo>
                    <a:pt x="1154995" y="781986"/>
                  </a:lnTo>
                  <a:lnTo>
                    <a:pt x="1151010" y="795308"/>
                  </a:lnTo>
                  <a:lnTo>
                    <a:pt x="1145696" y="807297"/>
                  </a:lnTo>
                  <a:lnTo>
                    <a:pt x="1137725" y="816622"/>
                  </a:lnTo>
                  <a:lnTo>
                    <a:pt x="1129753" y="825948"/>
                  </a:lnTo>
                  <a:lnTo>
                    <a:pt x="1117797" y="832608"/>
                  </a:lnTo>
                  <a:lnTo>
                    <a:pt x="1105840" y="835273"/>
                  </a:lnTo>
                  <a:lnTo>
                    <a:pt x="1093883" y="837937"/>
                  </a:lnTo>
                  <a:lnTo>
                    <a:pt x="739170" y="863248"/>
                  </a:lnTo>
                  <a:lnTo>
                    <a:pt x="727213" y="863248"/>
                  </a:lnTo>
                  <a:lnTo>
                    <a:pt x="713928" y="860584"/>
                  </a:lnTo>
                  <a:lnTo>
                    <a:pt x="703300" y="855255"/>
                  </a:lnTo>
                  <a:lnTo>
                    <a:pt x="702765" y="854796"/>
                  </a:lnTo>
                  <a:lnTo>
                    <a:pt x="697340" y="852622"/>
                  </a:lnTo>
                  <a:lnTo>
                    <a:pt x="516986" y="762306"/>
                  </a:lnTo>
                  <a:lnTo>
                    <a:pt x="447956" y="1141641"/>
                  </a:lnTo>
                  <a:lnTo>
                    <a:pt x="516334" y="1392722"/>
                  </a:lnTo>
                  <a:lnTo>
                    <a:pt x="525481" y="1404112"/>
                  </a:lnTo>
                  <a:lnTo>
                    <a:pt x="703342" y="1706515"/>
                  </a:lnTo>
                  <a:lnTo>
                    <a:pt x="710028" y="1723833"/>
                  </a:lnTo>
                  <a:lnTo>
                    <a:pt x="712703" y="1738487"/>
                  </a:lnTo>
                  <a:lnTo>
                    <a:pt x="715377" y="1754473"/>
                  </a:lnTo>
                  <a:lnTo>
                    <a:pt x="711365" y="1771791"/>
                  </a:lnTo>
                  <a:lnTo>
                    <a:pt x="706016" y="1786445"/>
                  </a:lnTo>
                  <a:lnTo>
                    <a:pt x="697992" y="1801099"/>
                  </a:lnTo>
                  <a:lnTo>
                    <a:pt x="685957" y="1813088"/>
                  </a:lnTo>
                  <a:lnTo>
                    <a:pt x="672584" y="1822414"/>
                  </a:lnTo>
                  <a:lnTo>
                    <a:pt x="656536" y="1831739"/>
                  </a:lnTo>
                  <a:lnTo>
                    <a:pt x="641826" y="1834403"/>
                  </a:lnTo>
                  <a:lnTo>
                    <a:pt x="624441" y="1834403"/>
                  </a:lnTo>
                  <a:lnTo>
                    <a:pt x="608393" y="1833071"/>
                  </a:lnTo>
                  <a:lnTo>
                    <a:pt x="593683" y="1826410"/>
                  </a:lnTo>
                  <a:lnTo>
                    <a:pt x="578973" y="1818417"/>
                  </a:lnTo>
                  <a:lnTo>
                    <a:pt x="566937" y="1807760"/>
                  </a:lnTo>
                  <a:lnTo>
                    <a:pt x="556239" y="1793106"/>
                  </a:lnTo>
                  <a:lnTo>
                    <a:pt x="378378" y="1489371"/>
                  </a:lnTo>
                  <a:lnTo>
                    <a:pt x="371691" y="1474717"/>
                  </a:lnTo>
                  <a:lnTo>
                    <a:pt x="371044" y="1470849"/>
                  </a:lnTo>
                  <a:lnTo>
                    <a:pt x="369735" y="1469387"/>
                  </a:lnTo>
                  <a:lnTo>
                    <a:pt x="361780" y="1456065"/>
                  </a:lnTo>
                  <a:lnTo>
                    <a:pt x="355151" y="1440079"/>
                  </a:lnTo>
                  <a:lnTo>
                    <a:pt x="297934" y="1229978"/>
                  </a:lnTo>
                  <a:lnTo>
                    <a:pt x="287348" y="1227919"/>
                  </a:lnTo>
                  <a:lnTo>
                    <a:pt x="253112" y="1444238"/>
                  </a:lnTo>
                  <a:lnTo>
                    <a:pt x="248689" y="1457476"/>
                  </a:lnTo>
                  <a:lnTo>
                    <a:pt x="283751" y="1802667"/>
                  </a:lnTo>
                  <a:lnTo>
                    <a:pt x="283751" y="1818611"/>
                  </a:lnTo>
                  <a:lnTo>
                    <a:pt x="279807" y="1835885"/>
                  </a:lnTo>
                  <a:lnTo>
                    <a:pt x="274548" y="1850501"/>
                  </a:lnTo>
                  <a:lnTo>
                    <a:pt x="265346" y="1865117"/>
                  </a:lnTo>
                  <a:lnTo>
                    <a:pt x="253514" y="1877076"/>
                  </a:lnTo>
                  <a:lnTo>
                    <a:pt x="240367" y="1885048"/>
                  </a:lnTo>
                  <a:lnTo>
                    <a:pt x="225906" y="1891692"/>
                  </a:lnTo>
                  <a:lnTo>
                    <a:pt x="210131" y="1894349"/>
                  </a:lnTo>
                  <a:lnTo>
                    <a:pt x="193040" y="1894349"/>
                  </a:lnTo>
                  <a:lnTo>
                    <a:pt x="177265" y="1891692"/>
                  </a:lnTo>
                  <a:lnTo>
                    <a:pt x="162803" y="1886377"/>
                  </a:lnTo>
                  <a:lnTo>
                    <a:pt x="149657" y="1877076"/>
                  </a:lnTo>
                  <a:lnTo>
                    <a:pt x="137825" y="1866446"/>
                  </a:lnTo>
                  <a:lnTo>
                    <a:pt x="127308" y="1851830"/>
                  </a:lnTo>
                  <a:lnTo>
                    <a:pt x="120735" y="1837214"/>
                  </a:lnTo>
                  <a:lnTo>
                    <a:pt x="118106" y="1819940"/>
                  </a:lnTo>
                  <a:lnTo>
                    <a:pt x="83925" y="1471812"/>
                  </a:lnTo>
                  <a:lnTo>
                    <a:pt x="83925" y="1454538"/>
                  </a:lnTo>
                  <a:lnTo>
                    <a:pt x="85940" y="1442318"/>
                  </a:lnTo>
                  <a:lnTo>
                    <a:pt x="83925" y="1433606"/>
                  </a:lnTo>
                  <a:lnTo>
                    <a:pt x="85257" y="1417657"/>
                  </a:lnTo>
                  <a:lnTo>
                    <a:pt x="150534" y="1013619"/>
                  </a:lnTo>
                  <a:lnTo>
                    <a:pt x="152564" y="1007543"/>
                  </a:lnTo>
                  <a:lnTo>
                    <a:pt x="208946" y="656135"/>
                  </a:lnTo>
                  <a:lnTo>
                    <a:pt x="42587" y="421974"/>
                  </a:lnTo>
                  <a:lnTo>
                    <a:pt x="37279" y="411351"/>
                  </a:lnTo>
                  <a:lnTo>
                    <a:pt x="35131" y="405977"/>
                  </a:lnTo>
                  <a:lnTo>
                    <a:pt x="34636" y="405189"/>
                  </a:lnTo>
                  <a:lnTo>
                    <a:pt x="29308" y="393272"/>
                  </a:lnTo>
                  <a:lnTo>
                    <a:pt x="26643" y="380030"/>
                  </a:lnTo>
                  <a:lnTo>
                    <a:pt x="0" y="71504"/>
                  </a:lnTo>
                  <a:lnTo>
                    <a:pt x="0" y="58262"/>
                  </a:lnTo>
                  <a:lnTo>
                    <a:pt x="2664" y="45021"/>
                  </a:lnTo>
                  <a:lnTo>
                    <a:pt x="7993" y="33104"/>
                  </a:lnTo>
                  <a:lnTo>
                    <a:pt x="14654" y="23835"/>
                  </a:lnTo>
                  <a:lnTo>
                    <a:pt x="22647" y="14565"/>
                  </a:lnTo>
                  <a:lnTo>
                    <a:pt x="34636" y="7945"/>
                  </a:lnTo>
                  <a:lnTo>
                    <a:pt x="46626" y="3972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noAutofit/>
            </a:bodyPr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5" name="Freeform 109"/>
            <p:cNvSpPr/>
            <p:nvPr/>
          </p:nvSpPr>
          <p:spPr bwMode="auto">
            <a:xfrm>
              <a:off x="5122851" y="4268169"/>
              <a:ext cx="1003127" cy="1282883"/>
            </a:xfrm>
            <a:custGeom>
              <a:avLst/>
              <a:gdLst>
                <a:gd name="connsiteX0" fmla="*/ 405579 w 1003127"/>
                <a:gd name="connsiteY0" fmla="*/ 319721 h 1282883"/>
                <a:gd name="connsiteX1" fmla="*/ 421625 w 1003127"/>
                <a:gd name="connsiteY1" fmla="*/ 322391 h 1282883"/>
                <a:gd name="connsiteX2" fmla="*/ 439009 w 1003127"/>
                <a:gd name="connsiteY2" fmla="*/ 325061 h 1282883"/>
                <a:gd name="connsiteX3" fmla="*/ 452382 w 1003127"/>
                <a:gd name="connsiteY3" fmla="*/ 330401 h 1282883"/>
                <a:gd name="connsiteX4" fmla="*/ 463080 w 1003127"/>
                <a:gd name="connsiteY4" fmla="*/ 338411 h 1282883"/>
                <a:gd name="connsiteX5" fmla="*/ 475115 w 1003127"/>
                <a:gd name="connsiteY5" fmla="*/ 349090 h 1282883"/>
                <a:gd name="connsiteX6" fmla="*/ 482552 w 1003127"/>
                <a:gd name="connsiteY6" fmla="*/ 358990 h 1282883"/>
                <a:gd name="connsiteX7" fmla="*/ 655428 w 1003127"/>
                <a:gd name="connsiteY7" fmla="*/ 511815 h 1282883"/>
                <a:gd name="connsiteX8" fmla="*/ 655297 w 1003127"/>
                <a:gd name="connsiteY8" fmla="*/ 512144 h 1282883"/>
                <a:gd name="connsiteX9" fmla="*/ 663422 w 1003127"/>
                <a:gd name="connsiteY9" fmla="*/ 512877 h 1282883"/>
                <a:gd name="connsiteX10" fmla="*/ 952504 w 1003127"/>
                <a:gd name="connsiteY10" fmla="*/ 580359 h 1282883"/>
                <a:gd name="connsiteX11" fmla="*/ 965826 w 1003127"/>
                <a:gd name="connsiteY11" fmla="*/ 583005 h 1282883"/>
                <a:gd name="connsiteX12" fmla="*/ 975152 w 1003127"/>
                <a:gd name="connsiteY12" fmla="*/ 589621 h 1282883"/>
                <a:gd name="connsiteX13" fmla="*/ 985809 w 1003127"/>
                <a:gd name="connsiteY13" fmla="*/ 597560 h 1282883"/>
                <a:gd name="connsiteX14" fmla="*/ 993802 w 1003127"/>
                <a:gd name="connsiteY14" fmla="*/ 608145 h 1282883"/>
                <a:gd name="connsiteX15" fmla="*/ 999131 w 1003127"/>
                <a:gd name="connsiteY15" fmla="*/ 620054 h 1282883"/>
                <a:gd name="connsiteX16" fmla="*/ 1001795 w 1003127"/>
                <a:gd name="connsiteY16" fmla="*/ 630639 h 1282883"/>
                <a:gd name="connsiteX17" fmla="*/ 1003127 w 1003127"/>
                <a:gd name="connsiteY17" fmla="*/ 643870 h 1282883"/>
                <a:gd name="connsiteX18" fmla="*/ 1001795 w 1003127"/>
                <a:gd name="connsiteY18" fmla="*/ 657102 h 1282883"/>
                <a:gd name="connsiteX19" fmla="*/ 996466 w 1003127"/>
                <a:gd name="connsiteY19" fmla="*/ 669011 h 1282883"/>
                <a:gd name="connsiteX20" fmla="*/ 989805 w 1003127"/>
                <a:gd name="connsiteY20" fmla="*/ 680919 h 1282883"/>
                <a:gd name="connsiteX21" fmla="*/ 981812 w 1003127"/>
                <a:gd name="connsiteY21" fmla="*/ 690181 h 1282883"/>
                <a:gd name="connsiteX22" fmla="*/ 972487 w 1003127"/>
                <a:gd name="connsiteY22" fmla="*/ 696797 h 1282883"/>
                <a:gd name="connsiteX23" fmla="*/ 961830 w 1003127"/>
                <a:gd name="connsiteY23" fmla="*/ 703413 h 1282883"/>
                <a:gd name="connsiteX24" fmla="*/ 948508 w 1003127"/>
                <a:gd name="connsiteY24" fmla="*/ 707382 h 1282883"/>
                <a:gd name="connsiteX25" fmla="*/ 937851 w 1003127"/>
                <a:gd name="connsiteY25" fmla="*/ 707382 h 1282883"/>
                <a:gd name="connsiteX26" fmla="*/ 924529 w 1003127"/>
                <a:gd name="connsiteY26" fmla="*/ 704736 h 1282883"/>
                <a:gd name="connsiteX27" fmla="*/ 638111 w 1003127"/>
                <a:gd name="connsiteY27" fmla="*/ 649163 h 1282883"/>
                <a:gd name="connsiteX28" fmla="*/ 624789 w 1003127"/>
                <a:gd name="connsiteY28" fmla="*/ 646517 h 1282883"/>
                <a:gd name="connsiteX29" fmla="*/ 611467 w 1003127"/>
                <a:gd name="connsiteY29" fmla="*/ 637255 h 1282883"/>
                <a:gd name="connsiteX30" fmla="*/ 606676 w 1003127"/>
                <a:gd name="connsiteY30" fmla="*/ 633553 h 1282883"/>
                <a:gd name="connsiteX31" fmla="*/ 605918 w 1003127"/>
                <a:gd name="connsiteY31" fmla="*/ 635445 h 1282883"/>
                <a:gd name="connsiteX32" fmla="*/ 539333 w 1003127"/>
                <a:gd name="connsiteY32" fmla="*/ 578412 h 1282883"/>
                <a:gd name="connsiteX33" fmla="*/ 585879 w 1003127"/>
                <a:gd name="connsiteY33" fmla="*/ 776504 h 1282883"/>
                <a:gd name="connsiteX34" fmla="*/ 768924 w 1003127"/>
                <a:gd name="connsiteY34" fmla="*/ 746738 h 1282883"/>
                <a:gd name="connsiteX35" fmla="*/ 769996 w 1003127"/>
                <a:gd name="connsiteY35" fmla="*/ 746052 h 1282883"/>
                <a:gd name="connsiteX36" fmla="*/ 784650 w 1003127"/>
                <a:gd name="connsiteY36" fmla="*/ 742035 h 1282883"/>
                <a:gd name="connsiteX37" fmla="*/ 803301 w 1003127"/>
                <a:gd name="connsiteY37" fmla="*/ 739357 h 1282883"/>
                <a:gd name="connsiteX38" fmla="*/ 820619 w 1003127"/>
                <a:gd name="connsiteY38" fmla="*/ 742035 h 1282883"/>
                <a:gd name="connsiteX39" fmla="*/ 835273 w 1003127"/>
                <a:gd name="connsiteY39" fmla="*/ 746052 h 1282883"/>
                <a:gd name="connsiteX40" fmla="*/ 849927 w 1003127"/>
                <a:gd name="connsiteY40" fmla="*/ 755425 h 1282883"/>
                <a:gd name="connsiteX41" fmla="*/ 863249 w 1003127"/>
                <a:gd name="connsiteY41" fmla="*/ 764798 h 1282883"/>
                <a:gd name="connsiteX42" fmla="*/ 872575 w 1003127"/>
                <a:gd name="connsiteY42" fmla="*/ 778188 h 1282883"/>
                <a:gd name="connsiteX43" fmla="*/ 881900 w 1003127"/>
                <a:gd name="connsiteY43" fmla="*/ 791578 h 1282883"/>
                <a:gd name="connsiteX44" fmla="*/ 885896 w 1003127"/>
                <a:gd name="connsiteY44" fmla="*/ 807645 h 1282883"/>
                <a:gd name="connsiteX45" fmla="*/ 888561 w 1003127"/>
                <a:gd name="connsiteY45" fmla="*/ 825052 h 1282883"/>
                <a:gd name="connsiteX46" fmla="*/ 891225 w 1003127"/>
                <a:gd name="connsiteY46" fmla="*/ 1178543 h 1282883"/>
                <a:gd name="connsiteX47" fmla="*/ 889893 w 1003127"/>
                <a:gd name="connsiteY47" fmla="*/ 1194611 h 1282883"/>
                <a:gd name="connsiteX48" fmla="*/ 884564 w 1003127"/>
                <a:gd name="connsiteY48" fmla="*/ 1210679 h 1282883"/>
                <a:gd name="connsiteX49" fmla="*/ 876571 w 1003127"/>
                <a:gd name="connsiteY49" fmla="*/ 1226747 h 1282883"/>
                <a:gd name="connsiteX50" fmla="*/ 865914 w 1003127"/>
                <a:gd name="connsiteY50" fmla="*/ 1237459 h 1282883"/>
                <a:gd name="connsiteX51" fmla="*/ 855256 w 1003127"/>
                <a:gd name="connsiteY51" fmla="*/ 1248170 h 1282883"/>
                <a:gd name="connsiteX52" fmla="*/ 839270 w 1003127"/>
                <a:gd name="connsiteY52" fmla="*/ 1256204 h 1282883"/>
                <a:gd name="connsiteX53" fmla="*/ 823284 w 1003127"/>
                <a:gd name="connsiteY53" fmla="*/ 1261560 h 1282883"/>
                <a:gd name="connsiteX54" fmla="*/ 807298 w 1003127"/>
                <a:gd name="connsiteY54" fmla="*/ 1262899 h 1282883"/>
                <a:gd name="connsiteX55" fmla="*/ 789979 w 1003127"/>
                <a:gd name="connsiteY55" fmla="*/ 1261560 h 1282883"/>
                <a:gd name="connsiteX56" fmla="*/ 773993 w 1003127"/>
                <a:gd name="connsiteY56" fmla="*/ 1256204 h 1282883"/>
                <a:gd name="connsiteX57" fmla="*/ 760671 w 1003127"/>
                <a:gd name="connsiteY57" fmla="*/ 1249509 h 1282883"/>
                <a:gd name="connsiteX58" fmla="*/ 747349 w 1003127"/>
                <a:gd name="connsiteY58" fmla="*/ 1237459 h 1282883"/>
                <a:gd name="connsiteX59" fmla="*/ 736692 w 1003127"/>
                <a:gd name="connsiteY59" fmla="*/ 1226747 h 1282883"/>
                <a:gd name="connsiteX60" fmla="*/ 728699 w 1003127"/>
                <a:gd name="connsiteY60" fmla="*/ 1210679 h 1282883"/>
                <a:gd name="connsiteX61" fmla="*/ 723370 w 1003127"/>
                <a:gd name="connsiteY61" fmla="*/ 1195950 h 1282883"/>
                <a:gd name="connsiteX62" fmla="*/ 722038 w 1003127"/>
                <a:gd name="connsiteY62" fmla="*/ 1178543 h 1282883"/>
                <a:gd name="connsiteX63" fmla="*/ 720139 w 1003127"/>
                <a:gd name="connsiteY63" fmla="*/ 926610 h 1282883"/>
                <a:gd name="connsiteX64" fmla="*/ 504485 w 1003127"/>
                <a:gd name="connsiteY64" fmla="*/ 962424 h 1282883"/>
                <a:gd name="connsiteX65" fmla="*/ 515552 w 1003127"/>
                <a:gd name="connsiteY65" fmla="*/ 1132139 h 1282883"/>
                <a:gd name="connsiteX66" fmla="*/ 514925 w 1003127"/>
                <a:gd name="connsiteY66" fmla="*/ 1140309 h 1282883"/>
                <a:gd name="connsiteX67" fmla="*/ 515552 w 1003127"/>
                <a:gd name="connsiteY67" fmla="*/ 1147806 h 1282883"/>
                <a:gd name="connsiteX68" fmla="*/ 512895 w 1003127"/>
                <a:gd name="connsiteY68" fmla="*/ 1165021 h 1282883"/>
                <a:gd name="connsiteX69" fmla="*/ 507580 w 1003127"/>
                <a:gd name="connsiteY69" fmla="*/ 1179589 h 1282883"/>
                <a:gd name="connsiteX70" fmla="*/ 499607 w 1003127"/>
                <a:gd name="connsiteY70" fmla="*/ 1192832 h 1282883"/>
                <a:gd name="connsiteX71" fmla="*/ 487649 w 1003127"/>
                <a:gd name="connsiteY71" fmla="*/ 1206074 h 1282883"/>
                <a:gd name="connsiteX72" fmla="*/ 474361 w 1003127"/>
                <a:gd name="connsiteY72" fmla="*/ 1215344 h 1282883"/>
                <a:gd name="connsiteX73" fmla="*/ 459745 w 1003127"/>
                <a:gd name="connsiteY73" fmla="*/ 1221966 h 1282883"/>
                <a:gd name="connsiteX74" fmla="*/ 442471 w 1003127"/>
                <a:gd name="connsiteY74" fmla="*/ 1227263 h 1282883"/>
                <a:gd name="connsiteX75" fmla="*/ 96998 w 1003127"/>
                <a:gd name="connsiteY75" fmla="*/ 1282883 h 1282883"/>
                <a:gd name="connsiteX76" fmla="*/ 81053 w 1003127"/>
                <a:gd name="connsiteY76" fmla="*/ 1282883 h 1282883"/>
                <a:gd name="connsiteX77" fmla="*/ 65108 w 1003127"/>
                <a:gd name="connsiteY77" fmla="*/ 1281559 h 1282883"/>
                <a:gd name="connsiteX78" fmla="*/ 49163 w 1003127"/>
                <a:gd name="connsiteY78" fmla="*/ 1274938 h 1282883"/>
                <a:gd name="connsiteX79" fmla="*/ 34547 w 1003127"/>
                <a:gd name="connsiteY79" fmla="*/ 1266992 h 1282883"/>
                <a:gd name="connsiteX80" fmla="*/ 22588 w 1003127"/>
                <a:gd name="connsiteY80" fmla="*/ 1256397 h 1282883"/>
                <a:gd name="connsiteX81" fmla="*/ 13287 w 1003127"/>
                <a:gd name="connsiteY81" fmla="*/ 1243155 h 1282883"/>
                <a:gd name="connsiteX82" fmla="*/ 6643 w 1003127"/>
                <a:gd name="connsiteY82" fmla="*/ 1228587 h 1282883"/>
                <a:gd name="connsiteX83" fmla="*/ 1328 w 1003127"/>
                <a:gd name="connsiteY83" fmla="*/ 1212696 h 1282883"/>
                <a:gd name="connsiteX84" fmla="*/ 0 w 1003127"/>
                <a:gd name="connsiteY84" fmla="*/ 1195480 h 1282883"/>
                <a:gd name="connsiteX85" fmla="*/ 3986 w 1003127"/>
                <a:gd name="connsiteY85" fmla="*/ 1179589 h 1282883"/>
                <a:gd name="connsiteX86" fmla="*/ 7972 w 1003127"/>
                <a:gd name="connsiteY86" fmla="*/ 1162373 h 1282883"/>
                <a:gd name="connsiteX87" fmla="*/ 17273 w 1003127"/>
                <a:gd name="connsiteY87" fmla="*/ 1149130 h 1282883"/>
                <a:gd name="connsiteX88" fmla="*/ 27903 w 1003127"/>
                <a:gd name="connsiteY88" fmla="*/ 1138536 h 1282883"/>
                <a:gd name="connsiteX89" fmla="*/ 41191 w 1003127"/>
                <a:gd name="connsiteY89" fmla="*/ 1127941 h 1282883"/>
                <a:gd name="connsiteX90" fmla="*/ 55807 w 1003127"/>
                <a:gd name="connsiteY90" fmla="*/ 1119996 h 1282883"/>
                <a:gd name="connsiteX91" fmla="*/ 73081 w 1003127"/>
                <a:gd name="connsiteY91" fmla="*/ 1117347 h 1282883"/>
                <a:gd name="connsiteX92" fmla="*/ 341830 w 1003127"/>
                <a:gd name="connsiteY92" fmla="*/ 1073049 h 1282883"/>
                <a:gd name="connsiteX93" fmla="*/ 330819 w 1003127"/>
                <a:gd name="connsiteY93" fmla="*/ 903638 h 1282883"/>
                <a:gd name="connsiteX94" fmla="*/ 330693 w 1003127"/>
                <a:gd name="connsiteY94" fmla="*/ 903096 h 1282883"/>
                <a:gd name="connsiteX95" fmla="*/ 249121 w 1003127"/>
                <a:gd name="connsiteY95" fmla="*/ 443872 h 1282883"/>
                <a:gd name="connsiteX96" fmla="*/ 247784 w 1003127"/>
                <a:gd name="connsiteY96" fmla="*/ 426518 h 1282883"/>
                <a:gd name="connsiteX97" fmla="*/ 247784 w 1003127"/>
                <a:gd name="connsiteY97" fmla="*/ 410498 h 1282883"/>
                <a:gd name="connsiteX98" fmla="*/ 251796 w 1003127"/>
                <a:gd name="connsiteY98" fmla="*/ 394479 h 1282883"/>
                <a:gd name="connsiteX99" fmla="*/ 261157 w 1003127"/>
                <a:gd name="connsiteY99" fmla="*/ 379794 h 1282883"/>
                <a:gd name="connsiteX100" fmla="*/ 270517 w 1003127"/>
                <a:gd name="connsiteY100" fmla="*/ 369115 h 1282883"/>
                <a:gd name="connsiteX101" fmla="*/ 282552 w 1003127"/>
                <a:gd name="connsiteY101" fmla="*/ 357100 h 1282883"/>
                <a:gd name="connsiteX102" fmla="*/ 297262 w 1003127"/>
                <a:gd name="connsiteY102" fmla="*/ 346420 h 1282883"/>
                <a:gd name="connsiteX103" fmla="*/ 311972 w 1003127"/>
                <a:gd name="connsiteY103" fmla="*/ 339746 h 1282883"/>
                <a:gd name="connsiteX104" fmla="*/ 337379 w 1003127"/>
                <a:gd name="connsiteY104" fmla="*/ 331736 h 1282883"/>
                <a:gd name="connsiteX105" fmla="*/ 360112 w 1003127"/>
                <a:gd name="connsiteY105" fmla="*/ 325061 h 1282883"/>
                <a:gd name="connsiteX106" fmla="*/ 381508 w 1003127"/>
                <a:gd name="connsiteY106" fmla="*/ 322391 h 1282883"/>
                <a:gd name="connsiteX107" fmla="*/ 398320 w 1003127"/>
                <a:gd name="connsiteY107" fmla="*/ 0 h 1282883"/>
                <a:gd name="connsiteX108" fmla="*/ 412974 w 1003127"/>
                <a:gd name="connsiteY108" fmla="*/ 1321 h 1282883"/>
                <a:gd name="connsiteX109" fmla="*/ 427628 w 1003127"/>
                <a:gd name="connsiteY109" fmla="*/ 3961 h 1282883"/>
                <a:gd name="connsiteX110" fmla="*/ 442282 w 1003127"/>
                <a:gd name="connsiteY110" fmla="*/ 6602 h 1282883"/>
                <a:gd name="connsiteX111" fmla="*/ 455604 w 1003127"/>
                <a:gd name="connsiteY111" fmla="*/ 11884 h 1282883"/>
                <a:gd name="connsiteX112" fmla="*/ 468926 w 1003127"/>
                <a:gd name="connsiteY112" fmla="*/ 18486 h 1282883"/>
                <a:gd name="connsiteX113" fmla="*/ 480915 w 1003127"/>
                <a:gd name="connsiteY113" fmla="*/ 26409 h 1282883"/>
                <a:gd name="connsiteX114" fmla="*/ 492905 w 1003127"/>
                <a:gd name="connsiteY114" fmla="*/ 34331 h 1282883"/>
                <a:gd name="connsiteX115" fmla="*/ 503562 w 1003127"/>
                <a:gd name="connsiteY115" fmla="*/ 44895 h 1282883"/>
                <a:gd name="connsiteX116" fmla="*/ 514220 w 1003127"/>
                <a:gd name="connsiteY116" fmla="*/ 54138 h 1282883"/>
                <a:gd name="connsiteX117" fmla="*/ 522213 w 1003127"/>
                <a:gd name="connsiteY117" fmla="*/ 66022 h 1282883"/>
                <a:gd name="connsiteX118" fmla="*/ 528874 w 1003127"/>
                <a:gd name="connsiteY118" fmla="*/ 79226 h 1282883"/>
                <a:gd name="connsiteX119" fmla="*/ 535535 w 1003127"/>
                <a:gd name="connsiteY119" fmla="*/ 92430 h 1282883"/>
                <a:gd name="connsiteX120" fmla="*/ 540863 w 1003127"/>
                <a:gd name="connsiteY120" fmla="*/ 105635 h 1282883"/>
                <a:gd name="connsiteX121" fmla="*/ 544860 w 1003127"/>
                <a:gd name="connsiteY121" fmla="*/ 120160 h 1282883"/>
                <a:gd name="connsiteX122" fmla="*/ 547524 w 1003127"/>
                <a:gd name="connsiteY122" fmla="*/ 134684 h 1282883"/>
                <a:gd name="connsiteX123" fmla="*/ 547524 w 1003127"/>
                <a:gd name="connsiteY123" fmla="*/ 149209 h 1282883"/>
                <a:gd name="connsiteX124" fmla="*/ 547524 w 1003127"/>
                <a:gd name="connsiteY124" fmla="*/ 165054 h 1282883"/>
                <a:gd name="connsiteX125" fmla="*/ 544860 w 1003127"/>
                <a:gd name="connsiteY125" fmla="*/ 179579 h 1282883"/>
                <a:gd name="connsiteX126" fmla="*/ 540863 w 1003127"/>
                <a:gd name="connsiteY126" fmla="*/ 194104 h 1282883"/>
                <a:gd name="connsiteX127" fmla="*/ 535535 w 1003127"/>
                <a:gd name="connsiteY127" fmla="*/ 208628 h 1282883"/>
                <a:gd name="connsiteX128" fmla="*/ 528874 w 1003127"/>
                <a:gd name="connsiteY128" fmla="*/ 220512 h 1282883"/>
                <a:gd name="connsiteX129" fmla="*/ 522213 w 1003127"/>
                <a:gd name="connsiteY129" fmla="*/ 233717 h 1282883"/>
                <a:gd name="connsiteX130" fmla="*/ 514220 w 1003127"/>
                <a:gd name="connsiteY130" fmla="*/ 245601 h 1282883"/>
                <a:gd name="connsiteX131" fmla="*/ 503562 w 1003127"/>
                <a:gd name="connsiteY131" fmla="*/ 254844 h 1282883"/>
                <a:gd name="connsiteX132" fmla="*/ 492905 w 1003127"/>
                <a:gd name="connsiteY132" fmla="*/ 264087 h 1282883"/>
                <a:gd name="connsiteX133" fmla="*/ 480915 w 1003127"/>
                <a:gd name="connsiteY133" fmla="*/ 274650 h 1282883"/>
                <a:gd name="connsiteX134" fmla="*/ 468926 w 1003127"/>
                <a:gd name="connsiteY134" fmla="*/ 281252 h 1282883"/>
                <a:gd name="connsiteX135" fmla="*/ 455604 w 1003127"/>
                <a:gd name="connsiteY135" fmla="*/ 287854 h 1282883"/>
                <a:gd name="connsiteX136" fmla="*/ 442282 w 1003127"/>
                <a:gd name="connsiteY136" fmla="*/ 293136 h 1282883"/>
                <a:gd name="connsiteX137" fmla="*/ 427628 w 1003127"/>
                <a:gd name="connsiteY137" fmla="*/ 295777 h 1282883"/>
                <a:gd name="connsiteX138" fmla="*/ 412974 w 1003127"/>
                <a:gd name="connsiteY138" fmla="*/ 299738 h 1282883"/>
                <a:gd name="connsiteX139" fmla="*/ 398320 w 1003127"/>
                <a:gd name="connsiteY139" fmla="*/ 299738 h 1282883"/>
                <a:gd name="connsiteX140" fmla="*/ 381002 w 1003127"/>
                <a:gd name="connsiteY140" fmla="*/ 299738 h 1282883"/>
                <a:gd name="connsiteX141" fmla="*/ 366348 w 1003127"/>
                <a:gd name="connsiteY141" fmla="*/ 295777 h 1282883"/>
                <a:gd name="connsiteX142" fmla="*/ 351694 w 1003127"/>
                <a:gd name="connsiteY142" fmla="*/ 293136 h 1282883"/>
                <a:gd name="connsiteX143" fmla="*/ 338372 w 1003127"/>
                <a:gd name="connsiteY143" fmla="*/ 287854 h 1282883"/>
                <a:gd name="connsiteX144" fmla="*/ 325051 w 1003127"/>
                <a:gd name="connsiteY144" fmla="*/ 281252 h 1282883"/>
                <a:gd name="connsiteX145" fmla="*/ 313061 w 1003127"/>
                <a:gd name="connsiteY145" fmla="*/ 274650 h 1282883"/>
                <a:gd name="connsiteX146" fmla="*/ 302404 w 1003127"/>
                <a:gd name="connsiteY146" fmla="*/ 264087 h 1282883"/>
                <a:gd name="connsiteX147" fmla="*/ 290414 w 1003127"/>
                <a:gd name="connsiteY147" fmla="*/ 254844 h 1282883"/>
                <a:gd name="connsiteX148" fmla="*/ 279757 w 1003127"/>
                <a:gd name="connsiteY148" fmla="*/ 245601 h 1282883"/>
                <a:gd name="connsiteX149" fmla="*/ 271763 w 1003127"/>
                <a:gd name="connsiteY149" fmla="*/ 233717 h 1282883"/>
                <a:gd name="connsiteX150" fmla="*/ 265103 w 1003127"/>
                <a:gd name="connsiteY150" fmla="*/ 220512 h 1282883"/>
                <a:gd name="connsiteX151" fmla="*/ 258442 w 1003127"/>
                <a:gd name="connsiteY151" fmla="*/ 208628 h 1282883"/>
                <a:gd name="connsiteX152" fmla="*/ 254445 w 1003127"/>
                <a:gd name="connsiteY152" fmla="*/ 194104 h 1282883"/>
                <a:gd name="connsiteX153" fmla="*/ 249116 w 1003127"/>
                <a:gd name="connsiteY153" fmla="*/ 179579 h 1282883"/>
                <a:gd name="connsiteX154" fmla="*/ 247784 w 1003127"/>
                <a:gd name="connsiteY154" fmla="*/ 165054 h 1282883"/>
                <a:gd name="connsiteX155" fmla="*/ 247784 w 1003127"/>
                <a:gd name="connsiteY155" fmla="*/ 149209 h 1282883"/>
                <a:gd name="connsiteX156" fmla="*/ 247784 w 1003127"/>
                <a:gd name="connsiteY156" fmla="*/ 134684 h 1282883"/>
                <a:gd name="connsiteX157" fmla="*/ 249116 w 1003127"/>
                <a:gd name="connsiteY157" fmla="*/ 120160 h 1282883"/>
                <a:gd name="connsiteX158" fmla="*/ 254445 w 1003127"/>
                <a:gd name="connsiteY158" fmla="*/ 105635 h 1282883"/>
                <a:gd name="connsiteX159" fmla="*/ 258442 w 1003127"/>
                <a:gd name="connsiteY159" fmla="*/ 92430 h 1282883"/>
                <a:gd name="connsiteX160" fmla="*/ 265103 w 1003127"/>
                <a:gd name="connsiteY160" fmla="*/ 79226 h 1282883"/>
                <a:gd name="connsiteX161" fmla="*/ 271763 w 1003127"/>
                <a:gd name="connsiteY161" fmla="*/ 66022 h 1282883"/>
                <a:gd name="connsiteX162" fmla="*/ 279757 w 1003127"/>
                <a:gd name="connsiteY162" fmla="*/ 54138 h 1282883"/>
                <a:gd name="connsiteX163" fmla="*/ 290414 w 1003127"/>
                <a:gd name="connsiteY163" fmla="*/ 44895 h 1282883"/>
                <a:gd name="connsiteX164" fmla="*/ 302404 w 1003127"/>
                <a:gd name="connsiteY164" fmla="*/ 34331 h 1282883"/>
                <a:gd name="connsiteX165" fmla="*/ 313061 w 1003127"/>
                <a:gd name="connsiteY165" fmla="*/ 26409 h 1282883"/>
                <a:gd name="connsiteX166" fmla="*/ 325051 w 1003127"/>
                <a:gd name="connsiteY166" fmla="*/ 18486 h 1282883"/>
                <a:gd name="connsiteX167" fmla="*/ 338372 w 1003127"/>
                <a:gd name="connsiteY167" fmla="*/ 11884 h 1282883"/>
                <a:gd name="connsiteX168" fmla="*/ 351694 w 1003127"/>
                <a:gd name="connsiteY168" fmla="*/ 6602 h 1282883"/>
                <a:gd name="connsiteX169" fmla="*/ 366348 w 1003127"/>
                <a:gd name="connsiteY169" fmla="*/ 3961 h 1282883"/>
                <a:gd name="connsiteX170" fmla="*/ 381002 w 1003127"/>
                <a:gd name="connsiteY170" fmla="*/ 1321 h 12828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</a:cxnLst>
              <a:rect l="l" t="t" r="r" b="b"/>
              <a:pathLst>
                <a:path w="1003127" h="1282883">
                  <a:moveTo>
                    <a:pt x="405579" y="319721"/>
                  </a:moveTo>
                  <a:lnTo>
                    <a:pt x="421625" y="322391"/>
                  </a:lnTo>
                  <a:lnTo>
                    <a:pt x="439009" y="325061"/>
                  </a:lnTo>
                  <a:lnTo>
                    <a:pt x="452382" y="330401"/>
                  </a:lnTo>
                  <a:lnTo>
                    <a:pt x="463080" y="338411"/>
                  </a:lnTo>
                  <a:lnTo>
                    <a:pt x="475115" y="349090"/>
                  </a:lnTo>
                  <a:lnTo>
                    <a:pt x="482552" y="358990"/>
                  </a:lnTo>
                  <a:lnTo>
                    <a:pt x="655428" y="511815"/>
                  </a:lnTo>
                  <a:lnTo>
                    <a:pt x="655297" y="512144"/>
                  </a:lnTo>
                  <a:lnTo>
                    <a:pt x="663422" y="512877"/>
                  </a:lnTo>
                  <a:lnTo>
                    <a:pt x="952504" y="580359"/>
                  </a:lnTo>
                  <a:lnTo>
                    <a:pt x="965826" y="583005"/>
                  </a:lnTo>
                  <a:lnTo>
                    <a:pt x="975152" y="589621"/>
                  </a:lnTo>
                  <a:lnTo>
                    <a:pt x="985809" y="597560"/>
                  </a:lnTo>
                  <a:lnTo>
                    <a:pt x="993802" y="608145"/>
                  </a:lnTo>
                  <a:lnTo>
                    <a:pt x="999131" y="620054"/>
                  </a:lnTo>
                  <a:lnTo>
                    <a:pt x="1001795" y="630639"/>
                  </a:lnTo>
                  <a:lnTo>
                    <a:pt x="1003127" y="643870"/>
                  </a:lnTo>
                  <a:lnTo>
                    <a:pt x="1001795" y="657102"/>
                  </a:lnTo>
                  <a:lnTo>
                    <a:pt x="996466" y="669011"/>
                  </a:lnTo>
                  <a:lnTo>
                    <a:pt x="989805" y="680919"/>
                  </a:lnTo>
                  <a:lnTo>
                    <a:pt x="981812" y="690181"/>
                  </a:lnTo>
                  <a:lnTo>
                    <a:pt x="972487" y="696797"/>
                  </a:lnTo>
                  <a:lnTo>
                    <a:pt x="961830" y="703413"/>
                  </a:lnTo>
                  <a:lnTo>
                    <a:pt x="948508" y="707382"/>
                  </a:lnTo>
                  <a:lnTo>
                    <a:pt x="937851" y="707382"/>
                  </a:lnTo>
                  <a:lnTo>
                    <a:pt x="924529" y="704736"/>
                  </a:lnTo>
                  <a:lnTo>
                    <a:pt x="638111" y="649163"/>
                  </a:lnTo>
                  <a:lnTo>
                    <a:pt x="624789" y="646517"/>
                  </a:lnTo>
                  <a:lnTo>
                    <a:pt x="611467" y="637255"/>
                  </a:lnTo>
                  <a:lnTo>
                    <a:pt x="606676" y="633553"/>
                  </a:lnTo>
                  <a:lnTo>
                    <a:pt x="605918" y="635445"/>
                  </a:lnTo>
                  <a:lnTo>
                    <a:pt x="539333" y="578412"/>
                  </a:lnTo>
                  <a:lnTo>
                    <a:pt x="585879" y="776504"/>
                  </a:lnTo>
                  <a:lnTo>
                    <a:pt x="768924" y="746738"/>
                  </a:lnTo>
                  <a:lnTo>
                    <a:pt x="769996" y="746052"/>
                  </a:lnTo>
                  <a:lnTo>
                    <a:pt x="784650" y="742035"/>
                  </a:lnTo>
                  <a:lnTo>
                    <a:pt x="803301" y="739357"/>
                  </a:lnTo>
                  <a:lnTo>
                    <a:pt x="820619" y="742035"/>
                  </a:lnTo>
                  <a:lnTo>
                    <a:pt x="835273" y="746052"/>
                  </a:lnTo>
                  <a:lnTo>
                    <a:pt x="849927" y="755425"/>
                  </a:lnTo>
                  <a:lnTo>
                    <a:pt x="863249" y="764798"/>
                  </a:lnTo>
                  <a:lnTo>
                    <a:pt x="872575" y="778188"/>
                  </a:lnTo>
                  <a:lnTo>
                    <a:pt x="881900" y="791578"/>
                  </a:lnTo>
                  <a:lnTo>
                    <a:pt x="885896" y="807645"/>
                  </a:lnTo>
                  <a:lnTo>
                    <a:pt x="888561" y="825052"/>
                  </a:lnTo>
                  <a:lnTo>
                    <a:pt x="891225" y="1178543"/>
                  </a:lnTo>
                  <a:lnTo>
                    <a:pt x="889893" y="1194611"/>
                  </a:lnTo>
                  <a:lnTo>
                    <a:pt x="884564" y="1210679"/>
                  </a:lnTo>
                  <a:lnTo>
                    <a:pt x="876571" y="1226747"/>
                  </a:lnTo>
                  <a:lnTo>
                    <a:pt x="865914" y="1237459"/>
                  </a:lnTo>
                  <a:lnTo>
                    <a:pt x="855256" y="1248170"/>
                  </a:lnTo>
                  <a:lnTo>
                    <a:pt x="839270" y="1256204"/>
                  </a:lnTo>
                  <a:lnTo>
                    <a:pt x="823284" y="1261560"/>
                  </a:lnTo>
                  <a:lnTo>
                    <a:pt x="807298" y="1262899"/>
                  </a:lnTo>
                  <a:lnTo>
                    <a:pt x="789979" y="1261560"/>
                  </a:lnTo>
                  <a:lnTo>
                    <a:pt x="773993" y="1256204"/>
                  </a:lnTo>
                  <a:lnTo>
                    <a:pt x="760671" y="1249509"/>
                  </a:lnTo>
                  <a:lnTo>
                    <a:pt x="747349" y="1237459"/>
                  </a:lnTo>
                  <a:lnTo>
                    <a:pt x="736692" y="1226747"/>
                  </a:lnTo>
                  <a:lnTo>
                    <a:pt x="728699" y="1210679"/>
                  </a:lnTo>
                  <a:lnTo>
                    <a:pt x="723370" y="1195950"/>
                  </a:lnTo>
                  <a:lnTo>
                    <a:pt x="722038" y="1178543"/>
                  </a:lnTo>
                  <a:lnTo>
                    <a:pt x="720139" y="926610"/>
                  </a:lnTo>
                  <a:lnTo>
                    <a:pt x="504485" y="962424"/>
                  </a:lnTo>
                  <a:lnTo>
                    <a:pt x="515552" y="1132139"/>
                  </a:lnTo>
                  <a:lnTo>
                    <a:pt x="514925" y="1140309"/>
                  </a:lnTo>
                  <a:lnTo>
                    <a:pt x="515552" y="1147806"/>
                  </a:lnTo>
                  <a:lnTo>
                    <a:pt x="512895" y="1165021"/>
                  </a:lnTo>
                  <a:lnTo>
                    <a:pt x="507580" y="1179589"/>
                  </a:lnTo>
                  <a:lnTo>
                    <a:pt x="499607" y="1192832"/>
                  </a:lnTo>
                  <a:lnTo>
                    <a:pt x="487649" y="1206074"/>
                  </a:lnTo>
                  <a:lnTo>
                    <a:pt x="474361" y="1215344"/>
                  </a:lnTo>
                  <a:lnTo>
                    <a:pt x="459745" y="1221966"/>
                  </a:lnTo>
                  <a:lnTo>
                    <a:pt x="442471" y="1227263"/>
                  </a:lnTo>
                  <a:lnTo>
                    <a:pt x="96998" y="1282883"/>
                  </a:lnTo>
                  <a:lnTo>
                    <a:pt x="81053" y="1282883"/>
                  </a:lnTo>
                  <a:lnTo>
                    <a:pt x="65108" y="1281559"/>
                  </a:lnTo>
                  <a:lnTo>
                    <a:pt x="49163" y="1274938"/>
                  </a:lnTo>
                  <a:lnTo>
                    <a:pt x="34547" y="1266992"/>
                  </a:lnTo>
                  <a:lnTo>
                    <a:pt x="22588" y="1256397"/>
                  </a:lnTo>
                  <a:lnTo>
                    <a:pt x="13287" y="1243155"/>
                  </a:lnTo>
                  <a:lnTo>
                    <a:pt x="6643" y="1228587"/>
                  </a:lnTo>
                  <a:lnTo>
                    <a:pt x="1328" y="1212696"/>
                  </a:lnTo>
                  <a:lnTo>
                    <a:pt x="0" y="1195480"/>
                  </a:lnTo>
                  <a:lnTo>
                    <a:pt x="3986" y="1179589"/>
                  </a:lnTo>
                  <a:lnTo>
                    <a:pt x="7972" y="1162373"/>
                  </a:lnTo>
                  <a:lnTo>
                    <a:pt x="17273" y="1149130"/>
                  </a:lnTo>
                  <a:lnTo>
                    <a:pt x="27903" y="1138536"/>
                  </a:lnTo>
                  <a:lnTo>
                    <a:pt x="41191" y="1127941"/>
                  </a:lnTo>
                  <a:lnTo>
                    <a:pt x="55807" y="1119996"/>
                  </a:lnTo>
                  <a:lnTo>
                    <a:pt x="73081" y="1117347"/>
                  </a:lnTo>
                  <a:lnTo>
                    <a:pt x="341830" y="1073049"/>
                  </a:lnTo>
                  <a:lnTo>
                    <a:pt x="330819" y="903638"/>
                  </a:lnTo>
                  <a:lnTo>
                    <a:pt x="330693" y="903096"/>
                  </a:lnTo>
                  <a:lnTo>
                    <a:pt x="249121" y="443872"/>
                  </a:lnTo>
                  <a:lnTo>
                    <a:pt x="247784" y="426518"/>
                  </a:lnTo>
                  <a:lnTo>
                    <a:pt x="247784" y="410498"/>
                  </a:lnTo>
                  <a:lnTo>
                    <a:pt x="251796" y="394479"/>
                  </a:lnTo>
                  <a:lnTo>
                    <a:pt x="261157" y="379794"/>
                  </a:lnTo>
                  <a:lnTo>
                    <a:pt x="270517" y="369115"/>
                  </a:lnTo>
                  <a:lnTo>
                    <a:pt x="282552" y="357100"/>
                  </a:lnTo>
                  <a:lnTo>
                    <a:pt x="297262" y="346420"/>
                  </a:lnTo>
                  <a:lnTo>
                    <a:pt x="311972" y="339746"/>
                  </a:lnTo>
                  <a:lnTo>
                    <a:pt x="337379" y="331736"/>
                  </a:lnTo>
                  <a:lnTo>
                    <a:pt x="360112" y="325061"/>
                  </a:lnTo>
                  <a:lnTo>
                    <a:pt x="381508" y="322391"/>
                  </a:lnTo>
                  <a:close/>
                  <a:moveTo>
                    <a:pt x="398320" y="0"/>
                  </a:moveTo>
                  <a:lnTo>
                    <a:pt x="412974" y="1321"/>
                  </a:lnTo>
                  <a:lnTo>
                    <a:pt x="427628" y="3961"/>
                  </a:lnTo>
                  <a:lnTo>
                    <a:pt x="442282" y="6602"/>
                  </a:lnTo>
                  <a:lnTo>
                    <a:pt x="455604" y="11884"/>
                  </a:lnTo>
                  <a:lnTo>
                    <a:pt x="468926" y="18486"/>
                  </a:lnTo>
                  <a:lnTo>
                    <a:pt x="480915" y="26409"/>
                  </a:lnTo>
                  <a:lnTo>
                    <a:pt x="492905" y="34331"/>
                  </a:lnTo>
                  <a:lnTo>
                    <a:pt x="503562" y="44895"/>
                  </a:lnTo>
                  <a:lnTo>
                    <a:pt x="514220" y="54138"/>
                  </a:lnTo>
                  <a:lnTo>
                    <a:pt x="522213" y="66022"/>
                  </a:lnTo>
                  <a:lnTo>
                    <a:pt x="528874" y="79226"/>
                  </a:lnTo>
                  <a:lnTo>
                    <a:pt x="535535" y="92430"/>
                  </a:lnTo>
                  <a:lnTo>
                    <a:pt x="540863" y="105635"/>
                  </a:lnTo>
                  <a:lnTo>
                    <a:pt x="544860" y="120160"/>
                  </a:lnTo>
                  <a:lnTo>
                    <a:pt x="547524" y="134684"/>
                  </a:lnTo>
                  <a:lnTo>
                    <a:pt x="547524" y="149209"/>
                  </a:lnTo>
                  <a:lnTo>
                    <a:pt x="547524" y="165054"/>
                  </a:lnTo>
                  <a:lnTo>
                    <a:pt x="544860" y="179579"/>
                  </a:lnTo>
                  <a:lnTo>
                    <a:pt x="540863" y="194104"/>
                  </a:lnTo>
                  <a:lnTo>
                    <a:pt x="535535" y="208628"/>
                  </a:lnTo>
                  <a:lnTo>
                    <a:pt x="528874" y="220512"/>
                  </a:lnTo>
                  <a:lnTo>
                    <a:pt x="522213" y="233717"/>
                  </a:lnTo>
                  <a:lnTo>
                    <a:pt x="514220" y="245601"/>
                  </a:lnTo>
                  <a:lnTo>
                    <a:pt x="503562" y="254844"/>
                  </a:lnTo>
                  <a:lnTo>
                    <a:pt x="492905" y="264087"/>
                  </a:lnTo>
                  <a:lnTo>
                    <a:pt x="480915" y="274650"/>
                  </a:lnTo>
                  <a:lnTo>
                    <a:pt x="468926" y="281252"/>
                  </a:lnTo>
                  <a:lnTo>
                    <a:pt x="455604" y="287854"/>
                  </a:lnTo>
                  <a:lnTo>
                    <a:pt x="442282" y="293136"/>
                  </a:lnTo>
                  <a:lnTo>
                    <a:pt x="427628" y="295777"/>
                  </a:lnTo>
                  <a:lnTo>
                    <a:pt x="412974" y="299738"/>
                  </a:lnTo>
                  <a:lnTo>
                    <a:pt x="398320" y="299738"/>
                  </a:lnTo>
                  <a:lnTo>
                    <a:pt x="381002" y="299738"/>
                  </a:lnTo>
                  <a:lnTo>
                    <a:pt x="366348" y="295777"/>
                  </a:lnTo>
                  <a:lnTo>
                    <a:pt x="351694" y="293136"/>
                  </a:lnTo>
                  <a:lnTo>
                    <a:pt x="338372" y="287854"/>
                  </a:lnTo>
                  <a:lnTo>
                    <a:pt x="325051" y="281252"/>
                  </a:lnTo>
                  <a:lnTo>
                    <a:pt x="313061" y="274650"/>
                  </a:lnTo>
                  <a:lnTo>
                    <a:pt x="302404" y="264087"/>
                  </a:lnTo>
                  <a:lnTo>
                    <a:pt x="290414" y="254844"/>
                  </a:lnTo>
                  <a:lnTo>
                    <a:pt x="279757" y="245601"/>
                  </a:lnTo>
                  <a:lnTo>
                    <a:pt x="271763" y="233717"/>
                  </a:lnTo>
                  <a:lnTo>
                    <a:pt x="265103" y="220512"/>
                  </a:lnTo>
                  <a:lnTo>
                    <a:pt x="258442" y="208628"/>
                  </a:lnTo>
                  <a:lnTo>
                    <a:pt x="254445" y="194104"/>
                  </a:lnTo>
                  <a:lnTo>
                    <a:pt x="249116" y="179579"/>
                  </a:lnTo>
                  <a:lnTo>
                    <a:pt x="247784" y="165054"/>
                  </a:lnTo>
                  <a:lnTo>
                    <a:pt x="247784" y="149209"/>
                  </a:lnTo>
                  <a:lnTo>
                    <a:pt x="247784" y="134684"/>
                  </a:lnTo>
                  <a:lnTo>
                    <a:pt x="249116" y="120160"/>
                  </a:lnTo>
                  <a:lnTo>
                    <a:pt x="254445" y="105635"/>
                  </a:lnTo>
                  <a:lnTo>
                    <a:pt x="258442" y="92430"/>
                  </a:lnTo>
                  <a:lnTo>
                    <a:pt x="265103" y="79226"/>
                  </a:lnTo>
                  <a:lnTo>
                    <a:pt x="271763" y="66022"/>
                  </a:lnTo>
                  <a:lnTo>
                    <a:pt x="279757" y="54138"/>
                  </a:lnTo>
                  <a:lnTo>
                    <a:pt x="290414" y="44895"/>
                  </a:lnTo>
                  <a:lnTo>
                    <a:pt x="302404" y="34331"/>
                  </a:lnTo>
                  <a:lnTo>
                    <a:pt x="313061" y="26409"/>
                  </a:lnTo>
                  <a:lnTo>
                    <a:pt x="325051" y="18486"/>
                  </a:lnTo>
                  <a:lnTo>
                    <a:pt x="338372" y="11884"/>
                  </a:lnTo>
                  <a:lnTo>
                    <a:pt x="351694" y="6602"/>
                  </a:lnTo>
                  <a:lnTo>
                    <a:pt x="366348" y="3961"/>
                  </a:lnTo>
                  <a:lnTo>
                    <a:pt x="381002" y="1321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noAutofit/>
            </a:bodyPr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6" name="Freeform 73"/>
            <p:cNvSpPr>
              <a:spLocks noEditPoints="1"/>
            </p:cNvSpPr>
            <p:nvPr/>
          </p:nvSpPr>
          <p:spPr bwMode="auto">
            <a:xfrm>
              <a:off x="5856412" y="2317170"/>
              <a:ext cx="462932" cy="439881"/>
            </a:xfrm>
            <a:custGeom>
              <a:avLst/>
              <a:gdLst>
                <a:gd name="T0" fmla="*/ 798 w 967"/>
                <a:gd name="T1" fmla="*/ 634 h 917"/>
                <a:gd name="T2" fmla="*/ 771 w 967"/>
                <a:gd name="T3" fmla="*/ 849 h 917"/>
                <a:gd name="T4" fmla="*/ 743 w 967"/>
                <a:gd name="T5" fmla="*/ 877 h 917"/>
                <a:gd name="T6" fmla="*/ 702 w 967"/>
                <a:gd name="T7" fmla="*/ 877 h 917"/>
                <a:gd name="T8" fmla="*/ 674 w 967"/>
                <a:gd name="T9" fmla="*/ 849 h 917"/>
                <a:gd name="T10" fmla="*/ 674 w 967"/>
                <a:gd name="T11" fmla="*/ 808 h 917"/>
                <a:gd name="T12" fmla="*/ 702 w 967"/>
                <a:gd name="T13" fmla="*/ 780 h 917"/>
                <a:gd name="T14" fmla="*/ 743 w 967"/>
                <a:gd name="T15" fmla="*/ 780 h 917"/>
                <a:gd name="T16" fmla="*/ 771 w 967"/>
                <a:gd name="T17" fmla="*/ 808 h 917"/>
                <a:gd name="T18" fmla="*/ 387 w 967"/>
                <a:gd name="T19" fmla="*/ 839 h 917"/>
                <a:gd name="T20" fmla="*/ 364 w 967"/>
                <a:gd name="T21" fmla="*/ 873 h 917"/>
                <a:gd name="T22" fmla="*/ 324 w 967"/>
                <a:gd name="T23" fmla="*/ 880 h 917"/>
                <a:gd name="T24" fmla="*/ 291 w 967"/>
                <a:gd name="T25" fmla="*/ 858 h 917"/>
                <a:gd name="T26" fmla="*/ 283 w 967"/>
                <a:gd name="T27" fmla="*/ 818 h 917"/>
                <a:gd name="T28" fmla="*/ 305 w 967"/>
                <a:gd name="T29" fmla="*/ 784 h 917"/>
                <a:gd name="T30" fmla="*/ 346 w 967"/>
                <a:gd name="T31" fmla="*/ 777 h 917"/>
                <a:gd name="T32" fmla="*/ 378 w 967"/>
                <a:gd name="T33" fmla="*/ 799 h 917"/>
                <a:gd name="T34" fmla="*/ 967 w 967"/>
                <a:gd name="T35" fmla="*/ 246 h 917"/>
                <a:gd name="T36" fmla="*/ 0 w 967"/>
                <a:gd name="T37" fmla="*/ 35 h 917"/>
                <a:gd name="T38" fmla="*/ 297 w 967"/>
                <a:gd name="T39" fmla="*/ 750 h 917"/>
                <a:gd name="T40" fmla="*/ 274 w 967"/>
                <a:gd name="T41" fmla="*/ 765 h 917"/>
                <a:gd name="T42" fmla="*/ 257 w 967"/>
                <a:gd name="T43" fmla="*/ 787 h 917"/>
                <a:gd name="T44" fmla="*/ 247 w 967"/>
                <a:gd name="T45" fmla="*/ 813 h 917"/>
                <a:gd name="T46" fmla="*/ 248 w 967"/>
                <a:gd name="T47" fmla="*/ 846 h 917"/>
                <a:gd name="T48" fmla="*/ 261 w 967"/>
                <a:gd name="T49" fmla="*/ 878 h 917"/>
                <a:gd name="T50" fmla="*/ 285 w 967"/>
                <a:gd name="T51" fmla="*/ 902 h 917"/>
                <a:gd name="T52" fmla="*/ 316 w 967"/>
                <a:gd name="T53" fmla="*/ 915 h 917"/>
                <a:gd name="T54" fmla="*/ 352 w 967"/>
                <a:gd name="T55" fmla="*/ 915 h 917"/>
                <a:gd name="T56" fmla="*/ 383 w 967"/>
                <a:gd name="T57" fmla="*/ 902 h 917"/>
                <a:gd name="T58" fmla="*/ 408 w 967"/>
                <a:gd name="T59" fmla="*/ 878 h 917"/>
                <a:gd name="T60" fmla="*/ 421 w 967"/>
                <a:gd name="T61" fmla="*/ 846 h 917"/>
                <a:gd name="T62" fmla="*/ 421 w 967"/>
                <a:gd name="T63" fmla="*/ 813 h 917"/>
                <a:gd name="T64" fmla="*/ 413 w 967"/>
                <a:gd name="T65" fmla="*/ 787 h 917"/>
                <a:gd name="T66" fmla="*/ 648 w 967"/>
                <a:gd name="T67" fmla="*/ 781 h 917"/>
                <a:gd name="T68" fmla="*/ 637 w 967"/>
                <a:gd name="T69" fmla="*/ 807 h 917"/>
                <a:gd name="T70" fmla="*/ 635 w 967"/>
                <a:gd name="T71" fmla="*/ 837 h 917"/>
                <a:gd name="T72" fmla="*/ 645 w 967"/>
                <a:gd name="T73" fmla="*/ 871 h 917"/>
                <a:gd name="T74" fmla="*/ 666 w 967"/>
                <a:gd name="T75" fmla="*/ 896 h 917"/>
                <a:gd name="T76" fmla="*/ 697 w 967"/>
                <a:gd name="T77" fmla="*/ 913 h 917"/>
                <a:gd name="T78" fmla="*/ 731 w 967"/>
                <a:gd name="T79" fmla="*/ 916 h 917"/>
                <a:gd name="T80" fmla="*/ 765 w 967"/>
                <a:gd name="T81" fmla="*/ 906 h 917"/>
                <a:gd name="T82" fmla="*/ 791 w 967"/>
                <a:gd name="T83" fmla="*/ 885 h 917"/>
                <a:gd name="T84" fmla="*/ 807 w 967"/>
                <a:gd name="T85" fmla="*/ 854 h 917"/>
                <a:gd name="T86" fmla="*/ 810 w 967"/>
                <a:gd name="T87" fmla="*/ 820 h 917"/>
                <a:gd name="T88" fmla="*/ 800 w 967"/>
                <a:gd name="T89" fmla="*/ 786 h 917"/>
                <a:gd name="T90" fmla="*/ 779 w 967"/>
                <a:gd name="T91" fmla="*/ 760 h 917"/>
                <a:gd name="T92" fmla="*/ 749 w 967"/>
                <a:gd name="T93" fmla="*/ 744 h 917"/>
                <a:gd name="T94" fmla="*/ 723 w 967"/>
                <a:gd name="T95" fmla="*/ 740 h 917"/>
                <a:gd name="T96" fmla="*/ 967 w 967"/>
                <a:gd name="T97" fmla="*/ 246 h 9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967" h="917">
                  <a:moveTo>
                    <a:pt x="320" y="634"/>
                  </a:moveTo>
                  <a:lnTo>
                    <a:pt x="234" y="282"/>
                  </a:lnTo>
                  <a:lnTo>
                    <a:pt x="918" y="282"/>
                  </a:lnTo>
                  <a:lnTo>
                    <a:pt x="798" y="634"/>
                  </a:lnTo>
                  <a:lnTo>
                    <a:pt x="320" y="634"/>
                  </a:lnTo>
                  <a:close/>
                  <a:moveTo>
                    <a:pt x="776" y="828"/>
                  </a:moveTo>
                  <a:lnTo>
                    <a:pt x="774" y="839"/>
                  </a:lnTo>
                  <a:lnTo>
                    <a:pt x="771" y="849"/>
                  </a:lnTo>
                  <a:lnTo>
                    <a:pt x="767" y="858"/>
                  </a:lnTo>
                  <a:lnTo>
                    <a:pt x="760" y="866"/>
                  </a:lnTo>
                  <a:lnTo>
                    <a:pt x="752" y="873"/>
                  </a:lnTo>
                  <a:lnTo>
                    <a:pt x="743" y="877"/>
                  </a:lnTo>
                  <a:lnTo>
                    <a:pt x="733" y="880"/>
                  </a:lnTo>
                  <a:lnTo>
                    <a:pt x="723" y="881"/>
                  </a:lnTo>
                  <a:lnTo>
                    <a:pt x="712" y="880"/>
                  </a:lnTo>
                  <a:lnTo>
                    <a:pt x="702" y="877"/>
                  </a:lnTo>
                  <a:lnTo>
                    <a:pt x="693" y="873"/>
                  </a:lnTo>
                  <a:lnTo>
                    <a:pt x="685" y="866"/>
                  </a:lnTo>
                  <a:lnTo>
                    <a:pt x="678" y="858"/>
                  </a:lnTo>
                  <a:lnTo>
                    <a:pt x="674" y="849"/>
                  </a:lnTo>
                  <a:lnTo>
                    <a:pt x="671" y="839"/>
                  </a:lnTo>
                  <a:lnTo>
                    <a:pt x="670" y="828"/>
                  </a:lnTo>
                  <a:lnTo>
                    <a:pt x="671" y="818"/>
                  </a:lnTo>
                  <a:lnTo>
                    <a:pt x="674" y="808"/>
                  </a:lnTo>
                  <a:lnTo>
                    <a:pt x="678" y="799"/>
                  </a:lnTo>
                  <a:lnTo>
                    <a:pt x="685" y="791"/>
                  </a:lnTo>
                  <a:lnTo>
                    <a:pt x="693" y="784"/>
                  </a:lnTo>
                  <a:lnTo>
                    <a:pt x="702" y="780"/>
                  </a:lnTo>
                  <a:lnTo>
                    <a:pt x="712" y="777"/>
                  </a:lnTo>
                  <a:lnTo>
                    <a:pt x="723" y="775"/>
                  </a:lnTo>
                  <a:lnTo>
                    <a:pt x="733" y="777"/>
                  </a:lnTo>
                  <a:lnTo>
                    <a:pt x="743" y="780"/>
                  </a:lnTo>
                  <a:lnTo>
                    <a:pt x="752" y="784"/>
                  </a:lnTo>
                  <a:lnTo>
                    <a:pt x="760" y="791"/>
                  </a:lnTo>
                  <a:lnTo>
                    <a:pt x="767" y="799"/>
                  </a:lnTo>
                  <a:lnTo>
                    <a:pt x="771" y="808"/>
                  </a:lnTo>
                  <a:lnTo>
                    <a:pt x="774" y="818"/>
                  </a:lnTo>
                  <a:lnTo>
                    <a:pt x="776" y="828"/>
                  </a:lnTo>
                  <a:close/>
                  <a:moveTo>
                    <a:pt x="388" y="828"/>
                  </a:moveTo>
                  <a:lnTo>
                    <a:pt x="387" y="839"/>
                  </a:lnTo>
                  <a:lnTo>
                    <a:pt x="383" y="849"/>
                  </a:lnTo>
                  <a:lnTo>
                    <a:pt x="378" y="858"/>
                  </a:lnTo>
                  <a:lnTo>
                    <a:pt x="372" y="866"/>
                  </a:lnTo>
                  <a:lnTo>
                    <a:pt x="364" y="873"/>
                  </a:lnTo>
                  <a:lnTo>
                    <a:pt x="355" y="877"/>
                  </a:lnTo>
                  <a:lnTo>
                    <a:pt x="346" y="880"/>
                  </a:lnTo>
                  <a:lnTo>
                    <a:pt x="335" y="881"/>
                  </a:lnTo>
                  <a:lnTo>
                    <a:pt x="324" y="880"/>
                  </a:lnTo>
                  <a:lnTo>
                    <a:pt x="314" y="877"/>
                  </a:lnTo>
                  <a:lnTo>
                    <a:pt x="305" y="873"/>
                  </a:lnTo>
                  <a:lnTo>
                    <a:pt x="297" y="866"/>
                  </a:lnTo>
                  <a:lnTo>
                    <a:pt x="291" y="858"/>
                  </a:lnTo>
                  <a:lnTo>
                    <a:pt x="286" y="849"/>
                  </a:lnTo>
                  <a:lnTo>
                    <a:pt x="283" y="839"/>
                  </a:lnTo>
                  <a:lnTo>
                    <a:pt x="282" y="828"/>
                  </a:lnTo>
                  <a:lnTo>
                    <a:pt x="283" y="818"/>
                  </a:lnTo>
                  <a:lnTo>
                    <a:pt x="286" y="808"/>
                  </a:lnTo>
                  <a:lnTo>
                    <a:pt x="291" y="799"/>
                  </a:lnTo>
                  <a:lnTo>
                    <a:pt x="297" y="791"/>
                  </a:lnTo>
                  <a:lnTo>
                    <a:pt x="305" y="784"/>
                  </a:lnTo>
                  <a:lnTo>
                    <a:pt x="314" y="780"/>
                  </a:lnTo>
                  <a:lnTo>
                    <a:pt x="324" y="777"/>
                  </a:lnTo>
                  <a:lnTo>
                    <a:pt x="335" y="775"/>
                  </a:lnTo>
                  <a:lnTo>
                    <a:pt x="346" y="777"/>
                  </a:lnTo>
                  <a:lnTo>
                    <a:pt x="355" y="780"/>
                  </a:lnTo>
                  <a:lnTo>
                    <a:pt x="364" y="784"/>
                  </a:lnTo>
                  <a:lnTo>
                    <a:pt x="372" y="791"/>
                  </a:lnTo>
                  <a:lnTo>
                    <a:pt x="378" y="799"/>
                  </a:lnTo>
                  <a:lnTo>
                    <a:pt x="383" y="808"/>
                  </a:lnTo>
                  <a:lnTo>
                    <a:pt x="387" y="818"/>
                  </a:lnTo>
                  <a:lnTo>
                    <a:pt x="388" y="828"/>
                  </a:lnTo>
                  <a:close/>
                  <a:moveTo>
                    <a:pt x="967" y="246"/>
                  </a:moveTo>
                  <a:lnTo>
                    <a:pt x="226" y="246"/>
                  </a:lnTo>
                  <a:lnTo>
                    <a:pt x="166" y="0"/>
                  </a:lnTo>
                  <a:lnTo>
                    <a:pt x="0" y="0"/>
                  </a:lnTo>
                  <a:lnTo>
                    <a:pt x="0" y="35"/>
                  </a:lnTo>
                  <a:lnTo>
                    <a:pt x="138" y="35"/>
                  </a:lnTo>
                  <a:lnTo>
                    <a:pt x="310" y="744"/>
                  </a:lnTo>
                  <a:lnTo>
                    <a:pt x="304" y="746"/>
                  </a:lnTo>
                  <a:lnTo>
                    <a:pt x="297" y="750"/>
                  </a:lnTo>
                  <a:lnTo>
                    <a:pt x="291" y="753"/>
                  </a:lnTo>
                  <a:lnTo>
                    <a:pt x="285" y="756"/>
                  </a:lnTo>
                  <a:lnTo>
                    <a:pt x="279" y="760"/>
                  </a:lnTo>
                  <a:lnTo>
                    <a:pt x="274" y="765"/>
                  </a:lnTo>
                  <a:lnTo>
                    <a:pt x="269" y="770"/>
                  </a:lnTo>
                  <a:lnTo>
                    <a:pt x="265" y="775"/>
                  </a:lnTo>
                  <a:lnTo>
                    <a:pt x="260" y="781"/>
                  </a:lnTo>
                  <a:lnTo>
                    <a:pt x="257" y="787"/>
                  </a:lnTo>
                  <a:lnTo>
                    <a:pt x="254" y="793"/>
                  </a:lnTo>
                  <a:lnTo>
                    <a:pt x="252" y="799"/>
                  </a:lnTo>
                  <a:lnTo>
                    <a:pt x="250" y="807"/>
                  </a:lnTo>
                  <a:lnTo>
                    <a:pt x="247" y="813"/>
                  </a:lnTo>
                  <a:lnTo>
                    <a:pt x="247" y="821"/>
                  </a:lnTo>
                  <a:lnTo>
                    <a:pt x="246" y="828"/>
                  </a:lnTo>
                  <a:lnTo>
                    <a:pt x="247" y="837"/>
                  </a:lnTo>
                  <a:lnTo>
                    <a:pt x="248" y="846"/>
                  </a:lnTo>
                  <a:lnTo>
                    <a:pt x="251" y="854"/>
                  </a:lnTo>
                  <a:lnTo>
                    <a:pt x="254" y="863"/>
                  </a:lnTo>
                  <a:lnTo>
                    <a:pt x="257" y="871"/>
                  </a:lnTo>
                  <a:lnTo>
                    <a:pt x="261" y="878"/>
                  </a:lnTo>
                  <a:lnTo>
                    <a:pt x="267" y="885"/>
                  </a:lnTo>
                  <a:lnTo>
                    <a:pt x="272" y="891"/>
                  </a:lnTo>
                  <a:lnTo>
                    <a:pt x="279" y="896"/>
                  </a:lnTo>
                  <a:lnTo>
                    <a:pt x="285" y="902"/>
                  </a:lnTo>
                  <a:lnTo>
                    <a:pt x="293" y="906"/>
                  </a:lnTo>
                  <a:lnTo>
                    <a:pt x="300" y="909"/>
                  </a:lnTo>
                  <a:lnTo>
                    <a:pt x="309" y="913"/>
                  </a:lnTo>
                  <a:lnTo>
                    <a:pt x="316" y="915"/>
                  </a:lnTo>
                  <a:lnTo>
                    <a:pt x="326" y="916"/>
                  </a:lnTo>
                  <a:lnTo>
                    <a:pt x="335" y="917"/>
                  </a:lnTo>
                  <a:lnTo>
                    <a:pt x="343" y="916"/>
                  </a:lnTo>
                  <a:lnTo>
                    <a:pt x="352" y="915"/>
                  </a:lnTo>
                  <a:lnTo>
                    <a:pt x="361" y="913"/>
                  </a:lnTo>
                  <a:lnTo>
                    <a:pt x="369" y="909"/>
                  </a:lnTo>
                  <a:lnTo>
                    <a:pt x="377" y="906"/>
                  </a:lnTo>
                  <a:lnTo>
                    <a:pt x="383" y="902"/>
                  </a:lnTo>
                  <a:lnTo>
                    <a:pt x="391" y="896"/>
                  </a:lnTo>
                  <a:lnTo>
                    <a:pt x="397" y="891"/>
                  </a:lnTo>
                  <a:lnTo>
                    <a:pt x="403" y="885"/>
                  </a:lnTo>
                  <a:lnTo>
                    <a:pt x="408" y="878"/>
                  </a:lnTo>
                  <a:lnTo>
                    <a:pt x="413" y="871"/>
                  </a:lnTo>
                  <a:lnTo>
                    <a:pt x="416" y="863"/>
                  </a:lnTo>
                  <a:lnTo>
                    <a:pt x="419" y="854"/>
                  </a:lnTo>
                  <a:lnTo>
                    <a:pt x="421" y="846"/>
                  </a:lnTo>
                  <a:lnTo>
                    <a:pt x="422" y="837"/>
                  </a:lnTo>
                  <a:lnTo>
                    <a:pt x="422" y="828"/>
                  </a:lnTo>
                  <a:lnTo>
                    <a:pt x="422" y="821"/>
                  </a:lnTo>
                  <a:lnTo>
                    <a:pt x="421" y="813"/>
                  </a:lnTo>
                  <a:lnTo>
                    <a:pt x="420" y="807"/>
                  </a:lnTo>
                  <a:lnTo>
                    <a:pt x="418" y="800"/>
                  </a:lnTo>
                  <a:lnTo>
                    <a:pt x="416" y="794"/>
                  </a:lnTo>
                  <a:lnTo>
                    <a:pt x="413" y="787"/>
                  </a:lnTo>
                  <a:lnTo>
                    <a:pt x="408" y="781"/>
                  </a:lnTo>
                  <a:lnTo>
                    <a:pt x="405" y="775"/>
                  </a:lnTo>
                  <a:lnTo>
                    <a:pt x="652" y="775"/>
                  </a:lnTo>
                  <a:lnTo>
                    <a:pt x="648" y="781"/>
                  </a:lnTo>
                  <a:lnTo>
                    <a:pt x="645" y="787"/>
                  </a:lnTo>
                  <a:lnTo>
                    <a:pt x="642" y="794"/>
                  </a:lnTo>
                  <a:lnTo>
                    <a:pt x="639" y="800"/>
                  </a:lnTo>
                  <a:lnTo>
                    <a:pt x="637" y="807"/>
                  </a:lnTo>
                  <a:lnTo>
                    <a:pt x="636" y="813"/>
                  </a:lnTo>
                  <a:lnTo>
                    <a:pt x="635" y="821"/>
                  </a:lnTo>
                  <a:lnTo>
                    <a:pt x="634" y="828"/>
                  </a:lnTo>
                  <a:lnTo>
                    <a:pt x="635" y="837"/>
                  </a:lnTo>
                  <a:lnTo>
                    <a:pt x="636" y="846"/>
                  </a:lnTo>
                  <a:lnTo>
                    <a:pt x="638" y="854"/>
                  </a:lnTo>
                  <a:lnTo>
                    <a:pt x="642" y="863"/>
                  </a:lnTo>
                  <a:lnTo>
                    <a:pt x="645" y="871"/>
                  </a:lnTo>
                  <a:lnTo>
                    <a:pt x="649" y="878"/>
                  </a:lnTo>
                  <a:lnTo>
                    <a:pt x="655" y="885"/>
                  </a:lnTo>
                  <a:lnTo>
                    <a:pt x="660" y="891"/>
                  </a:lnTo>
                  <a:lnTo>
                    <a:pt x="666" y="896"/>
                  </a:lnTo>
                  <a:lnTo>
                    <a:pt x="673" y="902"/>
                  </a:lnTo>
                  <a:lnTo>
                    <a:pt x="680" y="906"/>
                  </a:lnTo>
                  <a:lnTo>
                    <a:pt x="688" y="909"/>
                  </a:lnTo>
                  <a:lnTo>
                    <a:pt x="697" y="913"/>
                  </a:lnTo>
                  <a:lnTo>
                    <a:pt x="705" y="915"/>
                  </a:lnTo>
                  <a:lnTo>
                    <a:pt x="714" y="916"/>
                  </a:lnTo>
                  <a:lnTo>
                    <a:pt x="723" y="917"/>
                  </a:lnTo>
                  <a:lnTo>
                    <a:pt x="731" y="916"/>
                  </a:lnTo>
                  <a:lnTo>
                    <a:pt x="740" y="915"/>
                  </a:lnTo>
                  <a:lnTo>
                    <a:pt x="749" y="913"/>
                  </a:lnTo>
                  <a:lnTo>
                    <a:pt x="757" y="909"/>
                  </a:lnTo>
                  <a:lnTo>
                    <a:pt x="765" y="906"/>
                  </a:lnTo>
                  <a:lnTo>
                    <a:pt x="772" y="902"/>
                  </a:lnTo>
                  <a:lnTo>
                    <a:pt x="779" y="896"/>
                  </a:lnTo>
                  <a:lnTo>
                    <a:pt x="785" y="891"/>
                  </a:lnTo>
                  <a:lnTo>
                    <a:pt x="791" y="885"/>
                  </a:lnTo>
                  <a:lnTo>
                    <a:pt x="796" y="878"/>
                  </a:lnTo>
                  <a:lnTo>
                    <a:pt x="800" y="871"/>
                  </a:lnTo>
                  <a:lnTo>
                    <a:pt x="804" y="863"/>
                  </a:lnTo>
                  <a:lnTo>
                    <a:pt x="807" y="854"/>
                  </a:lnTo>
                  <a:lnTo>
                    <a:pt x="809" y="846"/>
                  </a:lnTo>
                  <a:lnTo>
                    <a:pt x="810" y="837"/>
                  </a:lnTo>
                  <a:lnTo>
                    <a:pt x="811" y="828"/>
                  </a:lnTo>
                  <a:lnTo>
                    <a:pt x="810" y="820"/>
                  </a:lnTo>
                  <a:lnTo>
                    <a:pt x="809" y="810"/>
                  </a:lnTo>
                  <a:lnTo>
                    <a:pt x="807" y="802"/>
                  </a:lnTo>
                  <a:lnTo>
                    <a:pt x="804" y="794"/>
                  </a:lnTo>
                  <a:lnTo>
                    <a:pt x="800" y="786"/>
                  </a:lnTo>
                  <a:lnTo>
                    <a:pt x="796" y="779"/>
                  </a:lnTo>
                  <a:lnTo>
                    <a:pt x="791" y="772"/>
                  </a:lnTo>
                  <a:lnTo>
                    <a:pt x="785" y="766"/>
                  </a:lnTo>
                  <a:lnTo>
                    <a:pt x="779" y="760"/>
                  </a:lnTo>
                  <a:lnTo>
                    <a:pt x="772" y="755"/>
                  </a:lnTo>
                  <a:lnTo>
                    <a:pt x="765" y="751"/>
                  </a:lnTo>
                  <a:lnTo>
                    <a:pt x="757" y="747"/>
                  </a:lnTo>
                  <a:lnTo>
                    <a:pt x="749" y="744"/>
                  </a:lnTo>
                  <a:lnTo>
                    <a:pt x="741" y="742"/>
                  </a:lnTo>
                  <a:lnTo>
                    <a:pt x="731" y="741"/>
                  </a:lnTo>
                  <a:lnTo>
                    <a:pt x="723" y="740"/>
                  </a:lnTo>
                  <a:lnTo>
                    <a:pt x="723" y="740"/>
                  </a:lnTo>
                  <a:lnTo>
                    <a:pt x="346" y="740"/>
                  </a:lnTo>
                  <a:lnTo>
                    <a:pt x="328" y="670"/>
                  </a:lnTo>
                  <a:lnTo>
                    <a:pt x="823" y="670"/>
                  </a:lnTo>
                  <a:lnTo>
                    <a:pt x="967" y="246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17" name="Group 1"/>
          <p:cNvGrpSpPr/>
          <p:nvPr/>
        </p:nvGrpSpPr>
        <p:grpSpPr>
          <a:xfrm>
            <a:off x="4220761" y="2735681"/>
            <a:ext cx="1285730" cy="2388316"/>
            <a:chOff x="4141901" y="3013263"/>
            <a:chExt cx="1374803" cy="2553775"/>
          </a:xfrm>
        </p:grpSpPr>
        <p:sp>
          <p:nvSpPr>
            <p:cNvPr id="18" name="Freeform 27"/>
            <p:cNvSpPr/>
            <p:nvPr/>
          </p:nvSpPr>
          <p:spPr bwMode="auto">
            <a:xfrm>
              <a:off x="4141901" y="4052357"/>
              <a:ext cx="867244" cy="1514681"/>
            </a:xfrm>
            <a:custGeom>
              <a:avLst/>
              <a:gdLst>
                <a:gd name="connsiteX0" fmla="*/ 122560 w 867244"/>
                <a:gd name="connsiteY0" fmla="*/ 3998 h 1514681"/>
                <a:gd name="connsiteX1" fmla="*/ 137214 w 867244"/>
                <a:gd name="connsiteY1" fmla="*/ 3998 h 1514681"/>
                <a:gd name="connsiteX2" fmla="*/ 151867 w 867244"/>
                <a:gd name="connsiteY2" fmla="*/ 3998 h 1514681"/>
                <a:gd name="connsiteX3" fmla="*/ 165189 w 867244"/>
                <a:gd name="connsiteY3" fmla="*/ 3998 h 1514681"/>
                <a:gd name="connsiteX4" fmla="*/ 181175 w 867244"/>
                <a:gd name="connsiteY4" fmla="*/ 6637 h 1514681"/>
                <a:gd name="connsiteX5" fmla="*/ 194497 w 867244"/>
                <a:gd name="connsiteY5" fmla="*/ 11917 h 1514681"/>
                <a:gd name="connsiteX6" fmla="*/ 207819 w 867244"/>
                <a:gd name="connsiteY6" fmla="*/ 17196 h 1514681"/>
                <a:gd name="connsiteX7" fmla="*/ 218476 w 867244"/>
                <a:gd name="connsiteY7" fmla="*/ 23794 h 1514681"/>
                <a:gd name="connsiteX8" fmla="*/ 230466 w 867244"/>
                <a:gd name="connsiteY8" fmla="*/ 31713 h 1514681"/>
                <a:gd name="connsiteX9" fmla="*/ 239791 w 867244"/>
                <a:gd name="connsiteY9" fmla="*/ 39632 h 1514681"/>
                <a:gd name="connsiteX10" fmla="*/ 250448 w 867244"/>
                <a:gd name="connsiteY10" fmla="*/ 50190 h 1514681"/>
                <a:gd name="connsiteX11" fmla="*/ 259773 w 867244"/>
                <a:gd name="connsiteY11" fmla="*/ 59428 h 1514681"/>
                <a:gd name="connsiteX12" fmla="*/ 266434 w 867244"/>
                <a:gd name="connsiteY12" fmla="*/ 71306 h 1514681"/>
                <a:gd name="connsiteX13" fmla="*/ 273095 w 867244"/>
                <a:gd name="connsiteY13" fmla="*/ 84504 h 1514681"/>
                <a:gd name="connsiteX14" fmla="*/ 279756 w 867244"/>
                <a:gd name="connsiteY14" fmla="*/ 96382 h 1514681"/>
                <a:gd name="connsiteX15" fmla="*/ 283752 w 867244"/>
                <a:gd name="connsiteY15" fmla="*/ 110899 h 1514681"/>
                <a:gd name="connsiteX16" fmla="*/ 286417 w 867244"/>
                <a:gd name="connsiteY16" fmla="*/ 124097 h 1514681"/>
                <a:gd name="connsiteX17" fmla="*/ 287749 w 867244"/>
                <a:gd name="connsiteY17" fmla="*/ 138615 h 1514681"/>
                <a:gd name="connsiteX18" fmla="*/ 287749 w 867244"/>
                <a:gd name="connsiteY18" fmla="*/ 153132 h 1514681"/>
                <a:gd name="connsiteX19" fmla="*/ 286417 w 867244"/>
                <a:gd name="connsiteY19" fmla="*/ 167650 h 1514681"/>
                <a:gd name="connsiteX20" fmla="*/ 283752 w 867244"/>
                <a:gd name="connsiteY20" fmla="*/ 180847 h 1514681"/>
                <a:gd name="connsiteX21" fmla="*/ 279756 w 867244"/>
                <a:gd name="connsiteY21" fmla="*/ 194045 h 1514681"/>
                <a:gd name="connsiteX22" fmla="*/ 273095 w 867244"/>
                <a:gd name="connsiteY22" fmla="*/ 207243 h 1514681"/>
                <a:gd name="connsiteX23" fmla="*/ 269098 w 867244"/>
                <a:gd name="connsiteY23" fmla="*/ 219121 h 1514681"/>
                <a:gd name="connsiteX24" fmla="*/ 259773 w 867244"/>
                <a:gd name="connsiteY24" fmla="*/ 230999 h 1514681"/>
                <a:gd name="connsiteX25" fmla="*/ 251780 w 867244"/>
                <a:gd name="connsiteY25" fmla="*/ 241557 h 1514681"/>
                <a:gd name="connsiteX26" fmla="*/ 242455 w 867244"/>
                <a:gd name="connsiteY26" fmla="*/ 252115 h 1514681"/>
                <a:gd name="connsiteX27" fmla="*/ 230466 w 867244"/>
                <a:gd name="connsiteY27" fmla="*/ 260034 h 1514681"/>
                <a:gd name="connsiteX28" fmla="*/ 218476 w 867244"/>
                <a:gd name="connsiteY28" fmla="*/ 267953 h 1514681"/>
                <a:gd name="connsiteX29" fmla="*/ 207819 w 867244"/>
                <a:gd name="connsiteY29" fmla="*/ 274552 h 1514681"/>
                <a:gd name="connsiteX30" fmla="*/ 194497 w 867244"/>
                <a:gd name="connsiteY30" fmla="*/ 279831 h 1514681"/>
                <a:gd name="connsiteX31" fmla="*/ 181175 w 867244"/>
                <a:gd name="connsiteY31" fmla="*/ 285110 h 1514681"/>
                <a:gd name="connsiteX32" fmla="*/ 165189 w 867244"/>
                <a:gd name="connsiteY32" fmla="*/ 286429 h 1514681"/>
                <a:gd name="connsiteX33" fmla="*/ 150535 w 867244"/>
                <a:gd name="connsiteY33" fmla="*/ 287749 h 1514681"/>
                <a:gd name="connsiteX34" fmla="*/ 137214 w 867244"/>
                <a:gd name="connsiteY34" fmla="*/ 287749 h 1514681"/>
                <a:gd name="connsiteX35" fmla="*/ 122560 w 867244"/>
                <a:gd name="connsiteY35" fmla="*/ 286429 h 1514681"/>
                <a:gd name="connsiteX36" fmla="*/ 107906 w 867244"/>
                <a:gd name="connsiteY36" fmla="*/ 285110 h 1514681"/>
                <a:gd name="connsiteX37" fmla="*/ 94584 w 867244"/>
                <a:gd name="connsiteY37" fmla="*/ 279831 h 1514681"/>
                <a:gd name="connsiteX38" fmla="*/ 82594 w 867244"/>
                <a:gd name="connsiteY38" fmla="*/ 274552 h 1514681"/>
                <a:gd name="connsiteX39" fmla="*/ 69273 w 867244"/>
                <a:gd name="connsiteY39" fmla="*/ 267953 h 1514681"/>
                <a:gd name="connsiteX40" fmla="*/ 58615 w 867244"/>
                <a:gd name="connsiteY40" fmla="*/ 260034 h 1514681"/>
                <a:gd name="connsiteX41" fmla="*/ 47958 w 867244"/>
                <a:gd name="connsiteY41" fmla="*/ 252115 h 1514681"/>
                <a:gd name="connsiteX42" fmla="*/ 38633 w 867244"/>
                <a:gd name="connsiteY42" fmla="*/ 241557 h 1514681"/>
                <a:gd name="connsiteX43" fmla="*/ 27975 w 867244"/>
                <a:gd name="connsiteY43" fmla="*/ 232318 h 1514681"/>
                <a:gd name="connsiteX44" fmla="*/ 21315 w 867244"/>
                <a:gd name="connsiteY44" fmla="*/ 220440 h 1514681"/>
                <a:gd name="connsiteX45" fmla="*/ 14654 w 867244"/>
                <a:gd name="connsiteY45" fmla="*/ 207243 h 1514681"/>
                <a:gd name="connsiteX46" fmla="*/ 7993 w 867244"/>
                <a:gd name="connsiteY46" fmla="*/ 194045 h 1514681"/>
                <a:gd name="connsiteX47" fmla="*/ 5329 w 867244"/>
                <a:gd name="connsiteY47" fmla="*/ 180847 h 1514681"/>
                <a:gd name="connsiteX48" fmla="*/ 1332 w 867244"/>
                <a:gd name="connsiteY48" fmla="*/ 167650 h 1514681"/>
                <a:gd name="connsiteX49" fmla="*/ 0 w 867244"/>
                <a:gd name="connsiteY49" fmla="*/ 153132 h 1514681"/>
                <a:gd name="connsiteX50" fmla="*/ 0 w 867244"/>
                <a:gd name="connsiteY50" fmla="*/ 138615 h 1514681"/>
                <a:gd name="connsiteX51" fmla="*/ 1332 w 867244"/>
                <a:gd name="connsiteY51" fmla="*/ 124097 h 1514681"/>
                <a:gd name="connsiteX52" fmla="*/ 5329 w 867244"/>
                <a:gd name="connsiteY52" fmla="*/ 110899 h 1514681"/>
                <a:gd name="connsiteX53" fmla="*/ 7993 w 867244"/>
                <a:gd name="connsiteY53" fmla="*/ 97702 h 1514681"/>
                <a:gd name="connsiteX54" fmla="*/ 14654 w 867244"/>
                <a:gd name="connsiteY54" fmla="*/ 84504 h 1514681"/>
                <a:gd name="connsiteX55" fmla="*/ 21315 w 867244"/>
                <a:gd name="connsiteY55" fmla="*/ 72626 h 1514681"/>
                <a:gd name="connsiteX56" fmla="*/ 27975 w 867244"/>
                <a:gd name="connsiteY56" fmla="*/ 62068 h 1514681"/>
                <a:gd name="connsiteX57" fmla="*/ 38633 w 867244"/>
                <a:gd name="connsiteY57" fmla="*/ 50190 h 1514681"/>
                <a:gd name="connsiteX58" fmla="*/ 46626 w 867244"/>
                <a:gd name="connsiteY58" fmla="*/ 39632 h 1514681"/>
                <a:gd name="connsiteX59" fmla="*/ 58615 w 867244"/>
                <a:gd name="connsiteY59" fmla="*/ 31713 h 1514681"/>
                <a:gd name="connsiteX60" fmla="*/ 69273 w 867244"/>
                <a:gd name="connsiteY60" fmla="*/ 23794 h 1514681"/>
                <a:gd name="connsiteX61" fmla="*/ 81262 w 867244"/>
                <a:gd name="connsiteY61" fmla="*/ 17196 h 1514681"/>
                <a:gd name="connsiteX62" fmla="*/ 94584 w 867244"/>
                <a:gd name="connsiteY62" fmla="*/ 11917 h 1514681"/>
                <a:gd name="connsiteX63" fmla="*/ 107906 w 867244"/>
                <a:gd name="connsiteY63" fmla="*/ 6637 h 1514681"/>
                <a:gd name="connsiteX64" fmla="*/ 796639 w 867244"/>
                <a:gd name="connsiteY64" fmla="*/ 0 h 1514681"/>
                <a:gd name="connsiteX65" fmla="*/ 808629 w 867244"/>
                <a:gd name="connsiteY65" fmla="*/ 0 h 1514681"/>
                <a:gd name="connsiteX66" fmla="*/ 821950 w 867244"/>
                <a:gd name="connsiteY66" fmla="*/ 2654 h 1514681"/>
                <a:gd name="connsiteX67" fmla="*/ 831276 w 867244"/>
                <a:gd name="connsiteY67" fmla="*/ 6636 h 1514681"/>
                <a:gd name="connsiteX68" fmla="*/ 843265 w 867244"/>
                <a:gd name="connsiteY68" fmla="*/ 13272 h 1514681"/>
                <a:gd name="connsiteX69" fmla="*/ 851258 w 867244"/>
                <a:gd name="connsiteY69" fmla="*/ 23889 h 1514681"/>
                <a:gd name="connsiteX70" fmla="*/ 857919 w 867244"/>
                <a:gd name="connsiteY70" fmla="*/ 33180 h 1514681"/>
                <a:gd name="connsiteX71" fmla="*/ 863248 w 867244"/>
                <a:gd name="connsiteY71" fmla="*/ 43797 h 1514681"/>
                <a:gd name="connsiteX72" fmla="*/ 867244 w 867244"/>
                <a:gd name="connsiteY72" fmla="*/ 57069 h 1514681"/>
                <a:gd name="connsiteX73" fmla="*/ 867244 w 867244"/>
                <a:gd name="connsiteY73" fmla="*/ 67687 h 1514681"/>
                <a:gd name="connsiteX74" fmla="*/ 863248 w 867244"/>
                <a:gd name="connsiteY74" fmla="*/ 79632 h 1514681"/>
                <a:gd name="connsiteX75" fmla="*/ 860583 w 867244"/>
                <a:gd name="connsiteY75" fmla="*/ 91577 h 1514681"/>
                <a:gd name="connsiteX76" fmla="*/ 851258 w 867244"/>
                <a:gd name="connsiteY76" fmla="*/ 100867 h 1514681"/>
                <a:gd name="connsiteX77" fmla="*/ 680740 w 867244"/>
                <a:gd name="connsiteY77" fmla="*/ 323836 h 1514681"/>
                <a:gd name="connsiteX78" fmla="*/ 671415 w 867244"/>
                <a:gd name="connsiteY78" fmla="*/ 334454 h 1514681"/>
                <a:gd name="connsiteX79" fmla="*/ 659426 w 867244"/>
                <a:gd name="connsiteY79" fmla="*/ 342417 h 1514681"/>
                <a:gd name="connsiteX80" fmla="*/ 644772 w 867244"/>
                <a:gd name="connsiteY80" fmla="*/ 349053 h 1514681"/>
                <a:gd name="connsiteX81" fmla="*/ 643636 w 867244"/>
                <a:gd name="connsiteY81" fmla="*/ 349259 h 1514681"/>
                <a:gd name="connsiteX82" fmla="*/ 459779 w 867244"/>
                <a:gd name="connsiteY82" fmla="*/ 435267 h 1514681"/>
                <a:gd name="connsiteX83" fmla="*/ 483581 w 867244"/>
                <a:gd name="connsiteY83" fmla="*/ 818415 h 1514681"/>
                <a:gd name="connsiteX84" fmla="*/ 482656 w 867244"/>
                <a:gd name="connsiteY84" fmla="*/ 831366 h 1514681"/>
                <a:gd name="connsiteX85" fmla="*/ 548856 w 867244"/>
                <a:gd name="connsiteY85" fmla="*/ 1082556 h 1514681"/>
                <a:gd name="connsiteX86" fmla="*/ 550131 w 867244"/>
                <a:gd name="connsiteY86" fmla="*/ 1089606 h 1514681"/>
                <a:gd name="connsiteX87" fmla="*/ 550187 w 867244"/>
                <a:gd name="connsiteY87" fmla="*/ 1089718 h 1514681"/>
                <a:gd name="connsiteX88" fmla="*/ 555516 w 867244"/>
                <a:gd name="connsiteY88" fmla="*/ 1104372 h 1514681"/>
                <a:gd name="connsiteX89" fmla="*/ 556848 w 867244"/>
                <a:gd name="connsiteY89" fmla="*/ 1120358 h 1514681"/>
                <a:gd name="connsiteX90" fmla="*/ 563509 w 867244"/>
                <a:gd name="connsiteY90" fmla="*/ 1437415 h 1514681"/>
                <a:gd name="connsiteX91" fmla="*/ 562177 w 867244"/>
                <a:gd name="connsiteY91" fmla="*/ 1453401 h 1514681"/>
                <a:gd name="connsiteX92" fmla="*/ 556848 w 867244"/>
                <a:gd name="connsiteY92" fmla="*/ 1468055 h 1514681"/>
                <a:gd name="connsiteX93" fmla="*/ 550187 w 867244"/>
                <a:gd name="connsiteY93" fmla="*/ 1478713 h 1514681"/>
                <a:gd name="connsiteX94" fmla="*/ 539530 w 867244"/>
                <a:gd name="connsiteY94" fmla="*/ 1490702 h 1514681"/>
                <a:gd name="connsiteX95" fmla="*/ 530205 w 867244"/>
                <a:gd name="connsiteY95" fmla="*/ 1501360 h 1514681"/>
                <a:gd name="connsiteX96" fmla="*/ 516883 w 867244"/>
                <a:gd name="connsiteY96" fmla="*/ 1508020 h 1514681"/>
                <a:gd name="connsiteX97" fmla="*/ 502229 w 867244"/>
                <a:gd name="connsiteY97" fmla="*/ 1512017 h 1514681"/>
                <a:gd name="connsiteX98" fmla="*/ 487575 w 867244"/>
                <a:gd name="connsiteY98" fmla="*/ 1514681 h 1514681"/>
                <a:gd name="connsiteX99" fmla="*/ 471589 w 867244"/>
                <a:gd name="connsiteY99" fmla="*/ 1512017 h 1514681"/>
                <a:gd name="connsiteX100" fmla="*/ 456935 w 867244"/>
                <a:gd name="connsiteY100" fmla="*/ 1509353 h 1514681"/>
                <a:gd name="connsiteX101" fmla="*/ 443613 w 867244"/>
                <a:gd name="connsiteY101" fmla="*/ 1501360 h 1514681"/>
                <a:gd name="connsiteX102" fmla="*/ 432956 w 867244"/>
                <a:gd name="connsiteY102" fmla="*/ 1492034 h 1514681"/>
                <a:gd name="connsiteX103" fmla="*/ 422299 w 867244"/>
                <a:gd name="connsiteY103" fmla="*/ 1481377 h 1514681"/>
                <a:gd name="connsiteX104" fmla="*/ 415638 w 867244"/>
                <a:gd name="connsiteY104" fmla="*/ 1468055 h 1514681"/>
                <a:gd name="connsiteX105" fmla="*/ 410309 w 867244"/>
                <a:gd name="connsiteY105" fmla="*/ 1454733 h 1514681"/>
                <a:gd name="connsiteX106" fmla="*/ 408977 w 867244"/>
                <a:gd name="connsiteY106" fmla="*/ 1437415 h 1514681"/>
                <a:gd name="connsiteX107" fmla="*/ 403797 w 867244"/>
                <a:gd name="connsiteY107" fmla="*/ 1130504 h 1514681"/>
                <a:gd name="connsiteX108" fmla="*/ 400985 w 867244"/>
                <a:gd name="connsiteY108" fmla="*/ 1122730 h 1514681"/>
                <a:gd name="connsiteX109" fmla="*/ 350622 w 867244"/>
                <a:gd name="connsiteY109" fmla="*/ 930925 h 1514681"/>
                <a:gd name="connsiteX110" fmla="*/ 325049 w 867244"/>
                <a:gd name="connsiteY110" fmla="*/ 1102709 h 1514681"/>
                <a:gd name="connsiteX111" fmla="*/ 319720 w 867244"/>
                <a:gd name="connsiteY111" fmla="*/ 1117439 h 1514681"/>
                <a:gd name="connsiteX112" fmla="*/ 316296 w 867244"/>
                <a:gd name="connsiteY112" fmla="*/ 1124323 h 1514681"/>
                <a:gd name="connsiteX113" fmla="*/ 314392 w 867244"/>
                <a:gd name="connsiteY113" fmla="*/ 1131323 h 1514681"/>
                <a:gd name="connsiteX114" fmla="*/ 203822 w 867244"/>
                <a:gd name="connsiteY114" fmla="*/ 1430611 h 1514681"/>
                <a:gd name="connsiteX115" fmla="*/ 197161 w 867244"/>
                <a:gd name="connsiteY115" fmla="*/ 1443972 h 1514681"/>
                <a:gd name="connsiteX116" fmla="*/ 187836 w 867244"/>
                <a:gd name="connsiteY116" fmla="*/ 1455997 h 1514681"/>
                <a:gd name="connsiteX117" fmla="*/ 175846 w 867244"/>
                <a:gd name="connsiteY117" fmla="*/ 1465350 h 1514681"/>
                <a:gd name="connsiteX118" fmla="*/ 163857 w 867244"/>
                <a:gd name="connsiteY118" fmla="*/ 1472031 h 1514681"/>
                <a:gd name="connsiteX119" fmla="*/ 149203 w 867244"/>
                <a:gd name="connsiteY119" fmla="*/ 1477375 h 1514681"/>
                <a:gd name="connsiteX120" fmla="*/ 134549 w 867244"/>
                <a:gd name="connsiteY120" fmla="*/ 1478711 h 1514681"/>
                <a:gd name="connsiteX121" fmla="*/ 119895 w 867244"/>
                <a:gd name="connsiteY121" fmla="*/ 1478711 h 1514681"/>
                <a:gd name="connsiteX122" fmla="*/ 103909 w 867244"/>
                <a:gd name="connsiteY122" fmla="*/ 1474703 h 1514681"/>
                <a:gd name="connsiteX123" fmla="*/ 90587 w 867244"/>
                <a:gd name="connsiteY123" fmla="*/ 1468022 h 1514681"/>
                <a:gd name="connsiteX124" fmla="*/ 79930 w 867244"/>
                <a:gd name="connsiteY124" fmla="*/ 1457333 h 1514681"/>
                <a:gd name="connsiteX125" fmla="*/ 69273 w 867244"/>
                <a:gd name="connsiteY125" fmla="*/ 1447981 h 1514681"/>
                <a:gd name="connsiteX126" fmla="*/ 62612 w 867244"/>
                <a:gd name="connsiteY126" fmla="*/ 1434620 h 1514681"/>
                <a:gd name="connsiteX127" fmla="*/ 58615 w 867244"/>
                <a:gd name="connsiteY127" fmla="*/ 1418586 h 1514681"/>
                <a:gd name="connsiteX128" fmla="*/ 55951 w 867244"/>
                <a:gd name="connsiteY128" fmla="*/ 1406561 h 1514681"/>
                <a:gd name="connsiteX129" fmla="*/ 55951 w 867244"/>
                <a:gd name="connsiteY129" fmla="*/ 1390528 h 1514681"/>
                <a:gd name="connsiteX130" fmla="*/ 61280 w 867244"/>
                <a:gd name="connsiteY130" fmla="*/ 1375831 h 1514681"/>
                <a:gd name="connsiteX131" fmla="*/ 170518 w 867244"/>
                <a:gd name="connsiteY131" fmla="*/ 1076542 h 1514681"/>
                <a:gd name="connsiteX132" fmla="*/ 172703 w 867244"/>
                <a:gd name="connsiteY132" fmla="*/ 1072889 h 1514681"/>
                <a:gd name="connsiteX133" fmla="*/ 204733 w 867244"/>
                <a:gd name="connsiteY133" fmla="*/ 858517 h 1514681"/>
                <a:gd name="connsiteX134" fmla="*/ 167854 w 867244"/>
                <a:gd name="connsiteY134" fmla="*/ 409898 h 1514681"/>
                <a:gd name="connsiteX135" fmla="*/ 167854 w 867244"/>
                <a:gd name="connsiteY135" fmla="*/ 392655 h 1514681"/>
                <a:gd name="connsiteX136" fmla="*/ 170507 w 867244"/>
                <a:gd name="connsiteY136" fmla="*/ 378065 h 1514681"/>
                <a:gd name="connsiteX137" fmla="*/ 177140 w 867244"/>
                <a:gd name="connsiteY137" fmla="*/ 363475 h 1514681"/>
                <a:gd name="connsiteX138" fmla="*/ 187753 w 867244"/>
                <a:gd name="connsiteY138" fmla="*/ 350212 h 1514681"/>
                <a:gd name="connsiteX139" fmla="*/ 191068 w 867244"/>
                <a:gd name="connsiteY139" fmla="*/ 346897 h 1514681"/>
                <a:gd name="connsiteX140" fmla="*/ 193048 w 867244"/>
                <a:gd name="connsiteY140" fmla="*/ 343701 h 1514681"/>
                <a:gd name="connsiteX141" fmla="*/ 202292 w 867244"/>
                <a:gd name="connsiteY141" fmla="*/ 335708 h 1514681"/>
                <a:gd name="connsiteX142" fmla="*/ 380495 w 867244"/>
                <a:gd name="connsiteY142" fmla="*/ 193657 h 1514681"/>
                <a:gd name="connsiteX143" fmla="*/ 446700 w 867244"/>
                <a:gd name="connsiteY143" fmla="*/ 37018 h 1514681"/>
                <a:gd name="connsiteX144" fmla="*/ 456346 w 867244"/>
                <a:gd name="connsiteY144" fmla="*/ 43850 h 1514681"/>
                <a:gd name="connsiteX145" fmla="*/ 478942 w 867244"/>
                <a:gd name="connsiteY145" fmla="*/ 58520 h 1514681"/>
                <a:gd name="connsiteX146" fmla="*/ 504196 w 867244"/>
                <a:gd name="connsiteY146" fmla="*/ 71857 h 1514681"/>
                <a:gd name="connsiteX147" fmla="*/ 529450 w 867244"/>
                <a:gd name="connsiteY147" fmla="*/ 85194 h 1514681"/>
                <a:gd name="connsiteX148" fmla="*/ 549401 w 867244"/>
                <a:gd name="connsiteY148" fmla="*/ 94202 h 1514681"/>
                <a:gd name="connsiteX149" fmla="*/ 483578 w 867244"/>
                <a:gd name="connsiteY149" fmla="*/ 248871 h 1514681"/>
                <a:gd name="connsiteX150" fmla="*/ 479582 w 867244"/>
                <a:gd name="connsiteY150" fmla="*/ 259604 h 1514681"/>
                <a:gd name="connsiteX151" fmla="*/ 473187 w 867244"/>
                <a:gd name="connsiteY151" fmla="*/ 265124 h 1514681"/>
                <a:gd name="connsiteX152" fmla="*/ 470372 w 867244"/>
                <a:gd name="connsiteY152" fmla="*/ 269100 h 1514681"/>
                <a:gd name="connsiteX153" fmla="*/ 462449 w 867244"/>
                <a:gd name="connsiteY153" fmla="*/ 277093 h 1514681"/>
                <a:gd name="connsiteX154" fmla="*/ 407871 w 867244"/>
                <a:gd name="connsiteY154" fmla="*/ 320984 h 1514681"/>
                <a:gd name="connsiteX155" fmla="*/ 409770 w 867244"/>
                <a:gd name="connsiteY155" fmla="*/ 321934 h 1514681"/>
                <a:gd name="connsiteX156" fmla="*/ 438933 w 867244"/>
                <a:gd name="connsiteY156" fmla="*/ 309991 h 1514681"/>
                <a:gd name="connsiteX157" fmla="*/ 559782 w 867244"/>
                <a:gd name="connsiteY157" fmla="*/ 260498 h 1514681"/>
                <a:gd name="connsiteX158" fmla="*/ 560845 w 867244"/>
                <a:gd name="connsiteY158" fmla="*/ 258803 h 1514681"/>
                <a:gd name="connsiteX159" fmla="*/ 755342 w 867244"/>
                <a:gd name="connsiteY159" fmla="*/ 23889 h 1514681"/>
                <a:gd name="connsiteX160" fmla="*/ 764667 w 867244"/>
                <a:gd name="connsiteY160" fmla="*/ 13272 h 1514681"/>
                <a:gd name="connsiteX161" fmla="*/ 773992 w 867244"/>
                <a:gd name="connsiteY161" fmla="*/ 6636 h 1514681"/>
                <a:gd name="connsiteX162" fmla="*/ 785982 w 867244"/>
                <a:gd name="connsiteY162" fmla="*/ 2654 h 151468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</a:cxnLst>
              <a:rect l="l" t="t" r="r" b="b"/>
              <a:pathLst>
                <a:path w="867244" h="1514681">
                  <a:moveTo>
                    <a:pt x="122560" y="3998"/>
                  </a:moveTo>
                  <a:lnTo>
                    <a:pt x="137214" y="3998"/>
                  </a:lnTo>
                  <a:lnTo>
                    <a:pt x="151867" y="3998"/>
                  </a:lnTo>
                  <a:lnTo>
                    <a:pt x="165189" y="3998"/>
                  </a:lnTo>
                  <a:lnTo>
                    <a:pt x="181175" y="6637"/>
                  </a:lnTo>
                  <a:lnTo>
                    <a:pt x="194497" y="11917"/>
                  </a:lnTo>
                  <a:lnTo>
                    <a:pt x="207819" y="17196"/>
                  </a:lnTo>
                  <a:lnTo>
                    <a:pt x="218476" y="23794"/>
                  </a:lnTo>
                  <a:lnTo>
                    <a:pt x="230466" y="31713"/>
                  </a:lnTo>
                  <a:lnTo>
                    <a:pt x="239791" y="39632"/>
                  </a:lnTo>
                  <a:lnTo>
                    <a:pt x="250448" y="50190"/>
                  </a:lnTo>
                  <a:lnTo>
                    <a:pt x="259773" y="59428"/>
                  </a:lnTo>
                  <a:lnTo>
                    <a:pt x="266434" y="71306"/>
                  </a:lnTo>
                  <a:lnTo>
                    <a:pt x="273095" y="84504"/>
                  </a:lnTo>
                  <a:lnTo>
                    <a:pt x="279756" y="96382"/>
                  </a:lnTo>
                  <a:lnTo>
                    <a:pt x="283752" y="110899"/>
                  </a:lnTo>
                  <a:lnTo>
                    <a:pt x="286417" y="124097"/>
                  </a:lnTo>
                  <a:lnTo>
                    <a:pt x="287749" y="138615"/>
                  </a:lnTo>
                  <a:lnTo>
                    <a:pt x="287749" y="153132"/>
                  </a:lnTo>
                  <a:lnTo>
                    <a:pt x="286417" y="167650"/>
                  </a:lnTo>
                  <a:lnTo>
                    <a:pt x="283752" y="180847"/>
                  </a:lnTo>
                  <a:lnTo>
                    <a:pt x="279756" y="194045"/>
                  </a:lnTo>
                  <a:lnTo>
                    <a:pt x="273095" y="207243"/>
                  </a:lnTo>
                  <a:lnTo>
                    <a:pt x="269098" y="219121"/>
                  </a:lnTo>
                  <a:lnTo>
                    <a:pt x="259773" y="230999"/>
                  </a:lnTo>
                  <a:lnTo>
                    <a:pt x="251780" y="241557"/>
                  </a:lnTo>
                  <a:lnTo>
                    <a:pt x="242455" y="252115"/>
                  </a:lnTo>
                  <a:lnTo>
                    <a:pt x="230466" y="260034"/>
                  </a:lnTo>
                  <a:lnTo>
                    <a:pt x="218476" y="267953"/>
                  </a:lnTo>
                  <a:lnTo>
                    <a:pt x="207819" y="274552"/>
                  </a:lnTo>
                  <a:lnTo>
                    <a:pt x="194497" y="279831"/>
                  </a:lnTo>
                  <a:lnTo>
                    <a:pt x="181175" y="285110"/>
                  </a:lnTo>
                  <a:lnTo>
                    <a:pt x="165189" y="286429"/>
                  </a:lnTo>
                  <a:lnTo>
                    <a:pt x="150535" y="287749"/>
                  </a:lnTo>
                  <a:lnTo>
                    <a:pt x="137214" y="287749"/>
                  </a:lnTo>
                  <a:lnTo>
                    <a:pt x="122560" y="286429"/>
                  </a:lnTo>
                  <a:lnTo>
                    <a:pt x="107906" y="285110"/>
                  </a:lnTo>
                  <a:lnTo>
                    <a:pt x="94584" y="279831"/>
                  </a:lnTo>
                  <a:lnTo>
                    <a:pt x="82594" y="274552"/>
                  </a:lnTo>
                  <a:lnTo>
                    <a:pt x="69273" y="267953"/>
                  </a:lnTo>
                  <a:lnTo>
                    <a:pt x="58615" y="260034"/>
                  </a:lnTo>
                  <a:lnTo>
                    <a:pt x="47958" y="252115"/>
                  </a:lnTo>
                  <a:lnTo>
                    <a:pt x="38633" y="241557"/>
                  </a:lnTo>
                  <a:lnTo>
                    <a:pt x="27975" y="232318"/>
                  </a:lnTo>
                  <a:lnTo>
                    <a:pt x="21315" y="220440"/>
                  </a:lnTo>
                  <a:lnTo>
                    <a:pt x="14654" y="207243"/>
                  </a:lnTo>
                  <a:lnTo>
                    <a:pt x="7993" y="194045"/>
                  </a:lnTo>
                  <a:lnTo>
                    <a:pt x="5329" y="180847"/>
                  </a:lnTo>
                  <a:lnTo>
                    <a:pt x="1332" y="167650"/>
                  </a:lnTo>
                  <a:lnTo>
                    <a:pt x="0" y="153132"/>
                  </a:lnTo>
                  <a:lnTo>
                    <a:pt x="0" y="138615"/>
                  </a:lnTo>
                  <a:lnTo>
                    <a:pt x="1332" y="124097"/>
                  </a:lnTo>
                  <a:lnTo>
                    <a:pt x="5329" y="110899"/>
                  </a:lnTo>
                  <a:lnTo>
                    <a:pt x="7993" y="97702"/>
                  </a:lnTo>
                  <a:lnTo>
                    <a:pt x="14654" y="84504"/>
                  </a:lnTo>
                  <a:lnTo>
                    <a:pt x="21315" y="72626"/>
                  </a:lnTo>
                  <a:lnTo>
                    <a:pt x="27975" y="62068"/>
                  </a:lnTo>
                  <a:lnTo>
                    <a:pt x="38633" y="50190"/>
                  </a:lnTo>
                  <a:lnTo>
                    <a:pt x="46626" y="39632"/>
                  </a:lnTo>
                  <a:lnTo>
                    <a:pt x="58615" y="31713"/>
                  </a:lnTo>
                  <a:lnTo>
                    <a:pt x="69273" y="23794"/>
                  </a:lnTo>
                  <a:lnTo>
                    <a:pt x="81262" y="17196"/>
                  </a:lnTo>
                  <a:lnTo>
                    <a:pt x="94584" y="11917"/>
                  </a:lnTo>
                  <a:lnTo>
                    <a:pt x="107906" y="6637"/>
                  </a:lnTo>
                  <a:close/>
                  <a:moveTo>
                    <a:pt x="796639" y="0"/>
                  </a:moveTo>
                  <a:lnTo>
                    <a:pt x="808629" y="0"/>
                  </a:lnTo>
                  <a:lnTo>
                    <a:pt x="821950" y="2654"/>
                  </a:lnTo>
                  <a:lnTo>
                    <a:pt x="831276" y="6636"/>
                  </a:lnTo>
                  <a:lnTo>
                    <a:pt x="843265" y="13272"/>
                  </a:lnTo>
                  <a:lnTo>
                    <a:pt x="851258" y="23889"/>
                  </a:lnTo>
                  <a:lnTo>
                    <a:pt x="857919" y="33180"/>
                  </a:lnTo>
                  <a:lnTo>
                    <a:pt x="863248" y="43797"/>
                  </a:lnTo>
                  <a:lnTo>
                    <a:pt x="867244" y="57069"/>
                  </a:lnTo>
                  <a:lnTo>
                    <a:pt x="867244" y="67687"/>
                  </a:lnTo>
                  <a:lnTo>
                    <a:pt x="863248" y="79632"/>
                  </a:lnTo>
                  <a:lnTo>
                    <a:pt x="860583" y="91577"/>
                  </a:lnTo>
                  <a:lnTo>
                    <a:pt x="851258" y="100867"/>
                  </a:lnTo>
                  <a:lnTo>
                    <a:pt x="680740" y="323836"/>
                  </a:lnTo>
                  <a:lnTo>
                    <a:pt x="671415" y="334454"/>
                  </a:lnTo>
                  <a:lnTo>
                    <a:pt x="659426" y="342417"/>
                  </a:lnTo>
                  <a:lnTo>
                    <a:pt x="644772" y="349053"/>
                  </a:lnTo>
                  <a:lnTo>
                    <a:pt x="643636" y="349259"/>
                  </a:lnTo>
                  <a:lnTo>
                    <a:pt x="459779" y="435267"/>
                  </a:lnTo>
                  <a:lnTo>
                    <a:pt x="483581" y="818415"/>
                  </a:lnTo>
                  <a:lnTo>
                    <a:pt x="482656" y="831366"/>
                  </a:lnTo>
                  <a:lnTo>
                    <a:pt x="548856" y="1082556"/>
                  </a:lnTo>
                  <a:lnTo>
                    <a:pt x="550131" y="1089606"/>
                  </a:lnTo>
                  <a:lnTo>
                    <a:pt x="550187" y="1089718"/>
                  </a:lnTo>
                  <a:lnTo>
                    <a:pt x="555516" y="1104372"/>
                  </a:lnTo>
                  <a:lnTo>
                    <a:pt x="556848" y="1120358"/>
                  </a:lnTo>
                  <a:lnTo>
                    <a:pt x="563509" y="1437415"/>
                  </a:lnTo>
                  <a:lnTo>
                    <a:pt x="562177" y="1453401"/>
                  </a:lnTo>
                  <a:lnTo>
                    <a:pt x="556848" y="1468055"/>
                  </a:lnTo>
                  <a:lnTo>
                    <a:pt x="550187" y="1478713"/>
                  </a:lnTo>
                  <a:lnTo>
                    <a:pt x="539530" y="1490702"/>
                  </a:lnTo>
                  <a:lnTo>
                    <a:pt x="530205" y="1501360"/>
                  </a:lnTo>
                  <a:lnTo>
                    <a:pt x="516883" y="1508020"/>
                  </a:lnTo>
                  <a:lnTo>
                    <a:pt x="502229" y="1512017"/>
                  </a:lnTo>
                  <a:lnTo>
                    <a:pt x="487575" y="1514681"/>
                  </a:lnTo>
                  <a:lnTo>
                    <a:pt x="471589" y="1512017"/>
                  </a:lnTo>
                  <a:lnTo>
                    <a:pt x="456935" y="1509353"/>
                  </a:lnTo>
                  <a:lnTo>
                    <a:pt x="443613" y="1501360"/>
                  </a:lnTo>
                  <a:lnTo>
                    <a:pt x="432956" y="1492034"/>
                  </a:lnTo>
                  <a:lnTo>
                    <a:pt x="422299" y="1481377"/>
                  </a:lnTo>
                  <a:lnTo>
                    <a:pt x="415638" y="1468055"/>
                  </a:lnTo>
                  <a:lnTo>
                    <a:pt x="410309" y="1454733"/>
                  </a:lnTo>
                  <a:lnTo>
                    <a:pt x="408977" y="1437415"/>
                  </a:lnTo>
                  <a:lnTo>
                    <a:pt x="403797" y="1130504"/>
                  </a:lnTo>
                  <a:lnTo>
                    <a:pt x="400985" y="1122730"/>
                  </a:lnTo>
                  <a:lnTo>
                    <a:pt x="350622" y="930925"/>
                  </a:lnTo>
                  <a:lnTo>
                    <a:pt x="325049" y="1102709"/>
                  </a:lnTo>
                  <a:lnTo>
                    <a:pt x="319720" y="1117439"/>
                  </a:lnTo>
                  <a:lnTo>
                    <a:pt x="316296" y="1124323"/>
                  </a:lnTo>
                  <a:lnTo>
                    <a:pt x="314392" y="1131323"/>
                  </a:lnTo>
                  <a:lnTo>
                    <a:pt x="203822" y="1430611"/>
                  </a:lnTo>
                  <a:lnTo>
                    <a:pt x="197161" y="1443972"/>
                  </a:lnTo>
                  <a:lnTo>
                    <a:pt x="187836" y="1455997"/>
                  </a:lnTo>
                  <a:lnTo>
                    <a:pt x="175846" y="1465350"/>
                  </a:lnTo>
                  <a:lnTo>
                    <a:pt x="163857" y="1472031"/>
                  </a:lnTo>
                  <a:lnTo>
                    <a:pt x="149203" y="1477375"/>
                  </a:lnTo>
                  <a:lnTo>
                    <a:pt x="134549" y="1478711"/>
                  </a:lnTo>
                  <a:lnTo>
                    <a:pt x="119895" y="1478711"/>
                  </a:lnTo>
                  <a:lnTo>
                    <a:pt x="103909" y="1474703"/>
                  </a:lnTo>
                  <a:lnTo>
                    <a:pt x="90587" y="1468022"/>
                  </a:lnTo>
                  <a:lnTo>
                    <a:pt x="79930" y="1457333"/>
                  </a:lnTo>
                  <a:lnTo>
                    <a:pt x="69273" y="1447981"/>
                  </a:lnTo>
                  <a:lnTo>
                    <a:pt x="62612" y="1434620"/>
                  </a:lnTo>
                  <a:lnTo>
                    <a:pt x="58615" y="1418586"/>
                  </a:lnTo>
                  <a:lnTo>
                    <a:pt x="55951" y="1406561"/>
                  </a:lnTo>
                  <a:lnTo>
                    <a:pt x="55951" y="1390528"/>
                  </a:lnTo>
                  <a:lnTo>
                    <a:pt x="61280" y="1375831"/>
                  </a:lnTo>
                  <a:lnTo>
                    <a:pt x="170518" y="1076542"/>
                  </a:lnTo>
                  <a:lnTo>
                    <a:pt x="172703" y="1072889"/>
                  </a:lnTo>
                  <a:lnTo>
                    <a:pt x="204733" y="858517"/>
                  </a:lnTo>
                  <a:lnTo>
                    <a:pt x="167854" y="409898"/>
                  </a:lnTo>
                  <a:lnTo>
                    <a:pt x="167854" y="392655"/>
                  </a:lnTo>
                  <a:lnTo>
                    <a:pt x="170507" y="378065"/>
                  </a:lnTo>
                  <a:lnTo>
                    <a:pt x="177140" y="363475"/>
                  </a:lnTo>
                  <a:lnTo>
                    <a:pt x="187753" y="350212"/>
                  </a:lnTo>
                  <a:lnTo>
                    <a:pt x="191068" y="346897"/>
                  </a:lnTo>
                  <a:lnTo>
                    <a:pt x="193048" y="343701"/>
                  </a:lnTo>
                  <a:lnTo>
                    <a:pt x="202292" y="335708"/>
                  </a:lnTo>
                  <a:lnTo>
                    <a:pt x="380495" y="193657"/>
                  </a:lnTo>
                  <a:lnTo>
                    <a:pt x="446700" y="37018"/>
                  </a:lnTo>
                  <a:lnTo>
                    <a:pt x="456346" y="43850"/>
                  </a:lnTo>
                  <a:lnTo>
                    <a:pt x="478942" y="58520"/>
                  </a:lnTo>
                  <a:lnTo>
                    <a:pt x="504196" y="71857"/>
                  </a:lnTo>
                  <a:lnTo>
                    <a:pt x="529450" y="85194"/>
                  </a:lnTo>
                  <a:lnTo>
                    <a:pt x="549401" y="94202"/>
                  </a:lnTo>
                  <a:lnTo>
                    <a:pt x="483578" y="248871"/>
                  </a:lnTo>
                  <a:lnTo>
                    <a:pt x="479582" y="259604"/>
                  </a:lnTo>
                  <a:lnTo>
                    <a:pt x="473187" y="265124"/>
                  </a:lnTo>
                  <a:lnTo>
                    <a:pt x="470372" y="269100"/>
                  </a:lnTo>
                  <a:lnTo>
                    <a:pt x="462449" y="277093"/>
                  </a:lnTo>
                  <a:lnTo>
                    <a:pt x="407871" y="320984"/>
                  </a:lnTo>
                  <a:lnTo>
                    <a:pt x="409770" y="321934"/>
                  </a:lnTo>
                  <a:lnTo>
                    <a:pt x="438933" y="309991"/>
                  </a:lnTo>
                  <a:lnTo>
                    <a:pt x="559782" y="260498"/>
                  </a:lnTo>
                  <a:lnTo>
                    <a:pt x="560845" y="258803"/>
                  </a:lnTo>
                  <a:lnTo>
                    <a:pt x="755342" y="23889"/>
                  </a:lnTo>
                  <a:lnTo>
                    <a:pt x="764667" y="13272"/>
                  </a:lnTo>
                  <a:lnTo>
                    <a:pt x="773992" y="6636"/>
                  </a:lnTo>
                  <a:lnTo>
                    <a:pt x="785982" y="2654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noAutofit/>
            </a:bodyPr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9" name="Freeform 426"/>
            <p:cNvSpPr/>
            <p:nvPr/>
          </p:nvSpPr>
          <p:spPr bwMode="auto">
            <a:xfrm>
              <a:off x="4337729" y="3013263"/>
              <a:ext cx="1178975" cy="1182969"/>
            </a:xfrm>
            <a:custGeom>
              <a:avLst/>
              <a:gdLst>
                <a:gd name="T0" fmla="*/ 886 w 887"/>
                <a:gd name="T1" fmla="*/ 466 h 887"/>
                <a:gd name="T2" fmla="*/ 879 w 887"/>
                <a:gd name="T3" fmla="*/ 533 h 887"/>
                <a:gd name="T4" fmla="*/ 860 w 887"/>
                <a:gd name="T5" fmla="*/ 596 h 887"/>
                <a:gd name="T6" fmla="*/ 834 w 887"/>
                <a:gd name="T7" fmla="*/ 655 h 887"/>
                <a:gd name="T8" fmla="*/ 799 w 887"/>
                <a:gd name="T9" fmla="*/ 709 h 887"/>
                <a:gd name="T10" fmla="*/ 757 w 887"/>
                <a:gd name="T11" fmla="*/ 757 h 887"/>
                <a:gd name="T12" fmla="*/ 709 w 887"/>
                <a:gd name="T13" fmla="*/ 800 h 887"/>
                <a:gd name="T14" fmla="*/ 655 w 887"/>
                <a:gd name="T15" fmla="*/ 833 h 887"/>
                <a:gd name="T16" fmla="*/ 596 w 887"/>
                <a:gd name="T17" fmla="*/ 861 h 887"/>
                <a:gd name="T18" fmla="*/ 533 w 887"/>
                <a:gd name="T19" fmla="*/ 878 h 887"/>
                <a:gd name="T20" fmla="*/ 467 w 887"/>
                <a:gd name="T21" fmla="*/ 887 h 887"/>
                <a:gd name="T22" fmla="*/ 421 w 887"/>
                <a:gd name="T23" fmla="*/ 887 h 887"/>
                <a:gd name="T24" fmla="*/ 354 w 887"/>
                <a:gd name="T25" fmla="*/ 878 h 887"/>
                <a:gd name="T26" fmla="*/ 290 w 887"/>
                <a:gd name="T27" fmla="*/ 861 h 887"/>
                <a:gd name="T28" fmla="*/ 232 w 887"/>
                <a:gd name="T29" fmla="*/ 833 h 887"/>
                <a:gd name="T30" fmla="*/ 179 w 887"/>
                <a:gd name="T31" fmla="*/ 800 h 887"/>
                <a:gd name="T32" fmla="*/ 130 w 887"/>
                <a:gd name="T33" fmla="*/ 757 h 887"/>
                <a:gd name="T34" fmla="*/ 88 w 887"/>
                <a:gd name="T35" fmla="*/ 709 h 887"/>
                <a:gd name="T36" fmla="*/ 53 w 887"/>
                <a:gd name="T37" fmla="*/ 655 h 887"/>
                <a:gd name="T38" fmla="*/ 27 w 887"/>
                <a:gd name="T39" fmla="*/ 596 h 887"/>
                <a:gd name="T40" fmla="*/ 10 w 887"/>
                <a:gd name="T41" fmla="*/ 533 h 887"/>
                <a:gd name="T42" fmla="*/ 1 w 887"/>
                <a:gd name="T43" fmla="*/ 466 h 887"/>
                <a:gd name="T44" fmla="*/ 1 w 887"/>
                <a:gd name="T45" fmla="*/ 420 h 887"/>
                <a:gd name="T46" fmla="*/ 10 w 887"/>
                <a:gd name="T47" fmla="*/ 354 h 887"/>
                <a:gd name="T48" fmla="*/ 27 w 887"/>
                <a:gd name="T49" fmla="*/ 291 h 887"/>
                <a:gd name="T50" fmla="*/ 53 w 887"/>
                <a:gd name="T51" fmla="*/ 232 h 887"/>
                <a:gd name="T52" fmla="*/ 88 w 887"/>
                <a:gd name="T53" fmla="*/ 178 h 887"/>
                <a:gd name="T54" fmla="*/ 130 w 887"/>
                <a:gd name="T55" fmla="*/ 129 h 887"/>
                <a:gd name="T56" fmla="*/ 179 w 887"/>
                <a:gd name="T57" fmla="*/ 88 h 887"/>
                <a:gd name="T58" fmla="*/ 232 w 887"/>
                <a:gd name="T59" fmla="*/ 53 h 887"/>
                <a:gd name="T60" fmla="*/ 290 w 887"/>
                <a:gd name="T61" fmla="*/ 27 h 887"/>
                <a:gd name="T62" fmla="*/ 354 w 887"/>
                <a:gd name="T63" fmla="*/ 9 h 887"/>
                <a:gd name="T64" fmla="*/ 421 w 887"/>
                <a:gd name="T65" fmla="*/ 0 h 887"/>
                <a:gd name="T66" fmla="*/ 467 w 887"/>
                <a:gd name="T67" fmla="*/ 0 h 887"/>
                <a:gd name="T68" fmla="*/ 533 w 887"/>
                <a:gd name="T69" fmla="*/ 9 h 887"/>
                <a:gd name="T70" fmla="*/ 596 w 887"/>
                <a:gd name="T71" fmla="*/ 27 h 887"/>
                <a:gd name="T72" fmla="*/ 655 w 887"/>
                <a:gd name="T73" fmla="*/ 53 h 887"/>
                <a:gd name="T74" fmla="*/ 709 w 887"/>
                <a:gd name="T75" fmla="*/ 88 h 887"/>
                <a:gd name="T76" fmla="*/ 757 w 887"/>
                <a:gd name="T77" fmla="*/ 129 h 887"/>
                <a:gd name="T78" fmla="*/ 799 w 887"/>
                <a:gd name="T79" fmla="*/ 178 h 887"/>
                <a:gd name="T80" fmla="*/ 834 w 887"/>
                <a:gd name="T81" fmla="*/ 232 h 887"/>
                <a:gd name="T82" fmla="*/ 860 w 887"/>
                <a:gd name="T83" fmla="*/ 291 h 887"/>
                <a:gd name="T84" fmla="*/ 879 w 887"/>
                <a:gd name="T85" fmla="*/ 354 h 887"/>
                <a:gd name="T86" fmla="*/ 886 w 887"/>
                <a:gd name="T87" fmla="*/ 420 h 8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7" h="887">
                  <a:moveTo>
                    <a:pt x="887" y="444"/>
                  </a:moveTo>
                  <a:lnTo>
                    <a:pt x="887" y="444"/>
                  </a:lnTo>
                  <a:lnTo>
                    <a:pt x="886" y="466"/>
                  </a:lnTo>
                  <a:lnTo>
                    <a:pt x="885" y="489"/>
                  </a:lnTo>
                  <a:lnTo>
                    <a:pt x="882" y="511"/>
                  </a:lnTo>
                  <a:lnTo>
                    <a:pt x="879" y="533"/>
                  </a:lnTo>
                  <a:lnTo>
                    <a:pt x="874" y="555"/>
                  </a:lnTo>
                  <a:lnTo>
                    <a:pt x="867" y="576"/>
                  </a:lnTo>
                  <a:lnTo>
                    <a:pt x="860" y="596"/>
                  </a:lnTo>
                  <a:lnTo>
                    <a:pt x="852" y="617"/>
                  </a:lnTo>
                  <a:lnTo>
                    <a:pt x="844" y="635"/>
                  </a:lnTo>
                  <a:lnTo>
                    <a:pt x="834" y="655"/>
                  </a:lnTo>
                  <a:lnTo>
                    <a:pt x="823" y="674"/>
                  </a:lnTo>
                  <a:lnTo>
                    <a:pt x="811" y="691"/>
                  </a:lnTo>
                  <a:lnTo>
                    <a:pt x="799" y="709"/>
                  </a:lnTo>
                  <a:lnTo>
                    <a:pt x="785" y="726"/>
                  </a:lnTo>
                  <a:lnTo>
                    <a:pt x="772" y="742"/>
                  </a:lnTo>
                  <a:lnTo>
                    <a:pt x="757" y="757"/>
                  </a:lnTo>
                  <a:lnTo>
                    <a:pt x="742" y="772"/>
                  </a:lnTo>
                  <a:lnTo>
                    <a:pt x="726" y="786"/>
                  </a:lnTo>
                  <a:lnTo>
                    <a:pt x="709" y="800"/>
                  </a:lnTo>
                  <a:lnTo>
                    <a:pt x="692" y="812"/>
                  </a:lnTo>
                  <a:lnTo>
                    <a:pt x="673" y="823"/>
                  </a:lnTo>
                  <a:lnTo>
                    <a:pt x="655" y="833"/>
                  </a:lnTo>
                  <a:lnTo>
                    <a:pt x="636" y="843"/>
                  </a:lnTo>
                  <a:lnTo>
                    <a:pt x="616" y="852"/>
                  </a:lnTo>
                  <a:lnTo>
                    <a:pt x="596" y="861"/>
                  </a:lnTo>
                  <a:lnTo>
                    <a:pt x="575" y="867"/>
                  </a:lnTo>
                  <a:lnTo>
                    <a:pt x="554" y="873"/>
                  </a:lnTo>
                  <a:lnTo>
                    <a:pt x="533" y="878"/>
                  </a:lnTo>
                  <a:lnTo>
                    <a:pt x="511" y="882"/>
                  </a:lnTo>
                  <a:lnTo>
                    <a:pt x="489" y="885"/>
                  </a:lnTo>
                  <a:lnTo>
                    <a:pt x="467" y="887"/>
                  </a:lnTo>
                  <a:lnTo>
                    <a:pt x="443" y="887"/>
                  </a:lnTo>
                  <a:lnTo>
                    <a:pt x="443" y="887"/>
                  </a:lnTo>
                  <a:lnTo>
                    <a:pt x="421" y="887"/>
                  </a:lnTo>
                  <a:lnTo>
                    <a:pt x="399" y="885"/>
                  </a:lnTo>
                  <a:lnTo>
                    <a:pt x="376" y="882"/>
                  </a:lnTo>
                  <a:lnTo>
                    <a:pt x="354" y="878"/>
                  </a:lnTo>
                  <a:lnTo>
                    <a:pt x="333" y="873"/>
                  </a:lnTo>
                  <a:lnTo>
                    <a:pt x="312" y="867"/>
                  </a:lnTo>
                  <a:lnTo>
                    <a:pt x="290" y="861"/>
                  </a:lnTo>
                  <a:lnTo>
                    <a:pt x="271" y="852"/>
                  </a:lnTo>
                  <a:lnTo>
                    <a:pt x="251" y="843"/>
                  </a:lnTo>
                  <a:lnTo>
                    <a:pt x="232" y="833"/>
                  </a:lnTo>
                  <a:lnTo>
                    <a:pt x="213" y="823"/>
                  </a:lnTo>
                  <a:lnTo>
                    <a:pt x="196" y="812"/>
                  </a:lnTo>
                  <a:lnTo>
                    <a:pt x="179" y="800"/>
                  </a:lnTo>
                  <a:lnTo>
                    <a:pt x="161" y="786"/>
                  </a:lnTo>
                  <a:lnTo>
                    <a:pt x="145" y="772"/>
                  </a:lnTo>
                  <a:lnTo>
                    <a:pt x="130" y="757"/>
                  </a:lnTo>
                  <a:lnTo>
                    <a:pt x="115" y="742"/>
                  </a:lnTo>
                  <a:lnTo>
                    <a:pt x="102" y="726"/>
                  </a:lnTo>
                  <a:lnTo>
                    <a:pt x="88" y="709"/>
                  </a:lnTo>
                  <a:lnTo>
                    <a:pt x="75" y="691"/>
                  </a:lnTo>
                  <a:lnTo>
                    <a:pt x="64" y="674"/>
                  </a:lnTo>
                  <a:lnTo>
                    <a:pt x="53" y="655"/>
                  </a:lnTo>
                  <a:lnTo>
                    <a:pt x="44" y="635"/>
                  </a:lnTo>
                  <a:lnTo>
                    <a:pt x="34" y="617"/>
                  </a:lnTo>
                  <a:lnTo>
                    <a:pt x="27" y="596"/>
                  </a:lnTo>
                  <a:lnTo>
                    <a:pt x="19" y="576"/>
                  </a:lnTo>
                  <a:lnTo>
                    <a:pt x="14" y="555"/>
                  </a:lnTo>
                  <a:lnTo>
                    <a:pt x="10" y="533"/>
                  </a:lnTo>
                  <a:lnTo>
                    <a:pt x="5" y="511"/>
                  </a:lnTo>
                  <a:lnTo>
                    <a:pt x="2" y="489"/>
                  </a:lnTo>
                  <a:lnTo>
                    <a:pt x="1" y="466"/>
                  </a:lnTo>
                  <a:lnTo>
                    <a:pt x="0" y="444"/>
                  </a:lnTo>
                  <a:lnTo>
                    <a:pt x="0" y="444"/>
                  </a:lnTo>
                  <a:lnTo>
                    <a:pt x="1" y="420"/>
                  </a:lnTo>
                  <a:lnTo>
                    <a:pt x="2" y="398"/>
                  </a:lnTo>
                  <a:lnTo>
                    <a:pt x="5" y="375"/>
                  </a:lnTo>
                  <a:lnTo>
                    <a:pt x="10" y="354"/>
                  </a:lnTo>
                  <a:lnTo>
                    <a:pt x="14" y="333"/>
                  </a:lnTo>
                  <a:lnTo>
                    <a:pt x="19" y="312"/>
                  </a:lnTo>
                  <a:lnTo>
                    <a:pt x="27" y="291"/>
                  </a:lnTo>
                  <a:lnTo>
                    <a:pt x="34" y="271"/>
                  </a:lnTo>
                  <a:lnTo>
                    <a:pt x="44" y="251"/>
                  </a:lnTo>
                  <a:lnTo>
                    <a:pt x="53" y="232"/>
                  </a:lnTo>
                  <a:lnTo>
                    <a:pt x="64" y="214"/>
                  </a:lnTo>
                  <a:lnTo>
                    <a:pt x="75" y="195"/>
                  </a:lnTo>
                  <a:lnTo>
                    <a:pt x="88" y="178"/>
                  </a:lnTo>
                  <a:lnTo>
                    <a:pt x="102" y="162"/>
                  </a:lnTo>
                  <a:lnTo>
                    <a:pt x="115" y="145"/>
                  </a:lnTo>
                  <a:lnTo>
                    <a:pt x="130" y="129"/>
                  </a:lnTo>
                  <a:lnTo>
                    <a:pt x="145" y="116"/>
                  </a:lnTo>
                  <a:lnTo>
                    <a:pt x="161" y="101"/>
                  </a:lnTo>
                  <a:lnTo>
                    <a:pt x="179" y="88"/>
                  </a:lnTo>
                  <a:lnTo>
                    <a:pt x="196" y="76"/>
                  </a:lnTo>
                  <a:lnTo>
                    <a:pt x="213" y="65"/>
                  </a:lnTo>
                  <a:lnTo>
                    <a:pt x="232" y="53"/>
                  </a:lnTo>
                  <a:lnTo>
                    <a:pt x="251" y="43"/>
                  </a:lnTo>
                  <a:lnTo>
                    <a:pt x="271" y="35"/>
                  </a:lnTo>
                  <a:lnTo>
                    <a:pt x="290" y="27"/>
                  </a:lnTo>
                  <a:lnTo>
                    <a:pt x="312" y="20"/>
                  </a:lnTo>
                  <a:lnTo>
                    <a:pt x="333" y="14"/>
                  </a:lnTo>
                  <a:lnTo>
                    <a:pt x="354" y="9"/>
                  </a:lnTo>
                  <a:lnTo>
                    <a:pt x="376" y="5"/>
                  </a:lnTo>
                  <a:lnTo>
                    <a:pt x="399" y="2"/>
                  </a:lnTo>
                  <a:lnTo>
                    <a:pt x="421" y="0"/>
                  </a:lnTo>
                  <a:lnTo>
                    <a:pt x="443" y="0"/>
                  </a:lnTo>
                  <a:lnTo>
                    <a:pt x="443" y="0"/>
                  </a:lnTo>
                  <a:lnTo>
                    <a:pt x="467" y="0"/>
                  </a:lnTo>
                  <a:lnTo>
                    <a:pt x="489" y="2"/>
                  </a:lnTo>
                  <a:lnTo>
                    <a:pt x="511" y="5"/>
                  </a:lnTo>
                  <a:lnTo>
                    <a:pt x="533" y="9"/>
                  </a:lnTo>
                  <a:lnTo>
                    <a:pt x="554" y="14"/>
                  </a:lnTo>
                  <a:lnTo>
                    <a:pt x="575" y="20"/>
                  </a:lnTo>
                  <a:lnTo>
                    <a:pt x="596" y="27"/>
                  </a:lnTo>
                  <a:lnTo>
                    <a:pt x="616" y="35"/>
                  </a:lnTo>
                  <a:lnTo>
                    <a:pt x="636" y="43"/>
                  </a:lnTo>
                  <a:lnTo>
                    <a:pt x="655" y="53"/>
                  </a:lnTo>
                  <a:lnTo>
                    <a:pt x="673" y="65"/>
                  </a:lnTo>
                  <a:lnTo>
                    <a:pt x="692" y="76"/>
                  </a:lnTo>
                  <a:lnTo>
                    <a:pt x="709" y="88"/>
                  </a:lnTo>
                  <a:lnTo>
                    <a:pt x="726" y="101"/>
                  </a:lnTo>
                  <a:lnTo>
                    <a:pt x="742" y="116"/>
                  </a:lnTo>
                  <a:lnTo>
                    <a:pt x="757" y="129"/>
                  </a:lnTo>
                  <a:lnTo>
                    <a:pt x="772" y="145"/>
                  </a:lnTo>
                  <a:lnTo>
                    <a:pt x="785" y="162"/>
                  </a:lnTo>
                  <a:lnTo>
                    <a:pt x="799" y="178"/>
                  </a:lnTo>
                  <a:lnTo>
                    <a:pt x="811" y="195"/>
                  </a:lnTo>
                  <a:lnTo>
                    <a:pt x="823" y="214"/>
                  </a:lnTo>
                  <a:lnTo>
                    <a:pt x="834" y="232"/>
                  </a:lnTo>
                  <a:lnTo>
                    <a:pt x="844" y="251"/>
                  </a:lnTo>
                  <a:lnTo>
                    <a:pt x="852" y="271"/>
                  </a:lnTo>
                  <a:lnTo>
                    <a:pt x="860" y="291"/>
                  </a:lnTo>
                  <a:lnTo>
                    <a:pt x="867" y="312"/>
                  </a:lnTo>
                  <a:lnTo>
                    <a:pt x="874" y="333"/>
                  </a:lnTo>
                  <a:lnTo>
                    <a:pt x="879" y="354"/>
                  </a:lnTo>
                  <a:lnTo>
                    <a:pt x="882" y="375"/>
                  </a:lnTo>
                  <a:lnTo>
                    <a:pt x="885" y="398"/>
                  </a:lnTo>
                  <a:lnTo>
                    <a:pt x="886" y="420"/>
                  </a:lnTo>
                  <a:lnTo>
                    <a:pt x="887" y="444"/>
                  </a:lnTo>
                </a:path>
              </a:pathLst>
            </a:cu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none" w="med" len="med"/>
              <a:tailEnd type="none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 dirty="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0" name="Freeform 79"/>
            <p:cNvSpPr>
              <a:spLocks noEditPoints="1"/>
            </p:cNvSpPr>
            <p:nvPr/>
          </p:nvSpPr>
          <p:spPr bwMode="auto">
            <a:xfrm>
              <a:off x="4747205" y="3365544"/>
              <a:ext cx="338074" cy="491744"/>
            </a:xfrm>
            <a:custGeom>
              <a:avLst/>
              <a:gdLst>
                <a:gd name="T0" fmla="*/ 520 w 705"/>
                <a:gd name="T1" fmla="*/ 626 h 1023"/>
                <a:gd name="T2" fmla="*/ 480 w 705"/>
                <a:gd name="T3" fmla="*/ 682 h 1023"/>
                <a:gd name="T4" fmla="*/ 459 w 705"/>
                <a:gd name="T5" fmla="*/ 760 h 1023"/>
                <a:gd name="T6" fmla="*/ 392 w 705"/>
                <a:gd name="T7" fmla="*/ 411 h 1023"/>
                <a:gd name="T8" fmla="*/ 424 w 705"/>
                <a:gd name="T9" fmla="*/ 352 h 1023"/>
                <a:gd name="T10" fmla="*/ 412 w 705"/>
                <a:gd name="T11" fmla="*/ 313 h 1023"/>
                <a:gd name="T12" fmla="*/ 380 w 705"/>
                <a:gd name="T13" fmla="*/ 287 h 1023"/>
                <a:gd name="T14" fmla="*/ 339 w 705"/>
                <a:gd name="T15" fmla="*/ 283 h 1023"/>
                <a:gd name="T16" fmla="*/ 304 w 705"/>
                <a:gd name="T17" fmla="*/ 302 h 1023"/>
                <a:gd name="T18" fmla="*/ 284 w 705"/>
                <a:gd name="T19" fmla="*/ 338 h 1023"/>
                <a:gd name="T20" fmla="*/ 297 w 705"/>
                <a:gd name="T21" fmla="*/ 396 h 1023"/>
                <a:gd name="T22" fmla="*/ 247 w 705"/>
                <a:gd name="T23" fmla="*/ 847 h 1023"/>
                <a:gd name="T24" fmla="*/ 237 w 705"/>
                <a:gd name="T25" fmla="*/ 709 h 1023"/>
                <a:gd name="T26" fmla="*/ 202 w 705"/>
                <a:gd name="T27" fmla="*/ 646 h 1023"/>
                <a:gd name="T28" fmla="*/ 165 w 705"/>
                <a:gd name="T29" fmla="*/ 608 h 1023"/>
                <a:gd name="T30" fmla="*/ 120 w 705"/>
                <a:gd name="T31" fmla="*/ 568 h 1023"/>
                <a:gd name="T32" fmla="*/ 61 w 705"/>
                <a:gd name="T33" fmla="*/ 477 h 1023"/>
                <a:gd name="T34" fmla="*/ 36 w 705"/>
                <a:gd name="T35" fmla="*/ 371 h 1023"/>
                <a:gd name="T36" fmla="*/ 46 w 705"/>
                <a:gd name="T37" fmla="*/ 273 h 1023"/>
                <a:gd name="T38" fmla="*/ 82 w 705"/>
                <a:gd name="T39" fmla="*/ 188 h 1023"/>
                <a:gd name="T40" fmla="*/ 139 w 705"/>
                <a:gd name="T41" fmla="*/ 118 h 1023"/>
                <a:gd name="T42" fmla="*/ 216 w 705"/>
                <a:gd name="T43" fmla="*/ 67 h 1023"/>
                <a:gd name="T44" fmla="*/ 305 w 705"/>
                <a:gd name="T45" fmla="*/ 39 h 1023"/>
                <a:gd name="T46" fmla="*/ 402 w 705"/>
                <a:gd name="T47" fmla="*/ 39 h 1023"/>
                <a:gd name="T48" fmla="*/ 491 w 705"/>
                <a:gd name="T49" fmla="*/ 67 h 1023"/>
                <a:gd name="T50" fmla="*/ 566 w 705"/>
                <a:gd name="T51" fmla="*/ 118 h 1023"/>
                <a:gd name="T52" fmla="*/ 624 w 705"/>
                <a:gd name="T53" fmla="*/ 188 h 1023"/>
                <a:gd name="T54" fmla="*/ 660 w 705"/>
                <a:gd name="T55" fmla="*/ 273 h 1023"/>
                <a:gd name="T56" fmla="*/ 670 w 705"/>
                <a:gd name="T57" fmla="*/ 371 h 1023"/>
                <a:gd name="T58" fmla="*/ 645 w 705"/>
                <a:gd name="T59" fmla="*/ 477 h 1023"/>
                <a:gd name="T60" fmla="*/ 586 w 705"/>
                <a:gd name="T61" fmla="*/ 569 h 1023"/>
                <a:gd name="T62" fmla="*/ 339 w 705"/>
                <a:gd name="T63" fmla="*/ 385 h 1023"/>
                <a:gd name="T64" fmla="*/ 318 w 705"/>
                <a:gd name="T65" fmla="*/ 352 h 1023"/>
                <a:gd name="T66" fmla="*/ 339 w 705"/>
                <a:gd name="T67" fmla="*/ 320 h 1023"/>
                <a:gd name="T68" fmla="*/ 378 w 705"/>
                <a:gd name="T69" fmla="*/ 327 h 1023"/>
                <a:gd name="T70" fmla="*/ 386 w 705"/>
                <a:gd name="T71" fmla="*/ 366 h 1023"/>
                <a:gd name="T72" fmla="*/ 353 w 705"/>
                <a:gd name="T73" fmla="*/ 388 h 1023"/>
                <a:gd name="T74" fmla="*/ 705 w 705"/>
                <a:gd name="T75" fmla="*/ 352 h 1023"/>
                <a:gd name="T76" fmla="*/ 690 w 705"/>
                <a:gd name="T77" fmla="*/ 247 h 1023"/>
                <a:gd name="T78" fmla="*/ 646 w 705"/>
                <a:gd name="T79" fmla="*/ 155 h 1023"/>
                <a:gd name="T80" fmla="*/ 578 w 705"/>
                <a:gd name="T81" fmla="*/ 80 h 1023"/>
                <a:gd name="T82" fmla="*/ 491 w 705"/>
                <a:gd name="T83" fmla="*/ 28 h 1023"/>
                <a:gd name="T84" fmla="*/ 389 w 705"/>
                <a:gd name="T85" fmla="*/ 2 h 1023"/>
                <a:gd name="T86" fmla="*/ 282 w 705"/>
                <a:gd name="T87" fmla="*/ 7 h 1023"/>
                <a:gd name="T88" fmla="*/ 185 w 705"/>
                <a:gd name="T89" fmla="*/ 42 h 1023"/>
                <a:gd name="T90" fmla="*/ 104 w 705"/>
                <a:gd name="T91" fmla="*/ 104 h 1023"/>
                <a:gd name="T92" fmla="*/ 43 w 705"/>
                <a:gd name="T93" fmla="*/ 185 h 1023"/>
                <a:gd name="T94" fmla="*/ 8 w 705"/>
                <a:gd name="T95" fmla="*/ 282 h 1023"/>
                <a:gd name="T96" fmla="*/ 3 w 705"/>
                <a:gd name="T97" fmla="*/ 395 h 1023"/>
                <a:gd name="T98" fmla="*/ 39 w 705"/>
                <a:gd name="T99" fmla="*/ 512 h 1023"/>
                <a:gd name="T100" fmla="*/ 110 w 705"/>
                <a:gd name="T101" fmla="*/ 607 h 1023"/>
                <a:gd name="T102" fmla="*/ 145 w 705"/>
                <a:gd name="T103" fmla="*/ 637 h 1023"/>
                <a:gd name="T104" fmla="*/ 193 w 705"/>
                <a:gd name="T105" fmla="*/ 699 h 1023"/>
                <a:gd name="T106" fmla="*/ 212 w 705"/>
                <a:gd name="T107" fmla="*/ 763 h 1023"/>
                <a:gd name="T108" fmla="*/ 496 w 705"/>
                <a:gd name="T109" fmla="*/ 750 h 1023"/>
                <a:gd name="T110" fmla="*/ 519 w 705"/>
                <a:gd name="T111" fmla="*/ 686 h 1023"/>
                <a:gd name="T112" fmla="*/ 580 w 705"/>
                <a:gd name="T113" fmla="*/ 622 h 1023"/>
                <a:gd name="T114" fmla="*/ 658 w 705"/>
                <a:gd name="T115" fmla="*/ 530 h 1023"/>
                <a:gd name="T116" fmla="*/ 700 w 705"/>
                <a:gd name="T117" fmla="*/ 416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05" h="1023">
                  <a:moveTo>
                    <a:pt x="543" y="606"/>
                  </a:moveTo>
                  <a:lnTo>
                    <a:pt x="542" y="607"/>
                  </a:lnTo>
                  <a:lnTo>
                    <a:pt x="542" y="607"/>
                  </a:lnTo>
                  <a:lnTo>
                    <a:pt x="535" y="612"/>
                  </a:lnTo>
                  <a:lnTo>
                    <a:pt x="527" y="619"/>
                  </a:lnTo>
                  <a:lnTo>
                    <a:pt x="520" y="626"/>
                  </a:lnTo>
                  <a:lnTo>
                    <a:pt x="513" y="634"/>
                  </a:lnTo>
                  <a:lnTo>
                    <a:pt x="506" y="642"/>
                  </a:lnTo>
                  <a:lnTo>
                    <a:pt x="499" y="651"/>
                  </a:lnTo>
                  <a:lnTo>
                    <a:pt x="492" y="661"/>
                  </a:lnTo>
                  <a:lnTo>
                    <a:pt x="486" y="672"/>
                  </a:lnTo>
                  <a:lnTo>
                    <a:pt x="480" y="682"/>
                  </a:lnTo>
                  <a:lnTo>
                    <a:pt x="475" y="694"/>
                  </a:lnTo>
                  <a:lnTo>
                    <a:pt x="470" y="706"/>
                  </a:lnTo>
                  <a:lnTo>
                    <a:pt x="467" y="719"/>
                  </a:lnTo>
                  <a:lnTo>
                    <a:pt x="464" y="732"/>
                  </a:lnTo>
                  <a:lnTo>
                    <a:pt x="461" y="746"/>
                  </a:lnTo>
                  <a:lnTo>
                    <a:pt x="459" y="760"/>
                  </a:lnTo>
                  <a:lnTo>
                    <a:pt x="459" y="775"/>
                  </a:lnTo>
                  <a:lnTo>
                    <a:pt x="459" y="847"/>
                  </a:lnTo>
                  <a:lnTo>
                    <a:pt x="371" y="847"/>
                  </a:lnTo>
                  <a:lnTo>
                    <a:pt x="371" y="420"/>
                  </a:lnTo>
                  <a:lnTo>
                    <a:pt x="381" y="417"/>
                  </a:lnTo>
                  <a:lnTo>
                    <a:pt x="392" y="411"/>
                  </a:lnTo>
                  <a:lnTo>
                    <a:pt x="401" y="404"/>
                  </a:lnTo>
                  <a:lnTo>
                    <a:pt x="408" y="396"/>
                  </a:lnTo>
                  <a:lnTo>
                    <a:pt x="415" y="386"/>
                  </a:lnTo>
                  <a:lnTo>
                    <a:pt x="419" y="376"/>
                  </a:lnTo>
                  <a:lnTo>
                    <a:pt x="422" y="365"/>
                  </a:lnTo>
                  <a:lnTo>
                    <a:pt x="424" y="352"/>
                  </a:lnTo>
                  <a:lnTo>
                    <a:pt x="424" y="345"/>
                  </a:lnTo>
                  <a:lnTo>
                    <a:pt x="422" y="338"/>
                  </a:lnTo>
                  <a:lnTo>
                    <a:pt x="420" y="331"/>
                  </a:lnTo>
                  <a:lnTo>
                    <a:pt x="418" y="325"/>
                  </a:lnTo>
                  <a:lnTo>
                    <a:pt x="415" y="318"/>
                  </a:lnTo>
                  <a:lnTo>
                    <a:pt x="412" y="313"/>
                  </a:lnTo>
                  <a:lnTo>
                    <a:pt x="407" y="308"/>
                  </a:lnTo>
                  <a:lnTo>
                    <a:pt x="403" y="302"/>
                  </a:lnTo>
                  <a:lnTo>
                    <a:pt x="398" y="298"/>
                  </a:lnTo>
                  <a:lnTo>
                    <a:pt x="392" y="294"/>
                  </a:lnTo>
                  <a:lnTo>
                    <a:pt x="387" y="290"/>
                  </a:lnTo>
                  <a:lnTo>
                    <a:pt x="380" y="287"/>
                  </a:lnTo>
                  <a:lnTo>
                    <a:pt x="374" y="285"/>
                  </a:lnTo>
                  <a:lnTo>
                    <a:pt x="367" y="283"/>
                  </a:lnTo>
                  <a:lnTo>
                    <a:pt x="361" y="282"/>
                  </a:lnTo>
                  <a:lnTo>
                    <a:pt x="353" y="282"/>
                  </a:lnTo>
                  <a:lnTo>
                    <a:pt x="346" y="282"/>
                  </a:lnTo>
                  <a:lnTo>
                    <a:pt x="339" y="283"/>
                  </a:lnTo>
                  <a:lnTo>
                    <a:pt x="332" y="285"/>
                  </a:lnTo>
                  <a:lnTo>
                    <a:pt x="325" y="287"/>
                  </a:lnTo>
                  <a:lnTo>
                    <a:pt x="320" y="290"/>
                  </a:lnTo>
                  <a:lnTo>
                    <a:pt x="313" y="294"/>
                  </a:lnTo>
                  <a:lnTo>
                    <a:pt x="308" y="298"/>
                  </a:lnTo>
                  <a:lnTo>
                    <a:pt x="304" y="302"/>
                  </a:lnTo>
                  <a:lnTo>
                    <a:pt x="298" y="308"/>
                  </a:lnTo>
                  <a:lnTo>
                    <a:pt x="295" y="313"/>
                  </a:lnTo>
                  <a:lnTo>
                    <a:pt x="291" y="318"/>
                  </a:lnTo>
                  <a:lnTo>
                    <a:pt x="289" y="325"/>
                  </a:lnTo>
                  <a:lnTo>
                    <a:pt x="285" y="331"/>
                  </a:lnTo>
                  <a:lnTo>
                    <a:pt x="284" y="338"/>
                  </a:lnTo>
                  <a:lnTo>
                    <a:pt x="283" y="345"/>
                  </a:lnTo>
                  <a:lnTo>
                    <a:pt x="283" y="352"/>
                  </a:lnTo>
                  <a:lnTo>
                    <a:pt x="283" y="365"/>
                  </a:lnTo>
                  <a:lnTo>
                    <a:pt x="286" y="376"/>
                  </a:lnTo>
                  <a:lnTo>
                    <a:pt x="292" y="386"/>
                  </a:lnTo>
                  <a:lnTo>
                    <a:pt x="297" y="396"/>
                  </a:lnTo>
                  <a:lnTo>
                    <a:pt x="306" y="404"/>
                  </a:lnTo>
                  <a:lnTo>
                    <a:pt x="314" y="411"/>
                  </a:lnTo>
                  <a:lnTo>
                    <a:pt x="324" y="417"/>
                  </a:lnTo>
                  <a:lnTo>
                    <a:pt x="335" y="420"/>
                  </a:lnTo>
                  <a:lnTo>
                    <a:pt x="336" y="847"/>
                  </a:lnTo>
                  <a:lnTo>
                    <a:pt x="247" y="847"/>
                  </a:lnTo>
                  <a:lnTo>
                    <a:pt x="247" y="775"/>
                  </a:lnTo>
                  <a:lnTo>
                    <a:pt x="246" y="761"/>
                  </a:lnTo>
                  <a:lnTo>
                    <a:pt x="245" y="748"/>
                  </a:lnTo>
                  <a:lnTo>
                    <a:pt x="243" y="734"/>
                  </a:lnTo>
                  <a:lnTo>
                    <a:pt x="240" y="721"/>
                  </a:lnTo>
                  <a:lnTo>
                    <a:pt x="237" y="709"/>
                  </a:lnTo>
                  <a:lnTo>
                    <a:pt x="231" y="698"/>
                  </a:lnTo>
                  <a:lnTo>
                    <a:pt x="227" y="686"/>
                  </a:lnTo>
                  <a:lnTo>
                    <a:pt x="222" y="675"/>
                  </a:lnTo>
                  <a:lnTo>
                    <a:pt x="215" y="665"/>
                  </a:lnTo>
                  <a:lnTo>
                    <a:pt x="209" y="655"/>
                  </a:lnTo>
                  <a:lnTo>
                    <a:pt x="202" y="646"/>
                  </a:lnTo>
                  <a:lnTo>
                    <a:pt x="196" y="637"/>
                  </a:lnTo>
                  <a:lnTo>
                    <a:pt x="182" y="622"/>
                  </a:lnTo>
                  <a:lnTo>
                    <a:pt x="168" y="610"/>
                  </a:lnTo>
                  <a:lnTo>
                    <a:pt x="168" y="609"/>
                  </a:lnTo>
                  <a:lnTo>
                    <a:pt x="166" y="609"/>
                  </a:lnTo>
                  <a:lnTo>
                    <a:pt x="165" y="608"/>
                  </a:lnTo>
                  <a:lnTo>
                    <a:pt x="163" y="607"/>
                  </a:lnTo>
                  <a:lnTo>
                    <a:pt x="162" y="606"/>
                  </a:lnTo>
                  <a:lnTo>
                    <a:pt x="161" y="605"/>
                  </a:lnTo>
                  <a:lnTo>
                    <a:pt x="147" y="593"/>
                  </a:lnTo>
                  <a:lnTo>
                    <a:pt x="133" y="581"/>
                  </a:lnTo>
                  <a:lnTo>
                    <a:pt x="120" y="568"/>
                  </a:lnTo>
                  <a:lnTo>
                    <a:pt x="108" y="554"/>
                  </a:lnTo>
                  <a:lnTo>
                    <a:pt x="97" y="540"/>
                  </a:lnTo>
                  <a:lnTo>
                    <a:pt x="87" y="525"/>
                  </a:lnTo>
                  <a:lnTo>
                    <a:pt x="77" y="510"/>
                  </a:lnTo>
                  <a:lnTo>
                    <a:pt x="68" y="493"/>
                  </a:lnTo>
                  <a:lnTo>
                    <a:pt x="61" y="477"/>
                  </a:lnTo>
                  <a:lnTo>
                    <a:pt x="54" y="460"/>
                  </a:lnTo>
                  <a:lnTo>
                    <a:pt x="49" y="443"/>
                  </a:lnTo>
                  <a:lnTo>
                    <a:pt x="44" y="425"/>
                  </a:lnTo>
                  <a:lnTo>
                    <a:pt x="40" y="408"/>
                  </a:lnTo>
                  <a:lnTo>
                    <a:pt x="38" y="390"/>
                  </a:lnTo>
                  <a:lnTo>
                    <a:pt x="36" y="371"/>
                  </a:lnTo>
                  <a:lnTo>
                    <a:pt x="36" y="352"/>
                  </a:lnTo>
                  <a:lnTo>
                    <a:pt x="36" y="336"/>
                  </a:lnTo>
                  <a:lnTo>
                    <a:pt x="37" y="320"/>
                  </a:lnTo>
                  <a:lnTo>
                    <a:pt x="39" y="304"/>
                  </a:lnTo>
                  <a:lnTo>
                    <a:pt x="42" y="288"/>
                  </a:lnTo>
                  <a:lnTo>
                    <a:pt x="46" y="273"/>
                  </a:lnTo>
                  <a:lnTo>
                    <a:pt x="50" y="258"/>
                  </a:lnTo>
                  <a:lnTo>
                    <a:pt x="55" y="243"/>
                  </a:lnTo>
                  <a:lnTo>
                    <a:pt x="61" y="229"/>
                  </a:lnTo>
                  <a:lnTo>
                    <a:pt x="67" y="215"/>
                  </a:lnTo>
                  <a:lnTo>
                    <a:pt x="74" y="201"/>
                  </a:lnTo>
                  <a:lnTo>
                    <a:pt x="82" y="188"/>
                  </a:lnTo>
                  <a:lnTo>
                    <a:pt x="90" y="175"/>
                  </a:lnTo>
                  <a:lnTo>
                    <a:pt x="98" y="163"/>
                  </a:lnTo>
                  <a:lnTo>
                    <a:pt x="108" y="151"/>
                  </a:lnTo>
                  <a:lnTo>
                    <a:pt x="118" y="139"/>
                  </a:lnTo>
                  <a:lnTo>
                    <a:pt x="129" y="128"/>
                  </a:lnTo>
                  <a:lnTo>
                    <a:pt x="139" y="118"/>
                  </a:lnTo>
                  <a:lnTo>
                    <a:pt x="151" y="108"/>
                  </a:lnTo>
                  <a:lnTo>
                    <a:pt x="163" y="98"/>
                  </a:lnTo>
                  <a:lnTo>
                    <a:pt x="176" y="89"/>
                  </a:lnTo>
                  <a:lnTo>
                    <a:pt x="189" y="81"/>
                  </a:lnTo>
                  <a:lnTo>
                    <a:pt x="202" y="73"/>
                  </a:lnTo>
                  <a:lnTo>
                    <a:pt x="216" y="67"/>
                  </a:lnTo>
                  <a:lnTo>
                    <a:pt x="230" y="60"/>
                  </a:lnTo>
                  <a:lnTo>
                    <a:pt x="244" y="54"/>
                  </a:lnTo>
                  <a:lnTo>
                    <a:pt x="259" y="50"/>
                  </a:lnTo>
                  <a:lnTo>
                    <a:pt x="273" y="45"/>
                  </a:lnTo>
                  <a:lnTo>
                    <a:pt x="290" y="42"/>
                  </a:lnTo>
                  <a:lnTo>
                    <a:pt x="305" y="39"/>
                  </a:lnTo>
                  <a:lnTo>
                    <a:pt x="321" y="37"/>
                  </a:lnTo>
                  <a:lnTo>
                    <a:pt x="337" y="35"/>
                  </a:lnTo>
                  <a:lnTo>
                    <a:pt x="353" y="35"/>
                  </a:lnTo>
                  <a:lnTo>
                    <a:pt x="370" y="35"/>
                  </a:lnTo>
                  <a:lnTo>
                    <a:pt x="386" y="37"/>
                  </a:lnTo>
                  <a:lnTo>
                    <a:pt x="402" y="39"/>
                  </a:lnTo>
                  <a:lnTo>
                    <a:pt x="417" y="42"/>
                  </a:lnTo>
                  <a:lnTo>
                    <a:pt x="432" y="45"/>
                  </a:lnTo>
                  <a:lnTo>
                    <a:pt x="447" y="50"/>
                  </a:lnTo>
                  <a:lnTo>
                    <a:pt x="462" y="54"/>
                  </a:lnTo>
                  <a:lnTo>
                    <a:pt x="476" y="60"/>
                  </a:lnTo>
                  <a:lnTo>
                    <a:pt x="491" y="67"/>
                  </a:lnTo>
                  <a:lnTo>
                    <a:pt x="505" y="73"/>
                  </a:lnTo>
                  <a:lnTo>
                    <a:pt x="518" y="81"/>
                  </a:lnTo>
                  <a:lnTo>
                    <a:pt x="530" y="89"/>
                  </a:lnTo>
                  <a:lnTo>
                    <a:pt x="543" y="98"/>
                  </a:lnTo>
                  <a:lnTo>
                    <a:pt x="555" y="108"/>
                  </a:lnTo>
                  <a:lnTo>
                    <a:pt x="566" y="118"/>
                  </a:lnTo>
                  <a:lnTo>
                    <a:pt x="578" y="128"/>
                  </a:lnTo>
                  <a:lnTo>
                    <a:pt x="588" y="139"/>
                  </a:lnTo>
                  <a:lnTo>
                    <a:pt x="599" y="151"/>
                  </a:lnTo>
                  <a:lnTo>
                    <a:pt x="607" y="163"/>
                  </a:lnTo>
                  <a:lnTo>
                    <a:pt x="616" y="175"/>
                  </a:lnTo>
                  <a:lnTo>
                    <a:pt x="624" y="188"/>
                  </a:lnTo>
                  <a:lnTo>
                    <a:pt x="632" y="201"/>
                  </a:lnTo>
                  <a:lnTo>
                    <a:pt x="640" y="215"/>
                  </a:lnTo>
                  <a:lnTo>
                    <a:pt x="646" y="229"/>
                  </a:lnTo>
                  <a:lnTo>
                    <a:pt x="651" y="243"/>
                  </a:lnTo>
                  <a:lnTo>
                    <a:pt x="656" y="258"/>
                  </a:lnTo>
                  <a:lnTo>
                    <a:pt x="660" y="273"/>
                  </a:lnTo>
                  <a:lnTo>
                    <a:pt x="664" y="288"/>
                  </a:lnTo>
                  <a:lnTo>
                    <a:pt x="667" y="304"/>
                  </a:lnTo>
                  <a:lnTo>
                    <a:pt x="669" y="320"/>
                  </a:lnTo>
                  <a:lnTo>
                    <a:pt x="670" y="336"/>
                  </a:lnTo>
                  <a:lnTo>
                    <a:pt x="671" y="352"/>
                  </a:lnTo>
                  <a:lnTo>
                    <a:pt x="670" y="371"/>
                  </a:lnTo>
                  <a:lnTo>
                    <a:pt x="669" y="390"/>
                  </a:lnTo>
                  <a:lnTo>
                    <a:pt x="665" y="408"/>
                  </a:lnTo>
                  <a:lnTo>
                    <a:pt x="662" y="426"/>
                  </a:lnTo>
                  <a:lnTo>
                    <a:pt x="657" y="444"/>
                  </a:lnTo>
                  <a:lnTo>
                    <a:pt x="651" y="461"/>
                  </a:lnTo>
                  <a:lnTo>
                    <a:pt x="645" y="477"/>
                  </a:lnTo>
                  <a:lnTo>
                    <a:pt x="637" y="494"/>
                  </a:lnTo>
                  <a:lnTo>
                    <a:pt x="629" y="510"/>
                  </a:lnTo>
                  <a:lnTo>
                    <a:pt x="619" y="526"/>
                  </a:lnTo>
                  <a:lnTo>
                    <a:pt x="608" y="541"/>
                  </a:lnTo>
                  <a:lnTo>
                    <a:pt x="597" y="555"/>
                  </a:lnTo>
                  <a:lnTo>
                    <a:pt x="586" y="569"/>
                  </a:lnTo>
                  <a:lnTo>
                    <a:pt x="573" y="582"/>
                  </a:lnTo>
                  <a:lnTo>
                    <a:pt x="559" y="594"/>
                  </a:lnTo>
                  <a:lnTo>
                    <a:pt x="543" y="606"/>
                  </a:lnTo>
                  <a:close/>
                  <a:moveTo>
                    <a:pt x="353" y="388"/>
                  </a:moveTo>
                  <a:lnTo>
                    <a:pt x="346" y="386"/>
                  </a:lnTo>
                  <a:lnTo>
                    <a:pt x="339" y="385"/>
                  </a:lnTo>
                  <a:lnTo>
                    <a:pt x="334" y="381"/>
                  </a:lnTo>
                  <a:lnTo>
                    <a:pt x="328" y="378"/>
                  </a:lnTo>
                  <a:lnTo>
                    <a:pt x="324" y="372"/>
                  </a:lnTo>
                  <a:lnTo>
                    <a:pt x="321" y="366"/>
                  </a:lnTo>
                  <a:lnTo>
                    <a:pt x="319" y="359"/>
                  </a:lnTo>
                  <a:lnTo>
                    <a:pt x="318" y="352"/>
                  </a:lnTo>
                  <a:lnTo>
                    <a:pt x="319" y="345"/>
                  </a:lnTo>
                  <a:lnTo>
                    <a:pt x="321" y="339"/>
                  </a:lnTo>
                  <a:lnTo>
                    <a:pt x="324" y="332"/>
                  </a:lnTo>
                  <a:lnTo>
                    <a:pt x="328" y="327"/>
                  </a:lnTo>
                  <a:lnTo>
                    <a:pt x="334" y="323"/>
                  </a:lnTo>
                  <a:lnTo>
                    <a:pt x="339" y="320"/>
                  </a:lnTo>
                  <a:lnTo>
                    <a:pt x="346" y="317"/>
                  </a:lnTo>
                  <a:lnTo>
                    <a:pt x="353" y="317"/>
                  </a:lnTo>
                  <a:lnTo>
                    <a:pt x="360" y="317"/>
                  </a:lnTo>
                  <a:lnTo>
                    <a:pt x="367" y="320"/>
                  </a:lnTo>
                  <a:lnTo>
                    <a:pt x="373" y="323"/>
                  </a:lnTo>
                  <a:lnTo>
                    <a:pt x="378" y="327"/>
                  </a:lnTo>
                  <a:lnTo>
                    <a:pt x="383" y="332"/>
                  </a:lnTo>
                  <a:lnTo>
                    <a:pt x="386" y="339"/>
                  </a:lnTo>
                  <a:lnTo>
                    <a:pt x="388" y="345"/>
                  </a:lnTo>
                  <a:lnTo>
                    <a:pt x="388" y="352"/>
                  </a:lnTo>
                  <a:lnTo>
                    <a:pt x="388" y="359"/>
                  </a:lnTo>
                  <a:lnTo>
                    <a:pt x="386" y="366"/>
                  </a:lnTo>
                  <a:lnTo>
                    <a:pt x="383" y="372"/>
                  </a:lnTo>
                  <a:lnTo>
                    <a:pt x="378" y="378"/>
                  </a:lnTo>
                  <a:lnTo>
                    <a:pt x="373" y="381"/>
                  </a:lnTo>
                  <a:lnTo>
                    <a:pt x="367" y="385"/>
                  </a:lnTo>
                  <a:lnTo>
                    <a:pt x="360" y="386"/>
                  </a:lnTo>
                  <a:lnTo>
                    <a:pt x="353" y="388"/>
                  </a:lnTo>
                  <a:close/>
                  <a:moveTo>
                    <a:pt x="247" y="988"/>
                  </a:moveTo>
                  <a:lnTo>
                    <a:pt x="247" y="881"/>
                  </a:lnTo>
                  <a:lnTo>
                    <a:pt x="459" y="881"/>
                  </a:lnTo>
                  <a:lnTo>
                    <a:pt x="459" y="988"/>
                  </a:lnTo>
                  <a:lnTo>
                    <a:pt x="247" y="988"/>
                  </a:lnTo>
                  <a:close/>
                  <a:moveTo>
                    <a:pt x="705" y="352"/>
                  </a:moveTo>
                  <a:lnTo>
                    <a:pt x="705" y="335"/>
                  </a:lnTo>
                  <a:lnTo>
                    <a:pt x="704" y="316"/>
                  </a:lnTo>
                  <a:lnTo>
                    <a:pt x="702" y="299"/>
                  </a:lnTo>
                  <a:lnTo>
                    <a:pt x="699" y="282"/>
                  </a:lnTo>
                  <a:lnTo>
                    <a:pt x="695" y="264"/>
                  </a:lnTo>
                  <a:lnTo>
                    <a:pt x="690" y="247"/>
                  </a:lnTo>
                  <a:lnTo>
                    <a:pt x="685" y="231"/>
                  </a:lnTo>
                  <a:lnTo>
                    <a:pt x="678" y="215"/>
                  </a:lnTo>
                  <a:lnTo>
                    <a:pt x="671" y="200"/>
                  </a:lnTo>
                  <a:lnTo>
                    <a:pt x="663" y="185"/>
                  </a:lnTo>
                  <a:lnTo>
                    <a:pt x="655" y="169"/>
                  </a:lnTo>
                  <a:lnTo>
                    <a:pt x="646" y="155"/>
                  </a:lnTo>
                  <a:lnTo>
                    <a:pt x="635" y="141"/>
                  </a:lnTo>
                  <a:lnTo>
                    <a:pt x="626" y="128"/>
                  </a:lnTo>
                  <a:lnTo>
                    <a:pt x="615" y="115"/>
                  </a:lnTo>
                  <a:lnTo>
                    <a:pt x="603" y="104"/>
                  </a:lnTo>
                  <a:lnTo>
                    <a:pt x="590" y="92"/>
                  </a:lnTo>
                  <a:lnTo>
                    <a:pt x="578" y="80"/>
                  </a:lnTo>
                  <a:lnTo>
                    <a:pt x="564" y="70"/>
                  </a:lnTo>
                  <a:lnTo>
                    <a:pt x="550" y="60"/>
                  </a:lnTo>
                  <a:lnTo>
                    <a:pt x="536" y="51"/>
                  </a:lnTo>
                  <a:lnTo>
                    <a:pt x="521" y="42"/>
                  </a:lnTo>
                  <a:lnTo>
                    <a:pt x="506" y="34"/>
                  </a:lnTo>
                  <a:lnTo>
                    <a:pt x="491" y="28"/>
                  </a:lnTo>
                  <a:lnTo>
                    <a:pt x="474" y="21"/>
                  </a:lnTo>
                  <a:lnTo>
                    <a:pt x="458" y="16"/>
                  </a:lnTo>
                  <a:lnTo>
                    <a:pt x="441" y="11"/>
                  </a:lnTo>
                  <a:lnTo>
                    <a:pt x="425" y="7"/>
                  </a:lnTo>
                  <a:lnTo>
                    <a:pt x="407" y="4"/>
                  </a:lnTo>
                  <a:lnTo>
                    <a:pt x="389" y="2"/>
                  </a:lnTo>
                  <a:lnTo>
                    <a:pt x="372" y="0"/>
                  </a:lnTo>
                  <a:lnTo>
                    <a:pt x="353" y="0"/>
                  </a:lnTo>
                  <a:lnTo>
                    <a:pt x="335" y="0"/>
                  </a:lnTo>
                  <a:lnTo>
                    <a:pt x="317" y="2"/>
                  </a:lnTo>
                  <a:lnTo>
                    <a:pt x="299" y="4"/>
                  </a:lnTo>
                  <a:lnTo>
                    <a:pt x="282" y="7"/>
                  </a:lnTo>
                  <a:lnTo>
                    <a:pt x="265" y="11"/>
                  </a:lnTo>
                  <a:lnTo>
                    <a:pt x="249" y="16"/>
                  </a:lnTo>
                  <a:lnTo>
                    <a:pt x="232" y="21"/>
                  </a:lnTo>
                  <a:lnTo>
                    <a:pt x="216" y="28"/>
                  </a:lnTo>
                  <a:lnTo>
                    <a:pt x="200" y="34"/>
                  </a:lnTo>
                  <a:lnTo>
                    <a:pt x="185" y="42"/>
                  </a:lnTo>
                  <a:lnTo>
                    <a:pt x="170" y="51"/>
                  </a:lnTo>
                  <a:lnTo>
                    <a:pt x="156" y="60"/>
                  </a:lnTo>
                  <a:lnTo>
                    <a:pt x="142" y="70"/>
                  </a:lnTo>
                  <a:lnTo>
                    <a:pt x="129" y="80"/>
                  </a:lnTo>
                  <a:lnTo>
                    <a:pt x="116" y="92"/>
                  </a:lnTo>
                  <a:lnTo>
                    <a:pt x="104" y="104"/>
                  </a:lnTo>
                  <a:lnTo>
                    <a:pt x="92" y="115"/>
                  </a:lnTo>
                  <a:lnTo>
                    <a:pt x="81" y="128"/>
                  </a:lnTo>
                  <a:lnTo>
                    <a:pt x="70" y="141"/>
                  </a:lnTo>
                  <a:lnTo>
                    <a:pt x="61" y="155"/>
                  </a:lnTo>
                  <a:lnTo>
                    <a:pt x="52" y="169"/>
                  </a:lnTo>
                  <a:lnTo>
                    <a:pt x="43" y="185"/>
                  </a:lnTo>
                  <a:lnTo>
                    <a:pt x="35" y="200"/>
                  </a:lnTo>
                  <a:lnTo>
                    <a:pt x="28" y="215"/>
                  </a:lnTo>
                  <a:lnTo>
                    <a:pt x="22" y="231"/>
                  </a:lnTo>
                  <a:lnTo>
                    <a:pt x="16" y="247"/>
                  </a:lnTo>
                  <a:lnTo>
                    <a:pt x="12" y="264"/>
                  </a:lnTo>
                  <a:lnTo>
                    <a:pt x="8" y="282"/>
                  </a:lnTo>
                  <a:lnTo>
                    <a:pt x="4" y="299"/>
                  </a:lnTo>
                  <a:lnTo>
                    <a:pt x="2" y="316"/>
                  </a:lnTo>
                  <a:lnTo>
                    <a:pt x="1" y="335"/>
                  </a:lnTo>
                  <a:lnTo>
                    <a:pt x="0" y="352"/>
                  </a:lnTo>
                  <a:lnTo>
                    <a:pt x="1" y="374"/>
                  </a:lnTo>
                  <a:lnTo>
                    <a:pt x="3" y="395"/>
                  </a:lnTo>
                  <a:lnTo>
                    <a:pt x="7" y="416"/>
                  </a:lnTo>
                  <a:lnTo>
                    <a:pt x="10" y="435"/>
                  </a:lnTo>
                  <a:lnTo>
                    <a:pt x="15" y="456"/>
                  </a:lnTo>
                  <a:lnTo>
                    <a:pt x="23" y="475"/>
                  </a:lnTo>
                  <a:lnTo>
                    <a:pt x="30" y="493"/>
                  </a:lnTo>
                  <a:lnTo>
                    <a:pt x="39" y="512"/>
                  </a:lnTo>
                  <a:lnTo>
                    <a:pt x="48" y="529"/>
                  </a:lnTo>
                  <a:lnTo>
                    <a:pt x="58" y="546"/>
                  </a:lnTo>
                  <a:lnTo>
                    <a:pt x="70" y="563"/>
                  </a:lnTo>
                  <a:lnTo>
                    <a:pt x="82" y="579"/>
                  </a:lnTo>
                  <a:lnTo>
                    <a:pt x="96" y="593"/>
                  </a:lnTo>
                  <a:lnTo>
                    <a:pt x="110" y="607"/>
                  </a:lnTo>
                  <a:lnTo>
                    <a:pt x="124" y="621"/>
                  </a:lnTo>
                  <a:lnTo>
                    <a:pt x="141" y="633"/>
                  </a:lnTo>
                  <a:lnTo>
                    <a:pt x="141" y="633"/>
                  </a:lnTo>
                  <a:lnTo>
                    <a:pt x="143" y="635"/>
                  </a:lnTo>
                  <a:lnTo>
                    <a:pt x="145" y="637"/>
                  </a:lnTo>
                  <a:lnTo>
                    <a:pt x="145" y="637"/>
                  </a:lnTo>
                  <a:lnTo>
                    <a:pt x="146" y="637"/>
                  </a:lnTo>
                  <a:lnTo>
                    <a:pt x="157" y="647"/>
                  </a:lnTo>
                  <a:lnTo>
                    <a:pt x="168" y="659"/>
                  </a:lnTo>
                  <a:lnTo>
                    <a:pt x="178" y="673"/>
                  </a:lnTo>
                  <a:lnTo>
                    <a:pt x="189" y="690"/>
                  </a:lnTo>
                  <a:lnTo>
                    <a:pt x="193" y="699"/>
                  </a:lnTo>
                  <a:lnTo>
                    <a:pt x="198" y="708"/>
                  </a:lnTo>
                  <a:lnTo>
                    <a:pt x="202" y="718"/>
                  </a:lnTo>
                  <a:lnTo>
                    <a:pt x="205" y="729"/>
                  </a:lnTo>
                  <a:lnTo>
                    <a:pt x="209" y="740"/>
                  </a:lnTo>
                  <a:lnTo>
                    <a:pt x="211" y="752"/>
                  </a:lnTo>
                  <a:lnTo>
                    <a:pt x="212" y="763"/>
                  </a:lnTo>
                  <a:lnTo>
                    <a:pt x="212" y="775"/>
                  </a:lnTo>
                  <a:lnTo>
                    <a:pt x="212" y="1023"/>
                  </a:lnTo>
                  <a:lnTo>
                    <a:pt x="494" y="1023"/>
                  </a:lnTo>
                  <a:lnTo>
                    <a:pt x="494" y="775"/>
                  </a:lnTo>
                  <a:lnTo>
                    <a:pt x="495" y="762"/>
                  </a:lnTo>
                  <a:lnTo>
                    <a:pt x="496" y="750"/>
                  </a:lnTo>
                  <a:lnTo>
                    <a:pt x="498" y="739"/>
                  </a:lnTo>
                  <a:lnTo>
                    <a:pt x="501" y="727"/>
                  </a:lnTo>
                  <a:lnTo>
                    <a:pt x="505" y="716"/>
                  </a:lnTo>
                  <a:lnTo>
                    <a:pt x="509" y="705"/>
                  </a:lnTo>
                  <a:lnTo>
                    <a:pt x="513" y="695"/>
                  </a:lnTo>
                  <a:lnTo>
                    <a:pt x="519" y="686"/>
                  </a:lnTo>
                  <a:lnTo>
                    <a:pt x="529" y="669"/>
                  </a:lnTo>
                  <a:lnTo>
                    <a:pt x="541" y="655"/>
                  </a:lnTo>
                  <a:lnTo>
                    <a:pt x="553" y="644"/>
                  </a:lnTo>
                  <a:lnTo>
                    <a:pt x="565" y="634"/>
                  </a:lnTo>
                  <a:lnTo>
                    <a:pt x="565" y="634"/>
                  </a:lnTo>
                  <a:lnTo>
                    <a:pt x="580" y="622"/>
                  </a:lnTo>
                  <a:lnTo>
                    <a:pt x="595" y="608"/>
                  </a:lnTo>
                  <a:lnTo>
                    <a:pt x="609" y="594"/>
                  </a:lnTo>
                  <a:lnTo>
                    <a:pt x="623" y="579"/>
                  </a:lnTo>
                  <a:lnTo>
                    <a:pt x="635" y="564"/>
                  </a:lnTo>
                  <a:lnTo>
                    <a:pt x="647" y="547"/>
                  </a:lnTo>
                  <a:lnTo>
                    <a:pt x="658" y="530"/>
                  </a:lnTo>
                  <a:lnTo>
                    <a:pt x="668" y="513"/>
                  </a:lnTo>
                  <a:lnTo>
                    <a:pt x="676" y="494"/>
                  </a:lnTo>
                  <a:lnTo>
                    <a:pt x="684" y="475"/>
                  </a:lnTo>
                  <a:lnTo>
                    <a:pt x="690" y="456"/>
                  </a:lnTo>
                  <a:lnTo>
                    <a:pt x="696" y="436"/>
                  </a:lnTo>
                  <a:lnTo>
                    <a:pt x="700" y="416"/>
                  </a:lnTo>
                  <a:lnTo>
                    <a:pt x="703" y="395"/>
                  </a:lnTo>
                  <a:lnTo>
                    <a:pt x="705" y="374"/>
                  </a:lnTo>
                  <a:lnTo>
                    <a:pt x="705" y="352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cxnSp>
        <p:nvCxnSpPr>
          <p:cNvPr id="21" name="Straight Connector 2"/>
          <p:cNvCxnSpPr/>
          <p:nvPr/>
        </p:nvCxnSpPr>
        <p:spPr>
          <a:xfrm flipH="1">
            <a:off x="1166738" y="3288842"/>
            <a:ext cx="3054023" cy="0"/>
          </a:xfrm>
          <a:prstGeom prst="line">
            <a:avLst/>
          </a:prstGeom>
          <a:ln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0"/>
          <p:cNvCxnSpPr/>
          <p:nvPr/>
        </p:nvCxnSpPr>
        <p:spPr>
          <a:xfrm flipH="1">
            <a:off x="6767742" y="2080308"/>
            <a:ext cx="3054023" cy="0"/>
          </a:xfrm>
          <a:prstGeom prst="line">
            <a:avLst/>
          </a:prstGeom>
          <a:ln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1"/>
          <p:cNvCxnSpPr/>
          <p:nvPr/>
        </p:nvCxnSpPr>
        <p:spPr>
          <a:xfrm flipH="1">
            <a:off x="8186144" y="3617750"/>
            <a:ext cx="2839120" cy="0"/>
          </a:xfrm>
          <a:prstGeom prst="line">
            <a:avLst/>
          </a:prstGeom>
          <a:ln>
            <a:solidFill>
              <a:schemeClr val="l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Group 6"/>
          <p:cNvGrpSpPr/>
          <p:nvPr/>
        </p:nvGrpSpPr>
        <p:grpSpPr>
          <a:xfrm>
            <a:off x="6767742" y="3109438"/>
            <a:ext cx="1349264" cy="2044453"/>
            <a:chOff x="6865333" y="3412914"/>
            <a:chExt cx="1442739" cy="2186090"/>
          </a:xfrm>
        </p:grpSpPr>
        <p:sp>
          <p:nvSpPr>
            <p:cNvPr id="25" name="Freeform 432"/>
            <p:cNvSpPr/>
            <p:nvPr/>
          </p:nvSpPr>
          <p:spPr bwMode="auto">
            <a:xfrm>
              <a:off x="6865333" y="3412914"/>
              <a:ext cx="1182969" cy="1182969"/>
            </a:xfrm>
            <a:custGeom>
              <a:avLst/>
              <a:gdLst>
                <a:gd name="T0" fmla="*/ 0 w 887"/>
                <a:gd name="T1" fmla="*/ 466 h 886"/>
                <a:gd name="T2" fmla="*/ 9 w 887"/>
                <a:gd name="T3" fmla="*/ 532 h 886"/>
                <a:gd name="T4" fmla="*/ 28 w 887"/>
                <a:gd name="T5" fmla="*/ 595 h 886"/>
                <a:gd name="T6" fmla="*/ 54 w 887"/>
                <a:gd name="T7" fmla="*/ 655 h 886"/>
                <a:gd name="T8" fmla="*/ 89 w 887"/>
                <a:gd name="T9" fmla="*/ 709 h 886"/>
                <a:gd name="T10" fmla="*/ 130 w 887"/>
                <a:gd name="T11" fmla="*/ 757 h 886"/>
                <a:gd name="T12" fmla="*/ 178 w 887"/>
                <a:gd name="T13" fmla="*/ 798 h 886"/>
                <a:gd name="T14" fmla="*/ 233 w 887"/>
                <a:gd name="T15" fmla="*/ 833 h 886"/>
                <a:gd name="T16" fmla="*/ 291 w 887"/>
                <a:gd name="T17" fmla="*/ 860 h 886"/>
                <a:gd name="T18" fmla="*/ 355 w 887"/>
                <a:gd name="T19" fmla="*/ 878 h 886"/>
                <a:gd name="T20" fmla="*/ 421 w 887"/>
                <a:gd name="T21" fmla="*/ 886 h 886"/>
                <a:gd name="T22" fmla="*/ 467 w 887"/>
                <a:gd name="T23" fmla="*/ 886 h 886"/>
                <a:gd name="T24" fmla="*/ 534 w 887"/>
                <a:gd name="T25" fmla="*/ 878 h 886"/>
                <a:gd name="T26" fmla="*/ 596 w 887"/>
                <a:gd name="T27" fmla="*/ 860 h 886"/>
                <a:gd name="T28" fmla="*/ 656 w 887"/>
                <a:gd name="T29" fmla="*/ 833 h 886"/>
                <a:gd name="T30" fmla="*/ 709 w 887"/>
                <a:gd name="T31" fmla="*/ 798 h 886"/>
                <a:gd name="T32" fmla="*/ 757 w 887"/>
                <a:gd name="T33" fmla="*/ 757 h 886"/>
                <a:gd name="T34" fmla="*/ 800 w 887"/>
                <a:gd name="T35" fmla="*/ 709 h 886"/>
                <a:gd name="T36" fmla="*/ 833 w 887"/>
                <a:gd name="T37" fmla="*/ 655 h 886"/>
                <a:gd name="T38" fmla="*/ 861 w 887"/>
                <a:gd name="T39" fmla="*/ 595 h 886"/>
                <a:gd name="T40" fmla="*/ 878 w 887"/>
                <a:gd name="T41" fmla="*/ 532 h 886"/>
                <a:gd name="T42" fmla="*/ 887 w 887"/>
                <a:gd name="T43" fmla="*/ 466 h 886"/>
                <a:gd name="T44" fmla="*/ 887 w 887"/>
                <a:gd name="T45" fmla="*/ 420 h 886"/>
                <a:gd name="T46" fmla="*/ 878 w 887"/>
                <a:gd name="T47" fmla="*/ 354 h 886"/>
                <a:gd name="T48" fmla="*/ 861 w 887"/>
                <a:gd name="T49" fmla="*/ 291 h 886"/>
                <a:gd name="T50" fmla="*/ 833 w 887"/>
                <a:gd name="T51" fmla="*/ 232 h 886"/>
                <a:gd name="T52" fmla="*/ 800 w 887"/>
                <a:gd name="T53" fmla="*/ 177 h 886"/>
                <a:gd name="T54" fmla="*/ 757 w 887"/>
                <a:gd name="T55" fmla="*/ 129 h 886"/>
                <a:gd name="T56" fmla="*/ 709 w 887"/>
                <a:gd name="T57" fmla="*/ 88 h 886"/>
                <a:gd name="T58" fmla="*/ 656 w 887"/>
                <a:gd name="T59" fmla="*/ 53 h 886"/>
                <a:gd name="T60" fmla="*/ 596 w 887"/>
                <a:gd name="T61" fmla="*/ 26 h 886"/>
                <a:gd name="T62" fmla="*/ 534 w 887"/>
                <a:gd name="T63" fmla="*/ 8 h 886"/>
                <a:gd name="T64" fmla="*/ 467 w 887"/>
                <a:gd name="T65" fmla="*/ 0 h 886"/>
                <a:gd name="T66" fmla="*/ 421 w 887"/>
                <a:gd name="T67" fmla="*/ 0 h 886"/>
                <a:gd name="T68" fmla="*/ 355 w 887"/>
                <a:gd name="T69" fmla="*/ 8 h 886"/>
                <a:gd name="T70" fmla="*/ 291 w 887"/>
                <a:gd name="T71" fmla="*/ 26 h 886"/>
                <a:gd name="T72" fmla="*/ 233 w 887"/>
                <a:gd name="T73" fmla="*/ 53 h 886"/>
                <a:gd name="T74" fmla="*/ 178 w 887"/>
                <a:gd name="T75" fmla="*/ 88 h 886"/>
                <a:gd name="T76" fmla="*/ 130 w 887"/>
                <a:gd name="T77" fmla="*/ 129 h 886"/>
                <a:gd name="T78" fmla="*/ 89 w 887"/>
                <a:gd name="T79" fmla="*/ 177 h 886"/>
                <a:gd name="T80" fmla="*/ 54 w 887"/>
                <a:gd name="T81" fmla="*/ 232 h 886"/>
                <a:gd name="T82" fmla="*/ 28 w 887"/>
                <a:gd name="T83" fmla="*/ 291 h 886"/>
                <a:gd name="T84" fmla="*/ 9 w 887"/>
                <a:gd name="T85" fmla="*/ 354 h 886"/>
                <a:gd name="T86" fmla="*/ 0 w 887"/>
                <a:gd name="T87" fmla="*/ 420 h 8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887" h="886">
                  <a:moveTo>
                    <a:pt x="0" y="444"/>
                  </a:moveTo>
                  <a:lnTo>
                    <a:pt x="0" y="444"/>
                  </a:lnTo>
                  <a:lnTo>
                    <a:pt x="0" y="466"/>
                  </a:lnTo>
                  <a:lnTo>
                    <a:pt x="3" y="488"/>
                  </a:lnTo>
                  <a:lnTo>
                    <a:pt x="5" y="511"/>
                  </a:lnTo>
                  <a:lnTo>
                    <a:pt x="9" y="532"/>
                  </a:lnTo>
                  <a:lnTo>
                    <a:pt x="14" y="554"/>
                  </a:lnTo>
                  <a:lnTo>
                    <a:pt x="20" y="576"/>
                  </a:lnTo>
                  <a:lnTo>
                    <a:pt x="28" y="595"/>
                  </a:lnTo>
                  <a:lnTo>
                    <a:pt x="35" y="615"/>
                  </a:lnTo>
                  <a:lnTo>
                    <a:pt x="44" y="635"/>
                  </a:lnTo>
                  <a:lnTo>
                    <a:pt x="54" y="655"/>
                  </a:lnTo>
                  <a:lnTo>
                    <a:pt x="65" y="674"/>
                  </a:lnTo>
                  <a:lnTo>
                    <a:pt x="76" y="691"/>
                  </a:lnTo>
                  <a:lnTo>
                    <a:pt x="89" y="709"/>
                  </a:lnTo>
                  <a:lnTo>
                    <a:pt x="101" y="726"/>
                  </a:lnTo>
                  <a:lnTo>
                    <a:pt x="116" y="741"/>
                  </a:lnTo>
                  <a:lnTo>
                    <a:pt x="130" y="757"/>
                  </a:lnTo>
                  <a:lnTo>
                    <a:pt x="146" y="772"/>
                  </a:lnTo>
                  <a:lnTo>
                    <a:pt x="162" y="786"/>
                  </a:lnTo>
                  <a:lnTo>
                    <a:pt x="178" y="798"/>
                  </a:lnTo>
                  <a:lnTo>
                    <a:pt x="196" y="811"/>
                  </a:lnTo>
                  <a:lnTo>
                    <a:pt x="214" y="823"/>
                  </a:lnTo>
                  <a:lnTo>
                    <a:pt x="233" y="833"/>
                  </a:lnTo>
                  <a:lnTo>
                    <a:pt x="251" y="843"/>
                  </a:lnTo>
                  <a:lnTo>
                    <a:pt x="271" y="852"/>
                  </a:lnTo>
                  <a:lnTo>
                    <a:pt x="291" y="860"/>
                  </a:lnTo>
                  <a:lnTo>
                    <a:pt x="312" y="867"/>
                  </a:lnTo>
                  <a:lnTo>
                    <a:pt x="332" y="873"/>
                  </a:lnTo>
                  <a:lnTo>
                    <a:pt x="355" y="878"/>
                  </a:lnTo>
                  <a:lnTo>
                    <a:pt x="376" y="881"/>
                  </a:lnTo>
                  <a:lnTo>
                    <a:pt x="398" y="885"/>
                  </a:lnTo>
                  <a:lnTo>
                    <a:pt x="421" y="886"/>
                  </a:lnTo>
                  <a:lnTo>
                    <a:pt x="444" y="886"/>
                  </a:lnTo>
                  <a:lnTo>
                    <a:pt x="444" y="886"/>
                  </a:lnTo>
                  <a:lnTo>
                    <a:pt x="467" y="886"/>
                  </a:lnTo>
                  <a:lnTo>
                    <a:pt x="489" y="885"/>
                  </a:lnTo>
                  <a:lnTo>
                    <a:pt x="511" y="881"/>
                  </a:lnTo>
                  <a:lnTo>
                    <a:pt x="534" y="878"/>
                  </a:lnTo>
                  <a:lnTo>
                    <a:pt x="555" y="873"/>
                  </a:lnTo>
                  <a:lnTo>
                    <a:pt x="576" y="867"/>
                  </a:lnTo>
                  <a:lnTo>
                    <a:pt x="596" y="860"/>
                  </a:lnTo>
                  <a:lnTo>
                    <a:pt x="617" y="852"/>
                  </a:lnTo>
                  <a:lnTo>
                    <a:pt x="636" y="843"/>
                  </a:lnTo>
                  <a:lnTo>
                    <a:pt x="656" y="833"/>
                  </a:lnTo>
                  <a:lnTo>
                    <a:pt x="674" y="823"/>
                  </a:lnTo>
                  <a:lnTo>
                    <a:pt x="692" y="811"/>
                  </a:lnTo>
                  <a:lnTo>
                    <a:pt x="709" y="798"/>
                  </a:lnTo>
                  <a:lnTo>
                    <a:pt x="726" y="786"/>
                  </a:lnTo>
                  <a:lnTo>
                    <a:pt x="743" y="772"/>
                  </a:lnTo>
                  <a:lnTo>
                    <a:pt x="757" y="757"/>
                  </a:lnTo>
                  <a:lnTo>
                    <a:pt x="772" y="741"/>
                  </a:lnTo>
                  <a:lnTo>
                    <a:pt x="786" y="726"/>
                  </a:lnTo>
                  <a:lnTo>
                    <a:pt x="800" y="709"/>
                  </a:lnTo>
                  <a:lnTo>
                    <a:pt x="811" y="691"/>
                  </a:lnTo>
                  <a:lnTo>
                    <a:pt x="823" y="674"/>
                  </a:lnTo>
                  <a:lnTo>
                    <a:pt x="833" y="655"/>
                  </a:lnTo>
                  <a:lnTo>
                    <a:pt x="843" y="635"/>
                  </a:lnTo>
                  <a:lnTo>
                    <a:pt x="852" y="615"/>
                  </a:lnTo>
                  <a:lnTo>
                    <a:pt x="861" y="595"/>
                  </a:lnTo>
                  <a:lnTo>
                    <a:pt x="867" y="576"/>
                  </a:lnTo>
                  <a:lnTo>
                    <a:pt x="873" y="554"/>
                  </a:lnTo>
                  <a:lnTo>
                    <a:pt x="878" y="532"/>
                  </a:lnTo>
                  <a:lnTo>
                    <a:pt x="882" y="511"/>
                  </a:lnTo>
                  <a:lnTo>
                    <a:pt x="886" y="488"/>
                  </a:lnTo>
                  <a:lnTo>
                    <a:pt x="887" y="466"/>
                  </a:lnTo>
                  <a:lnTo>
                    <a:pt x="887" y="444"/>
                  </a:lnTo>
                  <a:lnTo>
                    <a:pt x="887" y="444"/>
                  </a:lnTo>
                  <a:lnTo>
                    <a:pt x="887" y="420"/>
                  </a:lnTo>
                  <a:lnTo>
                    <a:pt x="886" y="398"/>
                  </a:lnTo>
                  <a:lnTo>
                    <a:pt x="882" y="375"/>
                  </a:lnTo>
                  <a:lnTo>
                    <a:pt x="878" y="354"/>
                  </a:lnTo>
                  <a:lnTo>
                    <a:pt x="873" y="332"/>
                  </a:lnTo>
                  <a:lnTo>
                    <a:pt x="867" y="311"/>
                  </a:lnTo>
                  <a:lnTo>
                    <a:pt x="861" y="291"/>
                  </a:lnTo>
                  <a:lnTo>
                    <a:pt x="852" y="271"/>
                  </a:lnTo>
                  <a:lnTo>
                    <a:pt x="843" y="251"/>
                  </a:lnTo>
                  <a:lnTo>
                    <a:pt x="833" y="232"/>
                  </a:lnTo>
                  <a:lnTo>
                    <a:pt x="823" y="214"/>
                  </a:lnTo>
                  <a:lnTo>
                    <a:pt x="811" y="195"/>
                  </a:lnTo>
                  <a:lnTo>
                    <a:pt x="800" y="177"/>
                  </a:lnTo>
                  <a:lnTo>
                    <a:pt x="786" y="161"/>
                  </a:lnTo>
                  <a:lnTo>
                    <a:pt x="772" y="145"/>
                  </a:lnTo>
                  <a:lnTo>
                    <a:pt x="757" y="129"/>
                  </a:lnTo>
                  <a:lnTo>
                    <a:pt x="743" y="114"/>
                  </a:lnTo>
                  <a:lnTo>
                    <a:pt x="726" y="100"/>
                  </a:lnTo>
                  <a:lnTo>
                    <a:pt x="709" y="88"/>
                  </a:lnTo>
                  <a:lnTo>
                    <a:pt x="692" y="75"/>
                  </a:lnTo>
                  <a:lnTo>
                    <a:pt x="674" y="63"/>
                  </a:lnTo>
                  <a:lnTo>
                    <a:pt x="656" y="53"/>
                  </a:lnTo>
                  <a:lnTo>
                    <a:pt x="636" y="43"/>
                  </a:lnTo>
                  <a:lnTo>
                    <a:pt x="617" y="34"/>
                  </a:lnTo>
                  <a:lnTo>
                    <a:pt x="596" y="26"/>
                  </a:lnTo>
                  <a:lnTo>
                    <a:pt x="576" y="20"/>
                  </a:lnTo>
                  <a:lnTo>
                    <a:pt x="555" y="13"/>
                  </a:lnTo>
                  <a:lnTo>
                    <a:pt x="534" y="8"/>
                  </a:lnTo>
                  <a:lnTo>
                    <a:pt x="511" y="5"/>
                  </a:lnTo>
                  <a:lnTo>
                    <a:pt x="489" y="2"/>
                  </a:lnTo>
                  <a:lnTo>
                    <a:pt x="467" y="0"/>
                  </a:lnTo>
                  <a:lnTo>
                    <a:pt x="444" y="0"/>
                  </a:lnTo>
                  <a:lnTo>
                    <a:pt x="444" y="0"/>
                  </a:lnTo>
                  <a:lnTo>
                    <a:pt x="421" y="0"/>
                  </a:lnTo>
                  <a:lnTo>
                    <a:pt x="398" y="2"/>
                  </a:lnTo>
                  <a:lnTo>
                    <a:pt x="376" y="5"/>
                  </a:lnTo>
                  <a:lnTo>
                    <a:pt x="355" y="8"/>
                  </a:lnTo>
                  <a:lnTo>
                    <a:pt x="332" y="13"/>
                  </a:lnTo>
                  <a:lnTo>
                    <a:pt x="312" y="20"/>
                  </a:lnTo>
                  <a:lnTo>
                    <a:pt x="291" y="26"/>
                  </a:lnTo>
                  <a:lnTo>
                    <a:pt x="271" y="34"/>
                  </a:lnTo>
                  <a:lnTo>
                    <a:pt x="251" y="43"/>
                  </a:lnTo>
                  <a:lnTo>
                    <a:pt x="233" y="53"/>
                  </a:lnTo>
                  <a:lnTo>
                    <a:pt x="214" y="63"/>
                  </a:lnTo>
                  <a:lnTo>
                    <a:pt x="196" y="75"/>
                  </a:lnTo>
                  <a:lnTo>
                    <a:pt x="178" y="88"/>
                  </a:lnTo>
                  <a:lnTo>
                    <a:pt x="162" y="100"/>
                  </a:lnTo>
                  <a:lnTo>
                    <a:pt x="146" y="114"/>
                  </a:lnTo>
                  <a:lnTo>
                    <a:pt x="130" y="129"/>
                  </a:lnTo>
                  <a:lnTo>
                    <a:pt x="116" y="145"/>
                  </a:lnTo>
                  <a:lnTo>
                    <a:pt x="101" y="161"/>
                  </a:lnTo>
                  <a:lnTo>
                    <a:pt x="89" y="177"/>
                  </a:lnTo>
                  <a:lnTo>
                    <a:pt x="76" y="195"/>
                  </a:lnTo>
                  <a:lnTo>
                    <a:pt x="65" y="214"/>
                  </a:lnTo>
                  <a:lnTo>
                    <a:pt x="54" y="232"/>
                  </a:lnTo>
                  <a:lnTo>
                    <a:pt x="44" y="251"/>
                  </a:lnTo>
                  <a:lnTo>
                    <a:pt x="35" y="271"/>
                  </a:lnTo>
                  <a:lnTo>
                    <a:pt x="28" y="291"/>
                  </a:lnTo>
                  <a:lnTo>
                    <a:pt x="20" y="311"/>
                  </a:lnTo>
                  <a:lnTo>
                    <a:pt x="14" y="332"/>
                  </a:lnTo>
                  <a:lnTo>
                    <a:pt x="9" y="354"/>
                  </a:lnTo>
                  <a:lnTo>
                    <a:pt x="5" y="375"/>
                  </a:lnTo>
                  <a:lnTo>
                    <a:pt x="3" y="398"/>
                  </a:lnTo>
                  <a:lnTo>
                    <a:pt x="0" y="420"/>
                  </a:lnTo>
                  <a:lnTo>
                    <a:pt x="0" y="444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oval" w="med" len="med"/>
              <a:tailEnd type="oval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6" name="Freeform 102"/>
            <p:cNvSpPr>
              <a:spLocks noEditPoints="1"/>
            </p:cNvSpPr>
            <p:nvPr/>
          </p:nvSpPr>
          <p:spPr bwMode="auto">
            <a:xfrm>
              <a:off x="7247687" y="3805849"/>
              <a:ext cx="426377" cy="428184"/>
            </a:xfrm>
            <a:custGeom>
              <a:avLst/>
              <a:gdLst>
                <a:gd name="T0" fmla="*/ 848 w 946"/>
                <a:gd name="T1" fmla="*/ 911 h 948"/>
                <a:gd name="T2" fmla="*/ 896 w 946"/>
                <a:gd name="T3" fmla="*/ 821 h 948"/>
                <a:gd name="T4" fmla="*/ 907 w 946"/>
                <a:gd name="T5" fmla="*/ 878 h 948"/>
                <a:gd name="T6" fmla="*/ 333 w 946"/>
                <a:gd name="T7" fmla="*/ 720 h 948"/>
                <a:gd name="T8" fmla="*/ 330 w 946"/>
                <a:gd name="T9" fmla="*/ 786 h 948"/>
                <a:gd name="T10" fmla="*/ 298 w 946"/>
                <a:gd name="T11" fmla="*/ 844 h 948"/>
                <a:gd name="T12" fmla="*/ 229 w 946"/>
                <a:gd name="T13" fmla="*/ 890 h 948"/>
                <a:gd name="T14" fmla="*/ 160 w 946"/>
                <a:gd name="T15" fmla="*/ 895 h 948"/>
                <a:gd name="T16" fmla="*/ 37 w 946"/>
                <a:gd name="T17" fmla="*/ 771 h 948"/>
                <a:gd name="T18" fmla="*/ 38 w 946"/>
                <a:gd name="T19" fmla="*/ 715 h 948"/>
                <a:gd name="T20" fmla="*/ 61 w 946"/>
                <a:gd name="T21" fmla="*/ 663 h 948"/>
                <a:gd name="T22" fmla="*/ 115 w 946"/>
                <a:gd name="T23" fmla="*/ 614 h 948"/>
                <a:gd name="T24" fmla="*/ 200 w 946"/>
                <a:gd name="T25" fmla="*/ 598 h 948"/>
                <a:gd name="T26" fmla="*/ 608 w 946"/>
                <a:gd name="T27" fmla="*/ 244 h 948"/>
                <a:gd name="T28" fmla="*/ 596 w 946"/>
                <a:gd name="T29" fmla="*/ 180 h 948"/>
                <a:gd name="T30" fmla="*/ 614 w 946"/>
                <a:gd name="T31" fmla="*/ 116 h 948"/>
                <a:gd name="T32" fmla="*/ 663 w 946"/>
                <a:gd name="T33" fmla="*/ 61 h 948"/>
                <a:gd name="T34" fmla="*/ 745 w 946"/>
                <a:gd name="T35" fmla="*/ 36 h 948"/>
                <a:gd name="T36" fmla="*/ 725 w 946"/>
                <a:gd name="T37" fmla="*/ 206 h 948"/>
                <a:gd name="T38" fmla="*/ 896 w 946"/>
                <a:gd name="T39" fmla="*/ 189 h 948"/>
                <a:gd name="T40" fmla="*/ 884 w 946"/>
                <a:gd name="T41" fmla="*/ 244 h 948"/>
                <a:gd name="T42" fmla="*/ 852 w 946"/>
                <a:gd name="T43" fmla="*/ 292 h 948"/>
                <a:gd name="T44" fmla="*/ 776 w 946"/>
                <a:gd name="T45" fmla="*/ 332 h 948"/>
                <a:gd name="T46" fmla="*/ 687 w 946"/>
                <a:gd name="T47" fmla="*/ 323 h 948"/>
                <a:gd name="T48" fmla="*/ 185 w 946"/>
                <a:gd name="T49" fmla="*/ 160 h 948"/>
                <a:gd name="T50" fmla="*/ 734 w 946"/>
                <a:gd name="T51" fmla="*/ 560 h 948"/>
                <a:gd name="T52" fmla="*/ 730 w 946"/>
                <a:gd name="T53" fmla="*/ 370 h 948"/>
                <a:gd name="T54" fmla="*/ 833 w 946"/>
                <a:gd name="T55" fmla="*/ 349 h 948"/>
                <a:gd name="T56" fmla="*/ 903 w 946"/>
                <a:gd name="T57" fmla="*/ 283 h 948"/>
                <a:gd name="T58" fmla="*/ 930 w 946"/>
                <a:gd name="T59" fmla="*/ 207 h 948"/>
                <a:gd name="T60" fmla="*/ 922 w 946"/>
                <a:gd name="T61" fmla="*/ 126 h 948"/>
                <a:gd name="T62" fmla="*/ 844 w 946"/>
                <a:gd name="T63" fmla="*/ 26 h 948"/>
                <a:gd name="T64" fmla="*/ 727 w 946"/>
                <a:gd name="T65" fmla="*/ 1 h 948"/>
                <a:gd name="T66" fmla="*/ 629 w 946"/>
                <a:gd name="T67" fmla="*/ 42 h 948"/>
                <a:gd name="T68" fmla="*/ 577 w 946"/>
                <a:gd name="T69" fmla="*/ 108 h 948"/>
                <a:gd name="T70" fmla="*/ 561 w 946"/>
                <a:gd name="T71" fmla="*/ 183 h 948"/>
                <a:gd name="T72" fmla="*/ 421 w 946"/>
                <a:gd name="T73" fmla="*/ 398 h 948"/>
                <a:gd name="T74" fmla="*/ 185 w 946"/>
                <a:gd name="T75" fmla="*/ 211 h 948"/>
                <a:gd name="T76" fmla="*/ 185 w 946"/>
                <a:gd name="T77" fmla="*/ 562 h 948"/>
                <a:gd name="T78" fmla="*/ 82 w 946"/>
                <a:gd name="T79" fmla="*/ 592 h 948"/>
                <a:gd name="T80" fmla="*/ 21 w 946"/>
                <a:gd name="T81" fmla="*/ 660 h 948"/>
                <a:gd name="T82" fmla="*/ 0 w 946"/>
                <a:gd name="T83" fmla="*/ 739 h 948"/>
                <a:gd name="T84" fmla="*/ 15 w 946"/>
                <a:gd name="T85" fmla="*/ 820 h 948"/>
                <a:gd name="T86" fmla="*/ 111 w 946"/>
                <a:gd name="T87" fmla="*/ 916 h 948"/>
                <a:gd name="T88" fmla="*/ 222 w 946"/>
                <a:gd name="T89" fmla="*/ 928 h 948"/>
                <a:gd name="T90" fmla="*/ 316 w 946"/>
                <a:gd name="T91" fmla="*/ 877 h 948"/>
                <a:gd name="T92" fmla="*/ 359 w 946"/>
                <a:gd name="T93" fmla="*/ 811 h 948"/>
                <a:gd name="T94" fmla="*/ 370 w 946"/>
                <a:gd name="T95" fmla="*/ 736 h 948"/>
                <a:gd name="T96" fmla="*/ 634 w 946"/>
                <a:gd name="T97" fmla="*/ 659 h 948"/>
                <a:gd name="T98" fmla="*/ 809 w 946"/>
                <a:gd name="T99" fmla="*/ 932 h 948"/>
                <a:gd name="T100" fmla="*/ 859 w 946"/>
                <a:gd name="T101" fmla="*/ 948 h 948"/>
                <a:gd name="T102" fmla="*/ 907 w 946"/>
                <a:gd name="T103" fmla="*/ 932 h 948"/>
                <a:gd name="T104" fmla="*/ 940 w 946"/>
                <a:gd name="T105" fmla="*/ 892 h 948"/>
                <a:gd name="T106" fmla="*/ 945 w 946"/>
                <a:gd name="T107" fmla="*/ 842 h 948"/>
                <a:gd name="T108" fmla="*/ 920 w 946"/>
                <a:gd name="T109" fmla="*/ 796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946" h="948">
                  <a:moveTo>
                    <a:pt x="896" y="896"/>
                  </a:moveTo>
                  <a:lnTo>
                    <a:pt x="888" y="903"/>
                  </a:lnTo>
                  <a:lnTo>
                    <a:pt x="878" y="908"/>
                  </a:lnTo>
                  <a:lnTo>
                    <a:pt x="869" y="911"/>
                  </a:lnTo>
                  <a:lnTo>
                    <a:pt x="859" y="912"/>
                  </a:lnTo>
                  <a:lnTo>
                    <a:pt x="848" y="911"/>
                  </a:lnTo>
                  <a:lnTo>
                    <a:pt x="838" y="908"/>
                  </a:lnTo>
                  <a:lnTo>
                    <a:pt x="829" y="903"/>
                  </a:lnTo>
                  <a:lnTo>
                    <a:pt x="821" y="896"/>
                  </a:lnTo>
                  <a:lnTo>
                    <a:pt x="634" y="709"/>
                  </a:lnTo>
                  <a:lnTo>
                    <a:pt x="709" y="634"/>
                  </a:lnTo>
                  <a:lnTo>
                    <a:pt x="896" y="821"/>
                  </a:lnTo>
                  <a:lnTo>
                    <a:pt x="902" y="830"/>
                  </a:lnTo>
                  <a:lnTo>
                    <a:pt x="907" y="838"/>
                  </a:lnTo>
                  <a:lnTo>
                    <a:pt x="911" y="849"/>
                  </a:lnTo>
                  <a:lnTo>
                    <a:pt x="911" y="859"/>
                  </a:lnTo>
                  <a:lnTo>
                    <a:pt x="911" y="869"/>
                  </a:lnTo>
                  <a:lnTo>
                    <a:pt x="907" y="878"/>
                  </a:lnTo>
                  <a:lnTo>
                    <a:pt x="902" y="888"/>
                  </a:lnTo>
                  <a:lnTo>
                    <a:pt x="896" y="896"/>
                  </a:lnTo>
                  <a:close/>
                  <a:moveTo>
                    <a:pt x="322" y="687"/>
                  </a:moveTo>
                  <a:lnTo>
                    <a:pt x="326" y="698"/>
                  </a:lnTo>
                  <a:lnTo>
                    <a:pt x="330" y="709"/>
                  </a:lnTo>
                  <a:lnTo>
                    <a:pt x="333" y="720"/>
                  </a:lnTo>
                  <a:lnTo>
                    <a:pt x="334" y="730"/>
                  </a:lnTo>
                  <a:lnTo>
                    <a:pt x="335" y="742"/>
                  </a:lnTo>
                  <a:lnTo>
                    <a:pt x="335" y="753"/>
                  </a:lnTo>
                  <a:lnTo>
                    <a:pt x="334" y="764"/>
                  </a:lnTo>
                  <a:lnTo>
                    <a:pt x="332" y="775"/>
                  </a:lnTo>
                  <a:lnTo>
                    <a:pt x="330" y="786"/>
                  </a:lnTo>
                  <a:lnTo>
                    <a:pt x="326" y="796"/>
                  </a:lnTo>
                  <a:lnTo>
                    <a:pt x="322" y="806"/>
                  </a:lnTo>
                  <a:lnTo>
                    <a:pt x="318" y="816"/>
                  </a:lnTo>
                  <a:lnTo>
                    <a:pt x="312" y="825"/>
                  </a:lnTo>
                  <a:lnTo>
                    <a:pt x="306" y="835"/>
                  </a:lnTo>
                  <a:lnTo>
                    <a:pt x="298" y="844"/>
                  </a:lnTo>
                  <a:lnTo>
                    <a:pt x="291" y="852"/>
                  </a:lnTo>
                  <a:lnTo>
                    <a:pt x="280" y="862"/>
                  </a:lnTo>
                  <a:lnTo>
                    <a:pt x="268" y="871"/>
                  </a:lnTo>
                  <a:lnTo>
                    <a:pt x="255" y="878"/>
                  </a:lnTo>
                  <a:lnTo>
                    <a:pt x="242" y="885"/>
                  </a:lnTo>
                  <a:lnTo>
                    <a:pt x="229" y="890"/>
                  </a:lnTo>
                  <a:lnTo>
                    <a:pt x="214" y="894"/>
                  </a:lnTo>
                  <a:lnTo>
                    <a:pt x="200" y="896"/>
                  </a:lnTo>
                  <a:lnTo>
                    <a:pt x="185" y="897"/>
                  </a:lnTo>
                  <a:lnTo>
                    <a:pt x="176" y="896"/>
                  </a:lnTo>
                  <a:lnTo>
                    <a:pt x="168" y="896"/>
                  </a:lnTo>
                  <a:lnTo>
                    <a:pt x="160" y="895"/>
                  </a:lnTo>
                  <a:lnTo>
                    <a:pt x="151" y="892"/>
                  </a:lnTo>
                  <a:lnTo>
                    <a:pt x="203" y="841"/>
                  </a:lnTo>
                  <a:lnTo>
                    <a:pt x="204" y="725"/>
                  </a:lnTo>
                  <a:lnTo>
                    <a:pt x="92" y="727"/>
                  </a:lnTo>
                  <a:lnTo>
                    <a:pt x="39" y="780"/>
                  </a:lnTo>
                  <a:lnTo>
                    <a:pt x="37" y="771"/>
                  </a:lnTo>
                  <a:lnTo>
                    <a:pt x="36" y="762"/>
                  </a:lnTo>
                  <a:lnTo>
                    <a:pt x="35" y="752"/>
                  </a:lnTo>
                  <a:lnTo>
                    <a:pt x="35" y="742"/>
                  </a:lnTo>
                  <a:lnTo>
                    <a:pt x="36" y="734"/>
                  </a:lnTo>
                  <a:lnTo>
                    <a:pt x="37" y="724"/>
                  </a:lnTo>
                  <a:lnTo>
                    <a:pt x="38" y="715"/>
                  </a:lnTo>
                  <a:lnTo>
                    <a:pt x="40" y="706"/>
                  </a:lnTo>
                  <a:lnTo>
                    <a:pt x="43" y="697"/>
                  </a:lnTo>
                  <a:lnTo>
                    <a:pt x="47" y="688"/>
                  </a:lnTo>
                  <a:lnTo>
                    <a:pt x="51" y="680"/>
                  </a:lnTo>
                  <a:lnTo>
                    <a:pt x="55" y="671"/>
                  </a:lnTo>
                  <a:lnTo>
                    <a:pt x="61" y="663"/>
                  </a:lnTo>
                  <a:lnTo>
                    <a:pt x="66" y="655"/>
                  </a:lnTo>
                  <a:lnTo>
                    <a:pt x="73" y="647"/>
                  </a:lnTo>
                  <a:lnTo>
                    <a:pt x="79" y="641"/>
                  </a:lnTo>
                  <a:lnTo>
                    <a:pt x="90" y="631"/>
                  </a:lnTo>
                  <a:lnTo>
                    <a:pt x="102" y="621"/>
                  </a:lnTo>
                  <a:lnTo>
                    <a:pt x="115" y="614"/>
                  </a:lnTo>
                  <a:lnTo>
                    <a:pt x="128" y="608"/>
                  </a:lnTo>
                  <a:lnTo>
                    <a:pt x="141" y="603"/>
                  </a:lnTo>
                  <a:lnTo>
                    <a:pt x="156" y="600"/>
                  </a:lnTo>
                  <a:lnTo>
                    <a:pt x="170" y="598"/>
                  </a:lnTo>
                  <a:lnTo>
                    <a:pt x="185" y="597"/>
                  </a:lnTo>
                  <a:lnTo>
                    <a:pt x="200" y="598"/>
                  </a:lnTo>
                  <a:lnTo>
                    <a:pt x="215" y="600"/>
                  </a:lnTo>
                  <a:lnTo>
                    <a:pt x="230" y="604"/>
                  </a:lnTo>
                  <a:lnTo>
                    <a:pt x="244" y="609"/>
                  </a:lnTo>
                  <a:lnTo>
                    <a:pt x="255" y="614"/>
                  </a:lnTo>
                  <a:lnTo>
                    <a:pt x="614" y="256"/>
                  </a:lnTo>
                  <a:lnTo>
                    <a:pt x="608" y="244"/>
                  </a:lnTo>
                  <a:lnTo>
                    <a:pt x="604" y="235"/>
                  </a:lnTo>
                  <a:lnTo>
                    <a:pt x="601" y="223"/>
                  </a:lnTo>
                  <a:lnTo>
                    <a:pt x="599" y="212"/>
                  </a:lnTo>
                  <a:lnTo>
                    <a:pt x="597" y="201"/>
                  </a:lnTo>
                  <a:lnTo>
                    <a:pt x="596" y="190"/>
                  </a:lnTo>
                  <a:lnTo>
                    <a:pt x="596" y="180"/>
                  </a:lnTo>
                  <a:lnTo>
                    <a:pt x="597" y="168"/>
                  </a:lnTo>
                  <a:lnTo>
                    <a:pt x="599" y="157"/>
                  </a:lnTo>
                  <a:lnTo>
                    <a:pt x="601" y="146"/>
                  </a:lnTo>
                  <a:lnTo>
                    <a:pt x="604" y="136"/>
                  </a:lnTo>
                  <a:lnTo>
                    <a:pt x="608" y="126"/>
                  </a:lnTo>
                  <a:lnTo>
                    <a:pt x="614" y="116"/>
                  </a:lnTo>
                  <a:lnTo>
                    <a:pt x="619" y="106"/>
                  </a:lnTo>
                  <a:lnTo>
                    <a:pt x="626" y="96"/>
                  </a:lnTo>
                  <a:lnTo>
                    <a:pt x="632" y="88"/>
                  </a:lnTo>
                  <a:lnTo>
                    <a:pt x="640" y="79"/>
                  </a:lnTo>
                  <a:lnTo>
                    <a:pt x="651" y="69"/>
                  </a:lnTo>
                  <a:lnTo>
                    <a:pt x="663" y="61"/>
                  </a:lnTo>
                  <a:lnTo>
                    <a:pt x="675" y="53"/>
                  </a:lnTo>
                  <a:lnTo>
                    <a:pt x="688" y="47"/>
                  </a:lnTo>
                  <a:lnTo>
                    <a:pt x="702" y="42"/>
                  </a:lnTo>
                  <a:lnTo>
                    <a:pt x="716" y="38"/>
                  </a:lnTo>
                  <a:lnTo>
                    <a:pt x="731" y="36"/>
                  </a:lnTo>
                  <a:lnTo>
                    <a:pt x="745" y="36"/>
                  </a:lnTo>
                  <a:lnTo>
                    <a:pt x="754" y="36"/>
                  </a:lnTo>
                  <a:lnTo>
                    <a:pt x="763" y="37"/>
                  </a:lnTo>
                  <a:lnTo>
                    <a:pt x="771" y="38"/>
                  </a:lnTo>
                  <a:lnTo>
                    <a:pt x="780" y="39"/>
                  </a:lnTo>
                  <a:lnTo>
                    <a:pt x="726" y="93"/>
                  </a:lnTo>
                  <a:lnTo>
                    <a:pt x="725" y="206"/>
                  </a:lnTo>
                  <a:lnTo>
                    <a:pt x="841" y="203"/>
                  </a:lnTo>
                  <a:lnTo>
                    <a:pt x="892" y="152"/>
                  </a:lnTo>
                  <a:lnTo>
                    <a:pt x="893" y="161"/>
                  </a:lnTo>
                  <a:lnTo>
                    <a:pt x="896" y="171"/>
                  </a:lnTo>
                  <a:lnTo>
                    <a:pt x="896" y="180"/>
                  </a:lnTo>
                  <a:lnTo>
                    <a:pt x="896" y="189"/>
                  </a:lnTo>
                  <a:lnTo>
                    <a:pt x="896" y="199"/>
                  </a:lnTo>
                  <a:lnTo>
                    <a:pt x="895" y="208"/>
                  </a:lnTo>
                  <a:lnTo>
                    <a:pt x="892" y="217"/>
                  </a:lnTo>
                  <a:lnTo>
                    <a:pt x="890" y="226"/>
                  </a:lnTo>
                  <a:lnTo>
                    <a:pt x="888" y="236"/>
                  </a:lnTo>
                  <a:lnTo>
                    <a:pt x="884" y="244"/>
                  </a:lnTo>
                  <a:lnTo>
                    <a:pt x="880" y="253"/>
                  </a:lnTo>
                  <a:lnTo>
                    <a:pt x="876" y="261"/>
                  </a:lnTo>
                  <a:lnTo>
                    <a:pt x="871" y="269"/>
                  </a:lnTo>
                  <a:lnTo>
                    <a:pt x="865" y="277"/>
                  </a:lnTo>
                  <a:lnTo>
                    <a:pt x="859" y="284"/>
                  </a:lnTo>
                  <a:lnTo>
                    <a:pt x="852" y="292"/>
                  </a:lnTo>
                  <a:lnTo>
                    <a:pt x="841" y="302"/>
                  </a:lnTo>
                  <a:lnTo>
                    <a:pt x="830" y="310"/>
                  </a:lnTo>
                  <a:lnTo>
                    <a:pt x="817" y="318"/>
                  </a:lnTo>
                  <a:lnTo>
                    <a:pt x="804" y="324"/>
                  </a:lnTo>
                  <a:lnTo>
                    <a:pt x="790" y="329"/>
                  </a:lnTo>
                  <a:lnTo>
                    <a:pt x="776" y="332"/>
                  </a:lnTo>
                  <a:lnTo>
                    <a:pt x="761" y="334"/>
                  </a:lnTo>
                  <a:lnTo>
                    <a:pt x="747" y="335"/>
                  </a:lnTo>
                  <a:lnTo>
                    <a:pt x="730" y="334"/>
                  </a:lnTo>
                  <a:lnTo>
                    <a:pt x="716" y="332"/>
                  </a:lnTo>
                  <a:lnTo>
                    <a:pt x="701" y="329"/>
                  </a:lnTo>
                  <a:lnTo>
                    <a:pt x="687" y="323"/>
                  </a:lnTo>
                  <a:lnTo>
                    <a:pt x="675" y="318"/>
                  </a:lnTo>
                  <a:lnTo>
                    <a:pt x="318" y="676"/>
                  </a:lnTo>
                  <a:lnTo>
                    <a:pt x="322" y="687"/>
                  </a:lnTo>
                  <a:close/>
                  <a:moveTo>
                    <a:pt x="73" y="99"/>
                  </a:moveTo>
                  <a:lnTo>
                    <a:pt x="97" y="74"/>
                  </a:lnTo>
                  <a:lnTo>
                    <a:pt x="185" y="160"/>
                  </a:lnTo>
                  <a:lnTo>
                    <a:pt x="160" y="185"/>
                  </a:lnTo>
                  <a:lnTo>
                    <a:pt x="73" y="99"/>
                  </a:lnTo>
                  <a:close/>
                  <a:moveTo>
                    <a:pt x="920" y="796"/>
                  </a:moveTo>
                  <a:lnTo>
                    <a:pt x="734" y="609"/>
                  </a:lnTo>
                  <a:lnTo>
                    <a:pt x="758" y="585"/>
                  </a:lnTo>
                  <a:lnTo>
                    <a:pt x="734" y="560"/>
                  </a:lnTo>
                  <a:lnTo>
                    <a:pt x="659" y="634"/>
                  </a:lnTo>
                  <a:lnTo>
                    <a:pt x="534" y="510"/>
                  </a:lnTo>
                  <a:lnTo>
                    <a:pt x="684" y="360"/>
                  </a:lnTo>
                  <a:lnTo>
                    <a:pt x="699" y="364"/>
                  </a:lnTo>
                  <a:lnTo>
                    <a:pt x="714" y="368"/>
                  </a:lnTo>
                  <a:lnTo>
                    <a:pt x="730" y="370"/>
                  </a:lnTo>
                  <a:lnTo>
                    <a:pt x="747" y="371"/>
                  </a:lnTo>
                  <a:lnTo>
                    <a:pt x="765" y="370"/>
                  </a:lnTo>
                  <a:lnTo>
                    <a:pt x="782" y="366"/>
                  </a:lnTo>
                  <a:lnTo>
                    <a:pt x="801" y="362"/>
                  </a:lnTo>
                  <a:lnTo>
                    <a:pt x="817" y="357"/>
                  </a:lnTo>
                  <a:lnTo>
                    <a:pt x="833" y="349"/>
                  </a:lnTo>
                  <a:lnTo>
                    <a:pt x="849" y="339"/>
                  </a:lnTo>
                  <a:lnTo>
                    <a:pt x="863" y="329"/>
                  </a:lnTo>
                  <a:lnTo>
                    <a:pt x="877" y="317"/>
                  </a:lnTo>
                  <a:lnTo>
                    <a:pt x="887" y="306"/>
                  </a:lnTo>
                  <a:lnTo>
                    <a:pt x="896" y="295"/>
                  </a:lnTo>
                  <a:lnTo>
                    <a:pt x="903" y="283"/>
                  </a:lnTo>
                  <a:lnTo>
                    <a:pt x="910" y="271"/>
                  </a:lnTo>
                  <a:lnTo>
                    <a:pt x="916" y="260"/>
                  </a:lnTo>
                  <a:lnTo>
                    <a:pt x="922" y="247"/>
                  </a:lnTo>
                  <a:lnTo>
                    <a:pt x="925" y="234"/>
                  </a:lnTo>
                  <a:lnTo>
                    <a:pt x="928" y="221"/>
                  </a:lnTo>
                  <a:lnTo>
                    <a:pt x="930" y="207"/>
                  </a:lnTo>
                  <a:lnTo>
                    <a:pt x="931" y="194"/>
                  </a:lnTo>
                  <a:lnTo>
                    <a:pt x="931" y="180"/>
                  </a:lnTo>
                  <a:lnTo>
                    <a:pt x="930" y="166"/>
                  </a:lnTo>
                  <a:lnTo>
                    <a:pt x="928" y="153"/>
                  </a:lnTo>
                  <a:lnTo>
                    <a:pt x="925" y="139"/>
                  </a:lnTo>
                  <a:lnTo>
                    <a:pt x="922" y="126"/>
                  </a:lnTo>
                  <a:lnTo>
                    <a:pt x="916" y="113"/>
                  </a:lnTo>
                  <a:lnTo>
                    <a:pt x="905" y="88"/>
                  </a:lnTo>
                  <a:lnTo>
                    <a:pt x="825" y="169"/>
                  </a:lnTo>
                  <a:lnTo>
                    <a:pt x="761" y="170"/>
                  </a:lnTo>
                  <a:lnTo>
                    <a:pt x="762" y="108"/>
                  </a:lnTo>
                  <a:lnTo>
                    <a:pt x="844" y="26"/>
                  </a:lnTo>
                  <a:lnTo>
                    <a:pt x="820" y="15"/>
                  </a:lnTo>
                  <a:lnTo>
                    <a:pt x="802" y="9"/>
                  </a:lnTo>
                  <a:lnTo>
                    <a:pt x="783" y="5"/>
                  </a:lnTo>
                  <a:lnTo>
                    <a:pt x="765" y="1"/>
                  </a:lnTo>
                  <a:lnTo>
                    <a:pt x="745" y="0"/>
                  </a:lnTo>
                  <a:lnTo>
                    <a:pt x="727" y="1"/>
                  </a:lnTo>
                  <a:lnTo>
                    <a:pt x="710" y="4"/>
                  </a:lnTo>
                  <a:lnTo>
                    <a:pt x="691" y="8"/>
                  </a:lnTo>
                  <a:lnTo>
                    <a:pt x="675" y="14"/>
                  </a:lnTo>
                  <a:lnTo>
                    <a:pt x="659" y="22"/>
                  </a:lnTo>
                  <a:lnTo>
                    <a:pt x="643" y="32"/>
                  </a:lnTo>
                  <a:lnTo>
                    <a:pt x="629" y="42"/>
                  </a:lnTo>
                  <a:lnTo>
                    <a:pt x="615" y="54"/>
                  </a:lnTo>
                  <a:lnTo>
                    <a:pt x="606" y="64"/>
                  </a:lnTo>
                  <a:lnTo>
                    <a:pt x="597" y="75"/>
                  </a:lnTo>
                  <a:lnTo>
                    <a:pt x="590" y="86"/>
                  </a:lnTo>
                  <a:lnTo>
                    <a:pt x="583" y="96"/>
                  </a:lnTo>
                  <a:lnTo>
                    <a:pt x="577" y="108"/>
                  </a:lnTo>
                  <a:lnTo>
                    <a:pt x="573" y="120"/>
                  </a:lnTo>
                  <a:lnTo>
                    <a:pt x="568" y="132"/>
                  </a:lnTo>
                  <a:lnTo>
                    <a:pt x="565" y="145"/>
                  </a:lnTo>
                  <a:lnTo>
                    <a:pt x="563" y="158"/>
                  </a:lnTo>
                  <a:lnTo>
                    <a:pt x="562" y="170"/>
                  </a:lnTo>
                  <a:lnTo>
                    <a:pt x="561" y="183"/>
                  </a:lnTo>
                  <a:lnTo>
                    <a:pt x="561" y="196"/>
                  </a:lnTo>
                  <a:lnTo>
                    <a:pt x="562" y="209"/>
                  </a:lnTo>
                  <a:lnTo>
                    <a:pt x="565" y="222"/>
                  </a:lnTo>
                  <a:lnTo>
                    <a:pt x="567" y="235"/>
                  </a:lnTo>
                  <a:lnTo>
                    <a:pt x="572" y="248"/>
                  </a:lnTo>
                  <a:lnTo>
                    <a:pt x="421" y="398"/>
                  </a:lnTo>
                  <a:lnTo>
                    <a:pt x="210" y="185"/>
                  </a:lnTo>
                  <a:lnTo>
                    <a:pt x="235" y="160"/>
                  </a:lnTo>
                  <a:lnTo>
                    <a:pt x="97" y="23"/>
                  </a:lnTo>
                  <a:lnTo>
                    <a:pt x="23" y="99"/>
                  </a:lnTo>
                  <a:lnTo>
                    <a:pt x="160" y="236"/>
                  </a:lnTo>
                  <a:lnTo>
                    <a:pt x="185" y="211"/>
                  </a:lnTo>
                  <a:lnTo>
                    <a:pt x="397" y="423"/>
                  </a:lnTo>
                  <a:lnTo>
                    <a:pt x="248" y="573"/>
                  </a:lnTo>
                  <a:lnTo>
                    <a:pt x="232" y="567"/>
                  </a:lnTo>
                  <a:lnTo>
                    <a:pt x="216" y="564"/>
                  </a:lnTo>
                  <a:lnTo>
                    <a:pt x="201" y="562"/>
                  </a:lnTo>
                  <a:lnTo>
                    <a:pt x="185" y="562"/>
                  </a:lnTo>
                  <a:lnTo>
                    <a:pt x="167" y="562"/>
                  </a:lnTo>
                  <a:lnTo>
                    <a:pt x="148" y="565"/>
                  </a:lnTo>
                  <a:lnTo>
                    <a:pt x="131" y="570"/>
                  </a:lnTo>
                  <a:lnTo>
                    <a:pt x="114" y="575"/>
                  </a:lnTo>
                  <a:lnTo>
                    <a:pt x="97" y="584"/>
                  </a:lnTo>
                  <a:lnTo>
                    <a:pt x="82" y="592"/>
                  </a:lnTo>
                  <a:lnTo>
                    <a:pt x="67" y="603"/>
                  </a:lnTo>
                  <a:lnTo>
                    <a:pt x="54" y="616"/>
                  </a:lnTo>
                  <a:lnTo>
                    <a:pt x="44" y="626"/>
                  </a:lnTo>
                  <a:lnTo>
                    <a:pt x="36" y="636"/>
                  </a:lnTo>
                  <a:lnTo>
                    <a:pt x="27" y="648"/>
                  </a:lnTo>
                  <a:lnTo>
                    <a:pt x="21" y="660"/>
                  </a:lnTo>
                  <a:lnTo>
                    <a:pt x="15" y="673"/>
                  </a:lnTo>
                  <a:lnTo>
                    <a:pt x="10" y="685"/>
                  </a:lnTo>
                  <a:lnTo>
                    <a:pt x="6" y="698"/>
                  </a:lnTo>
                  <a:lnTo>
                    <a:pt x="2" y="712"/>
                  </a:lnTo>
                  <a:lnTo>
                    <a:pt x="1" y="725"/>
                  </a:lnTo>
                  <a:lnTo>
                    <a:pt x="0" y="739"/>
                  </a:lnTo>
                  <a:lnTo>
                    <a:pt x="0" y="752"/>
                  </a:lnTo>
                  <a:lnTo>
                    <a:pt x="0" y="766"/>
                  </a:lnTo>
                  <a:lnTo>
                    <a:pt x="2" y="780"/>
                  </a:lnTo>
                  <a:lnTo>
                    <a:pt x="6" y="793"/>
                  </a:lnTo>
                  <a:lnTo>
                    <a:pt x="10" y="807"/>
                  </a:lnTo>
                  <a:lnTo>
                    <a:pt x="15" y="820"/>
                  </a:lnTo>
                  <a:lnTo>
                    <a:pt x="25" y="844"/>
                  </a:lnTo>
                  <a:lnTo>
                    <a:pt x="107" y="762"/>
                  </a:lnTo>
                  <a:lnTo>
                    <a:pt x="169" y="761"/>
                  </a:lnTo>
                  <a:lnTo>
                    <a:pt x="168" y="825"/>
                  </a:lnTo>
                  <a:lnTo>
                    <a:pt x="88" y="906"/>
                  </a:lnTo>
                  <a:lnTo>
                    <a:pt x="111" y="916"/>
                  </a:lnTo>
                  <a:lnTo>
                    <a:pt x="130" y="923"/>
                  </a:lnTo>
                  <a:lnTo>
                    <a:pt x="147" y="928"/>
                  </a:lnTo>
                  <a:lnTo>
                    <a:pt x="167" y="930"/>
                  </a:lnTo>
                  <a:lnTo>
                    <a:pt x="185" y="931"/>
                  </a:lnTo>
                  <a:lnTo>
                    <a:pt x="203" y="930"/>
                  </a:lnTo>
                  <a:lnTo>
                    <a:pt x="222" y="928"/>
                  </a:lnTo>
                  <a:lnTo>
                    <a:pt x="239" y="924"/>
                  </a:lnTo>
                  <a:lnTo>
                    <a:pt x="256" y="917"/>
                  </a:lnTo>
                  <a:lnTo>
                    <a:pt x="272" y="910"/>
                  </a:lnTo>
                  <a:lnTo>
                    <a:pt x="287" y="901"/>
                  </a:lnTo>
                  <a:lnTo>
                    <a:pt x="303" y="890"/>
                  </a:lnTo>
                  <a:lnTo>
                    <a:pt x="316" y="877"/>
                  </a:lnTo>
                  <a:lnTo>
                    <a:pt x="325" y="868"/>
                  </a:lnTo>
                  <a:lnTo>
                    <a:pt x="333" y="857"/>
                  </a:lnTo>
                  <a:lnTo>
                    <a:pt x="340" y="846"/>
                  </a:lnTo>
                  <a:lnTo>
                    <a:pt x="348" y="835"/>
                  </a:lnTo>
                  <a:lnTo>
                    <a:pt x="353" y="823"/>
                  </a:lnTo>
                  <a:lnTo>
                    <a:pt x="359" y="811"/>
                  </a:lnTo>
                  <a:lnTo>
                    <a:pt x="362" y="800"/>
                  </a:lnTo>
                  <a:lnTo>
                    <a:pt x="365" y="787"/>
                  </a:lnTo>
                  <a:lnTo>
                    <a:pt x="368" y="775"/>
                  </a:lnTo>
                  <a:lnTo>
                    <a:pt x="370" y="762"/>
                  </a:lnTo>
                  <a:lnTo>
                    <a:pt x="371" y="749"/>
                  </a:lnTo>
                  <a:lnTo>
                    <a:pt x="370" y="736"/>
                  </a:lnTo>
                  <a:lnTo>
                    <a:pt x="368" y="723"/>
                  </a:lnTo>
                  <a:lnTo>
                    <a:pt x="366" y="710"/>
                  </a:lnTo>
                  <a:lnTo>
                    <a:pt x="363" y="697"/>
                  </a:lnTo>
                  <a:lnTo>
                    <a:pt x="359" y="685"/>
                  </a:lnTo>
                  <a:lnTo>
                    <a:pt x="509" y="535"/>
                  </a:lnTo>
                  <a:lnTo>
                    <a:pt x="634" y="659"/>
                  </a:lnTo>
                  <a:lnTo>
                    <a:pt x="559" y="734"/>
                  </a:lnTo>
                  <a:lnTo>
                    <a:pt x="585" y="760"/>
                  </a:lnTo>
                  <a:lnTo>
                    <a:pt x="609" y="734"/>
                  </a:lnTo>
                  <a:lnTo>
                    <a:pt x="796" y="922"/>
                  </a:lnTo>
                  <a:lnTo>
                    <a:pt x="803" y="927"/>
                  </a:lnTo>
                  <a:lnTo>
                    <a:pt x="809" y="932"/>
                  </a:lnTo>
                  <a:lnTo>
                    <a:pt x="817" y="937"/>
                  </a:lnTo>
                  <a:lnTo>
                    <a:pt x="824" y="940"/>
                  </a:lnTo>
                  <a:lnTo>
                    <a:pt x="833" y="943"/>
                  </a:lnTo>
                  <a:lnTo>
                    <a:pt x="841" y="945"/>
                  </a:lnTo>
                  <a:lnTo>
                    <a:pt x="849" y="946"/>
                  </a:lnTo>
                  <a:lnTo>
                    <a:pt x="859" y="948"/>
                  </a:lnTo>
                  <a:lnTo>
                    <a:pt x="868" y="946"/>
                  </a:lnTo>
                  <a:lnTo>
                    <a:pt x="876" y="945"/>
                  </a:lnTo>
                  <a:lnTo>
                    <a:pt x="884" y="943"/>
                  </a:lnTo>
                  <a:lnTo>
                    <a:pt x="892" y="940"/>
                  </a:lnTo>
                  <a:lnTo>
                    <a:pt x="900" y="937"/>
                  </a:lnTo>
                  <a:lnTo>
                    <a:pt x="907" y="932"/>
                  </a:lnTo>
                  <a:lnTo>
                    <a:pt x="914" y="927"/>
                  </a:lnTo>
                  <a:lnTo>
                    <a:pt x="920" y="922"/>
                  </a:lnTo>
                  <a:lnTo>
                    <a:pt x="927" y="914"/>
                  </a:lnTo>
                  <a:lnTo>
                    <a:pt x="932" y="908"/>
                  </a:lnTo>
                  <a:lnTo>
                    <a:pt x="937" y="900"/>
                  </a:lnTo>
                  <a:lnTo>
                    <a:pt x="940" y="892"/>
                  </a:lnTo>
                  <a:lnTo>
                    <a:pt x="943" y="884"/>
                  </a:lnTo>
                  <a:lnTo>
                    <a:pt x="945" y="875"/>
                  </a:lnTo>
                  <a:lnTo>
                    <a:pt x="946" y="868"/>
                  </a:lnTo>
                  <a:lnTo>
                    <a:pt x="946" y="859"/>
                  </a:lnTo>
                  <a:lnTo>
                    <a:pt x="946" y="850"/>
                  </a:lnTo>
                  <a:lnTo>
                    <a:pt x="945" y="842"/>
                  </a:lnTo>
                  <a:lnTo>
                    <a:pt x="943" y="834"/>
                  </a:lnTo>
                  <a:lnTo>
                    <a:pt x="940" y="825"/>
                  </a:lnTo>
                  <a:lnTo>
                    <a:pt x="937" y="818"/>
                  </a:lnTo>
                  <a:lnTo>
                    <a:pt x="932" y="810"/>
                  </a:lnTo>
                  <a:lnTo>
                    <a:pt x="927" y="803"/>
                  </a:lnTo>
                  <a:lnTo>
                    <a:pt x="920" y="796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27" name="Freeform 28"/>
            <p:cNvSpPr/>
            <p:nvPr/>
          </p:nvSpPr>
          <p:spPr bwMode="auto">
            <a:xfrm>
              <a:off x="7452817" y="4112304"/>
              <a:ext cx="855255" cy="1486700"/>
            </a:xfrm>
            <a:custGeom>
              <a:avLst/>
              <a:gdLst>
                <a:gd name="connsiteX0" fmla="*/ 598146 w 855255"/>
                <a:gd name="connsiteY0" fmla="*/ 0 h 1486700"/>
                <a:gd name="connsiteX1" fmla="*/ 610136 w 855255"/>
                <a:gd name="connsiteY1" fmla="*/ 0 h 1486700"/>
                <a:gd name="connsiteX2" fmla="*/ 622125 w 855255"/>
                <a:gd name="connsiteY2" fmla="*/ 1343 h 1486700"/>
                <a:gd name="connsiteX3" fmla="*/ 632783 w 855255"/>
                <a:gd name="connsiteY3" fmla="*/ 4029 h 1486700"/>
                <a:gd name="connsiteX4" fmla="*/ 644772 w 855255"/>
                <a:gd name="connsiteY4" fmla="*/ 10743 h 1486700"/>
                <a:gd name="connsiteX5" fmla="*/ 652765 w 855255"/>
                <a:gd name="connsiteY5" fmla="*/ 18800 h 1486700"/>
                <a:gd name="connsiteX6" fmla="*/ 835273 w 855255"/>
                <a:gd name="connsiteY6" fmla="*/ 205453 h 1486700"/>
                <a:gd name="connsiteX7" fmla="*/ 843266 w 855255"/>
                <a:gd name="connsiteY7" fmla="*/ 216196 h 1486700"/>
                <a:gd name="connsiteX8" fmla="*/ 848594 w 855255"/>
                <a:gd name="connsiteY8" fmla="*/ 229624 h 1486700"/>
                <a:gd name="connsiteX9" fmla="*/ 853923 w 855255"/>
                <a:gd name="connsiteY9" fmla="*/ 244395 h 1486700"/>
                <a:gd name="connsiteX10" fmla="*/ 855255 w 855255"/>
                <a:gd name="connsiteY10" fmla="*/ 261852 h 1486700"/>
                <a:gd name="connsiteX11" fmla="*/ 855255 w 855255"/>
                <a:gd name="connsiteY11" fmla="*/ 277966 h 1486700"/>
                <a:gd name="connsiteX12" fmla="*/ 852591 w 855255"/>
                <a:gd name="connsiteY12" fmla="*/ 292737 h 1486700"/>
                <a:gd name="connsiteX13" fmla="*/ 847262 w 855255"/>
                <a:gd name="connsiteY13" fmla="*/ 304822 h 1486700"/>
                <a:gd name="connsiteX14" fmla="*/ 843266 w 855255"/>
                <a:gd name="connsiteY14" fmla="*/ 311536 h 1486700"/>
                <a:gd name="connsiteX15" fmla="*/ 839269 w 855255"/>
                <a:gd name="connsiteY15" fmla="*/ 316908 h 1486700"/>
                <a:gd name="connsiteX16" fmla="*/ 828612 w 855255"/>
                <a:gd name="connsiteY16" fmla="*/ 323622 h 1486700"/>
                <a:gd name="connsiteX17" fmla="*/ 816622 w 855255"/>
                <a:gd name="connsiteY17" fmla="*/ 330336 h 1486700"/>
                <a:gd name="connsiteX18" fmla="*/ 812092 w 855255"/>
                <a:gd name="connsiteY18" fmla="*/ 331478 h 1486700"/>
                <a:gd name="connsiteX19" fmla="*/ 705567 w 855255"/>
                <a:gd name="connsiteY19" fmla="*/ 393477 h 1486700"/>
                <a:gd name="connsiteX20" fmla="*/ 672574 w 855255"/>
                <a:gd name="connsiteY20" fmla="*/ 863062 h 1486700"/>
                <a:gd name="connsiteX21" fmla="*/ 698052 w 855255"/>
                <a:gd name="connsiteY21" fmla="*/ 1056411 h 1486700"/>
                <a:gd name="connsiteX22" fmla="*/ 699393 w 855255"/>
                <a:gd name="connsiteY22" fmla="*/ 1071065 h 1486700"/>
                <a:gd name="connsiteX23" fmla="*/ 698581 w 855255"/>
                <a:gd name="connsiteY23" fmla="*/ 1074024 h 1486700"/>
                <a:gd name="connsiteX24" fmla="*/ 699015 w 855255"/>
                <a:gd name="connsiteY24" fmla="*/ 1076394 h 1486700"/>
                <a:gd name="connsiteX25" fmla="*/ 758002 w 855255"/>
                <a:gd name="connsiteY25" fmla="*/ 1388123 h 1486700"/>
                <a:gd name="connsiteX26" fmla="*/ 759342 w 855255"/>
                <a:gd name="connsiteY26" fmla="*/ 1404109 h 1486700"/>
                <a:gd name="connsiteX27" fmla="*/ 758002 w 855255"/>
                <a:gd name="connsiteY27" fmla="*/ 1418762 h 1486700"/>
                <a:gd name="connsiteX28" fmla="*/ 752639 w 855255"/>
                <a:gd name="connsiteY28" fmla="*/ 1432084 h 1486700"/>
                <a:gd name="connsiteX29" fmla="*/ 745936 w 855255"/>
                <a:gd name="connsiteY29" fmla="*/ 1445406 h 1486700"/>
                <a:gd name="connsiteX30" fmla="*/ 735211 w 855255"/>
                <a:gd name="connsiteY30" fmla="*/ 1457395 h 1486700"/>
                <a:gd name="connsiteX31" fmla="*/ 724486 w 855255"/>
                <a:gd name="connsiteY31" fmla="*/ 1465389 h 1486700"/>
                <a:gd name="connsiteX32" fmla="*/ 711080 w 855255"/>
                <a:gd name="connsiteY32" fmla="*/ 1473382 h 1486700"/>
                <a:gd name="connsiteX33" fmla="*/ 696333 w 855255"/>
                <a:gd name="connsiteY33" fmla="*/ 1477378 h 1486700"/>
                <a:gd name="connsiteX34" fmla="*/ 680246 w 855255"/>
                <a:gd name="connsiteY34" fmla="*/ 1478710 h 1486700"/>
                <a:gd name="connsiteX35" fmla="*/ 665499 w 855255"/>
                <a:gd name="connsiteY35" fmla="*/ 1477378 h 1486700"/>
                <a:gd name="connsiteX36" fmla="*/ 650753 w 855255"/>
                <a:gd name="connsiteY36" fmla="*/ 1473382 h 1486700"/>
                <a:gd name="connsiteX37" fmla="*/ 638687 w 855255"/>
                <a:gd name="connsiteY37" fmla="*/ 1465389 h 1486700"/>
                <a:gd name="connsiteX38" fmla="*/ 627962 w 855255"/>
                <a:gd name="connsiteY38" fmla="*/ 1457395 h 1486700"/>
                <a:gd name="connsiteX39" fmla="*/ 617237 w 855255"/>
                <a:gd name="connsiteY39" fmla="*/ 1445406 h 1486700"/>
                <a:gd name="connsiteX40" fmla="*/ 610534 w 855255"/>
                <a:gd name="connsiteY40" fmla="*/ 1432084 h 1486700"/>
                <a:gd name="connsiteX41" fmla="*/ 606512 w 855255"/>
                <a:gd name="connsiteY41" fmla="*/ 1417430 h 1486700"/>
                <a:gd name="connsiteX42" fmla="*/ 548866 w 855255"/>
                <a:gd name="connsiteY42" fmla="*/ 1104370 h 1486700"/>
                <a:gd name="connsiteX43" fmla="*/ 547525 w 855255"/>
                <a:gd name="connsiteY43" fmla="*/ 1089716 h 1486700"/>
                <a:gd name="connsiteX44" fmla="*/ 547854 w 855255"/>
                <a:gd name="connsiteY44" fmla="*/ 1086119 h 1486700"/>
                <a:gd name="connsiteX45" fmla="*/ 545184 w 855255"/>
                <a:gd name="connsiteY45" fmla="*/ 1076394 h 1486700"/>
                <a:gd name="connsiteX46" fmla="*/ 527552 w 855255"/>
                <a:gd name="connsiteY46" fmla="*/ 942590 h 1486700"/>
                <a:gd name="connsiteX47" fmla="*/ 486244 w 855255"/>
                <a:gd name="connsiteY47" fmla="*/ 1098746 h 1486700"/>
                <a:gd name="connsiteX48" fmla="*/ 483498 w 855255"/>
                <a:gd name="connsiteY48" fmla="*/ 1104817 h 1486700"/>
                <a:gd name="connsiteX49" fmla="*/ 482248 w 855255"/>
                <a:gd name="connsiteY49" fmla="*/ 1118492 h 1486700"/>
                <a:gd name="connsiteX50" fmla="*/ 416971 w 855255"/>
                <a:gd name="connsiteY50" fmla="*/ 1425774 h 1486700"/>
                <a:gd name="connsiteX51" fmla="*/ 411642 w 855255"/>
                <a:gd name="connsiteY51" fmla="*/ 1441668 h 1486700"/>
                <a:gd name="connsiteX52" fmla="*/ 404982 w 855255"/>
                <a:gd name="connsiteY52" fmla="*/ 1454912 h 1486700"/>
                <a:gd name="connsiteX53" fmla="*/ 394324 w 855255"/>
                <a:gd name="connsiteY53" fmla="*/ 1465508 h 1486700"/>
                <a:gd name="connsiteX54" fmla="*/ 383667 w 855255"/>
                <a:gd name="connsiteY54" fmla="*/ 1476104 h 1486700"/>
                <a:gd name="connsiteX55" fmla="*/ 370345 w 855255"/>
                <a:gd name="connsiteY55" fmla="*/ 1482727 h 1486700"/>
                <a:gd name="connsiteX56" fmla="*/ 357023 w 855255"/>
                <a:gd name="connsiteY56" fmla="*/ 1485376 h 1486700"/>
                <a:gd name="connsiteX57" fmla="*/ 342369 w 855255"/>
                <a:gd name="connsiteY57" fmla="*/ 1486700 h 1486700"/>
                <a:gd name="connsiteX58" fmla="*/ 325051 w 855255"/>
                <a:gd name="connsiteY58" fmla="*/ 1485376 h 1486700"/>
                <a:gd name="connsiteX59" fmla="*/ 310397 w 855255"/>
                <a:gd name="connsiteY59" fmla="*/ 1482727 h 1486700"/>
                <a:gd name="connsiteX60" fmla="*/ 297075 w 855255"/>
                <a:gd name="connsiteY60" fmla="*/ 1474780 h 1486700"/>
                <a:gd name="connsiteX61" fmla="*/ 287750 w 855255"/>
                <a:gd name="connsiteY61" fmla="*/ 1464184 h 1486700"/>
                <a:gd name="connsiteX62" fmla="*/ 277092 w 855255"/>
                <a:gd name="connsiteY62" fmla="*/ 1454912 h 1486700"/>
                <a:gd name="connsiteX63" fmla="*/ 270431 w 855255"/>
                <a:gd name="connsiteY63" fmla="*/ 1441668 h 1486700"/>
                <a:gd name="connsiteX64" fmla="*/ 265102 w 855255"/>
                <a:gd name="connsiteY64" fmla="*/ 1425774 h 1486700"/>
                <a:gd name="connsiteX65" fmla="*/ 263770 w 855255"/>
                <a:gd name="connsiteY65" fmla="*/ 1411204 h 1486700"/>
                <a:gd name="connsiteX66" fmla="*/ 265102 w 855255"/>
                <a:gd name="connsiteY66" fmla="*/ 1396635 h 1486700"/>
                <a:gd name="connsiteX67" fmla="*/ 331712 w 855255"/>
                <a:gd name="connsiteY67" fmla="*/ 1088029 h 1486700"/>
                <a:gd name="connsiteX68" fmla="*/ 335708 w 855255"/>
                <a:gd name="connsiteY68" fmla="*/ 1077101 h 1486700"/>
                <a:gd name="connsiteX69" fmla="*/ 335708 w 855255"/>
                <a:gd name="connsiteY69" fmla="*/ 1075981 h 1486700"/>
                <a:gd name="connsiteX70" fmla="*/ 338373 w 855255"/>
                <a:gd name="connsiteY70" fmla="*/ 1058572 h 1486700"/>
                <a:gd name="connsiteX71" fmla="*/ 403650 w 855255"/>
                <a:gd name="connsiteY71" fmla="*/ 811806 h 1486700"/>
                <a:gd name="connsiteX72" fmla="*/ 403650 w 855255"/>
                <a:gd name="connsiteY72" fmla="*/ 569087 h 1486700"/>
                <a:gd name="connsiteX73" fmla="*/ 311393 w 855255"/>
                <a:gd name="connsiteY73" fmla="*/ 623453 h 1486700"/>
                <a:gd name="connsiteX74" fmla="*/ 311002 w 855255"/>
                <a:gd name="connsiteY74" fmla="*/ 622487 h 1486700"/>
                <a:gd name="connsiteX75" fmla="*/ 303736 w 855255"/>
                <a:gd name="connsiteY75" fmla="*/ 626120 h 1486700"/>
                <a:gd name="connsiteX76" fmla="*/ 289082 w 855255"/>
                <a:gd name="connsiteY76" fmla="*/ 630116 h 1486700"/>
                <a:gd name="connsiteX77" fmla="*/ 274428 w 855255"/>
                <a:gd name="connsiteY77" fmla="*/ 631448 h 1486700"/>
                <a:gd name="connsiteX78" fmla="*/ 258442 w 855255"/>
                <a:gd name="connsiteY78" fmla="*/ 628784 h 1486700"/>
                <a:gd name="connsiteX79" fmla="*/ 250449 w 855255"/>
                <a:gd name="connsiteY79" fmla="*/ 624787 h 1486700"/>
                <a:gd name="connsiteX80" fmla="*/ 242455 w 855255"/>
                <a:gd name="connsiteY80" fmla="*/ 622123 h 1486700"/>
                <a:gd name="connsiteX81" fmla="*/ 235795 w 855255"/>
                <a:gd name="connsiteY81" fmla="*/ 616794 h 1486700"/>
                <a:gd name="connsiteX82" fmla="*/ 227802 w 855255"/>
                <a:gd name="connsiteY82" fmla="*/ 610133 h 1486700"/>
                <a:gd name="connsiteX83" fmla="*/ 26643 w 855255"/>
                <a:gd name="connsiteY83" fmla="*/ 447609 h 1486700"/>
                <a:gd name="connsiteX84" fmla="*/ 17318 w 855255"/>
                <a:gd name="connsiteY84" fmla="*/ 439616 h 1486700"/>
                <a:gd name="connsiteX85" fmla="*/ 10657 w 855255"/>
                <a:gd name="connsiteY85" fmla="*/ 428958 h 1486700"/>
                <a:gd name="connsiteX86" fmla="*/ 5328 w 855255"/>
                <a:gd name="connsiteY86" fmla="*/ 418301 h 1486700"/>
                <a:gd name="connsiteX87" fmla="*/ 2664 w 855255"/>
                <a:gd name="connsiteY87" fmla="*/ 406311 h 1486700"/>
                <a:gd name="connsiteX88" fmla="*/ 0 w 855255"/>
                <a:gd name="connsiteY88" fmla="*/ 394322 h 1486700"/>
                <a:gd name="connsiteX89" fmla="*/ 2664 w 855255"/>
                <a:gd name="connsiteY89" fmla="*/ 383664 h 1486700"/>
                <a:gd name="connsiteX90" fmla="*/ 6661 w 855255"/>
                <a:gd name="connsiteY90" fmla="*/ 371675 h 1486700"/>
                <a:gd name="connsiteX91" fmla="*/ 13321 w 855255"/>
                <a:gd name="connsiteY91" fmla="*/ 359685 h 1486700"/>
                <a:gd name="connsiteX92" fmla="*/ 22647 w 855255"/>
                <a:gd name="connsiteY92" fmla="*/ 351692 h 1486700"/>
                <a:gd name="connsiteX93" fmla="*/ 31972 w 855255"/>
                <a:gd name="connsiteY93" fmla="*/ 343699 h 1486700"/>
                <a:gd name="connsiteX94" fmla="*/ 42629 w 855255"/>
                <a:gd name="connsiteY94" fmla="*/ 338371 h 1486700"/>
                <a:gd name="connsiteX95" fmla="*/ 53287 w 855255"/>
                <a:gd name="connsiteY95" fmla="*/ 335706 h 1486700"/>
                <a:gd name="connsiteX96" fmla="*/ 66608 w 855255"/>
                <a:gd name="connsiteY96" fmla="*/ 335706 h 1486700"/>
                <a:gd name="connsiteX97" fmla="*/ 78598 w 855255"/>
                <a:gd name="connsiteY97" fmla="*/ 337038 h 1486700"/>
                <a:gd name="connsiteX98" fmla="*/ 90588 w 855255"/>
                <a:gd name="connsiteY98" fmla="*/ 339703 h 1486700"/>
                <a:gd name="connsiteX99" fmla="*/ 99913 w 855255"/>
                <a:gd name="connsiteY99" fmla="*/ 346364 h 1486700"/>
                <a:gd name="connsiteX100" fmla="*/ 284860 w 855255"/>
                <a:gd name="connsiteY100" fmla="*/ 482923 h 1486700"/>
                <a:gd name="connsiteX101" fmla="*/ 385510 w 855255"/>
                <a:gd name="connsiteY101" fmla="*/ 431289 h 1486700"/>
                <a:gd name="connsiteX102" fmla="*/ 483451 w 855255"/>
                <a:gd name="connsiteY102" fmla="*/ 378881 h 1486700"/>
                <a:gd name="connsiteX103" fmla="*/ 498263 w 855255"/>
                <a:gd name="connsiteY103" fmla="*/ 371361 h 1486700"/>
                <a:gd name="connsiteX104" fmla="*/ 701542 w 855255"/>
                <a:gd name="connsiteY104" fmla="*/ 260448 h 1486700"/>
                <a:gd name="connsiteX105" fmla="*/ 600983 w 855255"/>
                <a:gd name="connsiteY105" fmla="*/ 149160 h 1486700"/>
                <a:gd name="connsiteX106" fmla="*/ 603476 w 855255"/>
                <a:gd name="connsiteY106" fmla="*/ 155364 h 1486700"/>
                <a:gd name="connsiteX107" fmla="*/ 607472 w 855255"/>
                <a:gd name="connsiteY107" fmla="*/ 169951 h 1486700"/>
                <a:gd name="connsiteX108" fmla="*/ 607472 w 855255"/>
                <a:gd name="connsiteY108" fmla="*/ 185863 h 1486700"/>
                <a:gd name="connsiteX109" fmla="*/ 607472 w 855255"/>
                <a:gd name="connsiteY109" fmla="*/ 200449 h 1486700"/>
                <a:gd name="connsiteX110" fmla="*/ 607472 w 855255"/>
                <a:gd name="connsiteY110" fmla="*/ 213710 h 1486700"/>
                <a:gd name="connsiteX111" fmla="*/ 603476 w 855255"/>
                <a:gd name="connsiteY111" fmla="*/ 228296 h 1486700"/>
                <a:gd name="connsiteX112" fmla="*/ 598147 w 855255"/>
                <a:gd name="connsiteY112" fmla="*/ 241556 h 1486700"/>
                <a:gd name="connsiteX113" fmla="*/ 594151 w 855255"/>
                <a:gd name="connsiteY113" fmla="*/ 254817 h 1486700"/>
                <a:gd name="connsiteX114" fmla="*/ 587490 w 855255"/>
                <a:gd name="connsiteY114" fmla="*/ 266751 h 1486700"/>
                <a:gd name="connsiteX115" fmla="*/ 578164 w 855255"/>
                <a:gd name="connsiteY115" fmla="*/ 277359 h 1486700"/>
                <a:gd name="connsiteX116" fmla="*/ 570171 w 855255"/>
                <a:gd name="connsiteY116" fmla="*/ 289294 h 1486700"/>
                <a:gd name="connsiteX117" fmla="*/ 560846 w 855255"/>
                <a:gd name="connsiteY117" fmla="*/ 298576 h 1486700"/>
                <a:gd name="connsiteX118" fmla="*/ 548857 w 855255"/>
                <a:gd name="connsiteY118" fmla="*/ 307858 h 1486700"/>
                <a:gd name="connsiteX119" fmla="*/ 536866 w 855255"/>
                <a:gd name="connsiteY119" fmla="*/ 315815 h 1486700"/>
                <a:gd name="connsiteX120" fmla="*/ 526209 w 855255"/>
                <a:gd name="connsiteY120" fmla="*/ 322445 h 1486700"/>
                <a:gd name="connsiteX121" fmla="*/ 512887 w 855255"/>
                <a:gd name="connsiteY121" fmla="*/ 327749 h 1486700"/>
                <a:gd name="connsiteX122" fmla="*/ 499565 w 855255"/>
                <a:gd name="connsiteY122" fmla="*/ 330401 h 1486700"/>
                <a:gd name="connsiteX123" fmla="*/ 486244 w 855255"/>
                <a:gd name="connsiteY123" fmla="*/ 334379 h 1486700"/>
                <a:gd name="connsiteX124" fmla="*/ 471590 w 855255"/>
                <a:gd name="connsiteY124" fmla="*/ 335705 h 1486700"/>
                <a:gd name="connsiteX125" fmla="*/ 455604 w 855255"/>
                <a:gd name="connsiteY125" fmla="*/ 335705 h 1486700"/>
                <a:gd name="connsiteX126" fmla="*/ 440950 w 855255"/>
                <a:gd name="connsiteY126" fmla="*/ 334379 h 1486700"/>
                <a:gd name="connsiteX127" fmla="*/ 427628 w 855255"/>
                <a:gd name="connsiteY127" fmla="*/ 330401 h 1486700"/>
                <a:gd name="connsiteX128" fmla="*/ 414306 w 855255"/>
                <a:gd name="connsiteY128" fmla="*/ 327749 h 1486700"/>
                <a:gd name="connsiteX129" fmla="*/ 400985 w 855255"/>
                <a:gd name="connsiteY129" fmla="*/ 321119 h 1486700"/>
                <a:gd name="connsiteX130" fmla="*/ 387663 w 855255"/>
                <a:gd name="connsiteY130" fmla="*/ 314488 h 1486700"/>
                <a:gd name="connsiteX131" fmla="*/ 377006 w 855255"/>
                <a:gd name="connsiteY131" fmla="*/ 307858 h 1486700"/>
                <a:gd name="connsiteX132" fmla="*/ 366348 w 855255"/>
                <a:gd name="connsiteY132" fmla="*/ 297250 h 1486700"/>
                <a:gd name="connsiteX133" fmla="*/ 357023 w 855255"/>
                <a:gd name="connsiteY133" fmla="*/ 287968 h 1486700"/>
                <a:gd name="connsiteX134" fmla="*/ 349030 w 855255"/>
                <a:gd name="connsiteY134" fmla="*/ 277359 h 1486700"/>
                <a:gd name="connsiteX135" fmla="*/ 339705 w 855255"/>
                <a:gd name="connsiteY135" fmla="*/ 266751 h 1486700"/>
                <a:gd name="connsiteX136" fmla="*/ 333044 w 855255"/>
                <a:gd name="connsiteY136" fmla="*/ 254817 h 1486700"/>
                <a:gd name="connsiteX137" fmla="*/ 329047 w 855255"/>
                <a:gd name="connsiteY137" fmla="*/ 241556 h 1486700"/>
                <a:gd name="connsiteX138" fmla="*/ 323719 w 855255"/>
                <a:gd name="connsiteY138" fmla="*/ 228296 h 1486700"/>
                <a:gd name="connsiteX139" fmla="*/ 322387 w 855255"/>
                <a:gd name="connsiteY139" fmla="*/ 213710 h 1486700"/>
                <a:gd name="connsiteX140" fmla="*/ 319722 w 855255"/>
                <a:gd name="connsiteY140" fmla="*/ 200449 h 1486700"/>
                <a:gd name="connsiteX141" fmla="*/ 319722 w 855255"/>
                <a:gd name="connsiteY141" fmla="*/ 185863 h 1486700"/>
                <a:gd name="connsiteX142" fmla="*/ 322387 w 855255"/>
                <a:gd name="connsiteY142" fmla="*/ 169951 h 1486700"/>
                <a:gd name="connsiteX143" fmla="*/ 323719 w 855255"/>
                <a:gd name="connsiteY143" fmla="*/ 155364 h 1486700"/>
                <a:gd name="connsiteX144" fmla="*/ 329047 w 855255"/>
                <a:gd name="connsiteY144" fmla="*/ 142104 h 1486700"/>
                <a:gd name="connsiteX145" fmla="*/ 333044 w 855255"/>
                <a:gd name="connsiteY145" fmla="*/ 128844 h 1486700"/>
                <a:gd name="connsiteX146" fmla="*/ 339705 w 855255"/>
                <a:gd name="connsiteY146" fmla="*/ 118236 h 1486700"/>
                <a:gd name="connsiteX147" fmla="*/ 349030 w 855255"/>
                <a:gd name="connsiteY147" fmla="*/ 106301 h 1486700"/>
                <a:gd name="connsiteX148" fmla="*/ 357023 w 855255"/>
                <a:gd name="connsiteY148" fmla="*/ 94367 h 1486700"/>
                <a:gd name="connsiteX149" fmla="*/ 366348 w 855255"/>
                <a:gd name="connsiteY149" fmla="*/ 86411 h 1486700"/>
                <a:gd name="connsiteX150" fmla="*/ 378338 w 855255"/>
                <a:gd name="connsiteY150" fmla="*/ 75803 h 1486700"/>
                <a:gd name="connsiteX151" fmla="*/ 390327 w 855255"/>
                <a:gd name="connsiteY151" fmla="*/ 70498 h 1486700"/>
                <a:gd name="connsiteX152" fmla="*/ 400985 w 855255"/>
                <a:gd name="connsiteY152" fmla="*/ 63868 h 1486700"/>
                <a:gd name="connsiteX153" fmla="*/ 414306 w 855255"/>
                <a:gd name="connsiteY153" fmla="*/ 57238 h 1486700"/>
                <a:gd name="connsiteX154" fmla="*/ 427628 w 855255"/>
                <a:gd name="connsiteY154" fmla="*/ 53260 h 1486700"/>
                <a:gd name="connsiteX155" fmla="*/ 440950 w 855255"/>
                <a:gd name="connsiteY155" fmla="*/ 50608 h 1486700"/>
                <a:gd name="connsiteX156" fmla="*/ 455604 w 855255"/>
                <a:gd name="connsiteY156" fmla="*/ 47956 h 1486700"/>
                <a:gd name="connsiteX157" fmla="*/ 471590 w 855255"/>
                <a:gd name="connsiteY157" fmla="*/ 47956 h 1486700"/>
                <a:gd name="connsiteX158" fmla="*/ 486244 w 855255"/>
                <a:gd name="connsiteY158" fmla="*/ 50608 h 1486700"/>
                <a:gd name="connsiteX159" fmla="*/ 499565 w 855255"/>
                <a:gd name="connsiteY159" fmla="*/ 53260 h 1486700"/>
                <a:gd name="connsiteX160" fmla="*/ 514219 w 855255"/>
                <a:gd name="connsiteY160" fmla="*/ 57238 h 1486700"/>
                <a:gd name="connsiteX161" fmla="*/ 526209 w 855255"/>
                <a:gd name="connsiteY161" fmla="*/ 63868 h 1486700"/>
                <a:gd name="connsiteX162" fmla="*/ 539531 w 855255"/>
                <a:gd name="connsiteY162" fmla="*/ 70498 h 1486700"/>
                <a:gd name="connsiteX163" fmla="*/ 545732 w 855255"/>
                <a:gd name="connsiteY163" fmla="*/ 75127 h 1486700"/>
                <a:gd name="connsiteX164" fmla="*/ 544859 w 855255"/>
                <a:gd name="connsiteY164" fmla="*/ 71170 h 1486700"/>
                <a:gd name="connsiteX165" fmla="*/ 543527 w 855255"/>
                <a:gd name="connsiteY165" fmla="*/ 57742 h 1486700"/>
                <a:gd name="connsiteX166" fmla="*/ 544859 w 855255"/>
                <a:gd name="connsiteY166" fmla="*/ 45656 h 1486700"/>
                <a:gd name="connsiteX167" fmla="*/ 550188 w 855255"/>
                <a:gd name="connsiteY167" fmla="*/ 34914 h 1486700"/>
                <a:gd name="connsiteX168" fmla="*/ 556849 w 855255"/>
                <a:gd name="connsiteY168" fmla="*/ 24171 h 1486700"/>
                <a:gd name="connsiteX169" fmla="*/ 564842 w 855255"/>
                <a:gd name="connsiteY169" fmla="*/ 14771 h 1486700"/>
                <a:gd name="connsiteX170" fmla="*/ 575499 w 855255"/>
                <a:gd name="connsiteY170" fmla="*/ 8057 h 1486700"/>
                <a:gd name="connsiteX171" fmla="*/ 587489 w 855255"/>
                <a:gd name="connsiteY171" fmla="*/ 2686 h 14867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</a:cxnLst>
              <a:rect l="l" t="t" r="r" b="b"/>
              <a:pathLst>
                <a:path w="855255" h="1486700">
                  <a:moveTo>
                    <a:pt x="598146" y="0"/>
                  </a:moveTo>
                  <a:lnTo>
                    <a:pt x="610136" y="0"/>
                  </a:lnTo>
                  <a:lnTo>
                    <a:pt x="622125" y="1343"/>
                  </a:lnTo>
                  <a:lnTo>
                    <a:pt x="632783" y="4029"/>
                  </a:lnTo>
                  <a:lnTo>
                    <a:pt x="644772" y="10743"/>
                  </a:lnTo>
                  <a:lnTo>
                    <a:pt x="652765" y="18800"/>
                  </a:lnTo>
                  <a:lnTo>
                    <a:pt x="835273" y="205453"/>
                  </a:lnTo>
                  <a:lnTo>
                    <a:pt x="843266" y="216196"/>
                  </a:lnTo>
                  <a:lnTo>
                    <a:pt x="848594" y="229624"/>
                  </a:lnTo>
                  <a:lnTo>
                    <a:pt x="853923" y="244395"/>
                  </a:lnTo>
                  <a:lnTo>
                    <a:pt x="855255" y="261852"/>
                  </a:lnTo>
                  <a:lnTo>
                    <a:pt x="855255" y="277966"/>
                  </a:lnTo>
                  <a:lnTo>
                    <a:pt x="852591" y="292737"/>
                  </a:lnTo>
                  <a:lnTo>
                    <a:pt x="847262" y="304822"/>
                  </a:lnTo>
                  <a:lnTo>
                    <a:pt x="843266" y="311536"/>
                  </a:lnTo>
                  <a:lnTo>
                    <a:pt x="839269" y="316908"/>
                  </a:lnTo>
                  <a:lnTo>
                    <a:pt x="828612" y="323622"/>
                  </a:lnTo>
                  <a:lnTo>
                    <a:pt x="816622" y="330336"/>
                  </a:lnTo>
                  <a:lnTo>
                    <a:pt x="812092" y="331478"/>
                  </a:lnTo>
                  <a:lnTo>
                    <a:pt x="705567" y="393477"/>
                  </a:lnTo>
                  <a:lnTo>
                    <a:pt x="672574" y="863062"/>
                  </a:lnTo>
                  <a:lnTo>
                    <a:pt x="698052" y="1056411"/>
                  </a:lnTo>
                  <a:lnTo>
                    <a:pt x="699393" y="1071065"/>
                  </a:lnTo>
                  <a:lnTo>
                    <a:pt x="698581" y="1074024"/>
                  </a:lnTo>
                  <a:lnTo>
                    <a:pt x="699015" y="1076394"/>
                  </a:lnTo>
                  <a:lnTo>
                    <a:pt x="758002" y="1388123"/>
                  </a:lnTo>
                  <a:lnTo>
                    <a:pt x="759342" y="1404109"/>
                  </a:lnTo>
                  <a:lnTo>
                    <a:pt x="758002" y="1418762"/>
                  </a:lnTo>
                  <a:lnTo>
                    <a:pt x="752639" y="1432084"/>
                  </a:lnTo>
                  <a:lnTo>
                    <a:pt x="745936" y="1445406"/>
                  </a:lnTo>
                  <a:lnTo>
                    <a:pt x="735211" y="1457395"/>
                  </a:lnTo>
                  <a:lnTo>
                    <a:pt x="724486" y="1465389"/>
                  </a:lnTo>
                  <a:lnTo>
                    <a:pt x="711080" y="1473382"/>
                  </a:lnTo>
                  <a:lnTo>
                    <a:pt x="696333" y="1477378"/>
                  </a:lnTo>
                  <a:lnTo>
                    <a:pt x="680246" y="1478710"/>
                  </a:lnTo>
                  <a:lnTo>
                    <a:pt x="665499" y="1477378"/>
                  </a:lnTo>
                  <a:lnTo>
                    <a:pt x="650753" y="1473382"/>
                  </a:lnTo>
                  <a:lnTo>
                    <a:pt x="638687" y="1465389"/>
                  </a:lnTo>
                  <a:lnTo>
                    <a:pt x="627962" y="1457395"/>
                  </a:lnTo>
                  <a:lnTo>
                    <a:pt x="617237" y="1445406"/>
                  </a:lnTo>
                  <a:lnTo>
                    <a:pt x="610534" y="1432084"/>
                  </a:lnTo>
                  <a:lnTo>
                    <a:pt x="606512" y="1417430"/>
                  </a:lnTo>
                  <a:lnTo>
                    <a:pt x="548866" y="1104370"/>
                  </a:lnTo>
                  <a:lnTo>
                    <a:pt x="547525" y="1089716"/>
                  </a:lnTo>
                  <a:lnTo>
                    <a:pt x="547854" y="1086119"/>
                  </a:lnTo>
                  <a:lnTo>
                    <a:pt x="545184" y="1076394"/>
                  </a:lnTo>
                  <a:lnTo>
                    <a:pt x="527552" y="942590"/>
                  </a:lnTo>
                  <a:lnTo>
                    <a:pt x="486244" y="1098746"/>
                  </a:lnTo>
                  <a:lnTo>
                    <a:pt x="483498" y="1104817"/>
                  </a:lnTo>
                  <a:lnTo>
                    <a:pt x="482248" y="1118492"/>
                  </a:lnTo>
                  <a:lnTo>
                    <a:pt x="416971" y="1425774"/>
                  </a:lnTo>
                  <a:lnTo>
                    <a:pt x="411642" y="1441668"/>
                  </a:lnTo>
                  <a:lnTo>
                    <a:pt x="404982" y="1454912"/>
                  </a:lnTo>
                  <a:lnTo>
                    <a:pt x="394324" y="1465508"/>
                  </a:lnTo>
                  <a:lnTo>
                    <a:pt x="383667" y="1476104"/>
                  </a:lnTo>
                  <a:lnTo>
                    <a:pt x="370345" y="1482727"/>
                  </a:lnTo>
                  <a:lnTo>
                    <a:pt x="357023" y="1485376"/>
                  </a:lnTo>
                  <a:lnTo>
                    <a:pt x="342369" y="1486700"/>
                  </a:lnTo>
                  <a:lnTo>
                    <a:pt x="325051" y="1485376"/>
                  </a:lnTo>
                  <a:lnTo>
                    <a:pt x="310397" y="1482727"/>
                  </a:lnTo>
                  <a:lnTo>
                    <a:pt x="297075" y="1474780"/>
                  </a:lnTo>
                  <a:lnTo>
                    <a:pt x="287750" y="1464184"/>
                  </a:lnTo>
                  <a:lnTo>
                    <a:pt x="277092" y="1454912"/>
                  </a:lnTo>
                  <a:lnTo>
                    <a:pt x="270431" y="1441668"/>
                  </a:lnTo>
                  <a:lnTo>
                    <a:pt x="265102" y="1425774"/>
                  </a:lnTo>
                  <a:lnTo>
                    <a:pt x="263770" y="1411204"/>
                  </a:lnTo>
                  <a:lnTo>
                    <a:pt x="265102" y="1396635"/>
                  </a:lnTo>
                  <a:lnTo>
                    <a:pt x="331712" y="1088029"/>
                  </a:lnTo>
                  <a:lnTo>
                    <a:pt x="335708" y="1077101"/>
                  </a:lnTo>
                  <a:lnTo>
                    <a:pt x="335708" y="1075981"/>
                  </a:lnTo>
                  <a:lnTo>
                    <a:pt x="338373" y="1058572"/>
                  </a:lnTo>
                  <a:lnTo>
                    <a:pt x="403650" y="811806"/>
                  </a:lnTo>
                  <a:lnTo>
                    <a:pt x="403650" y="569087"/>
                  </a:lnTo>
                  <a:lnTo>
                    <a:pt x="311393" y="623453"/>
                  </a:lnTo>
                  <a:lnTo>
                    <a:pt x="311002" y="622487"/>
                  </a:lnTo>
                  <a:lnTo>
                    <a:pt x="303736" y="626120"/>
                  </a:lnTo>
                  <a:lnTo>
                    <a:pt x="289082" y="630116"/>
                  </a:lnTo>
                  <a:lnTo>
                    <a:pt x="274428" y="631448"/>
                  </a:lnTo>
                  <a:lnTo>
                    <a:pt x="258442" y="628784"/>
                  </a:lnTo>
                  <a:lnTo>
                    <a:pt x="250449" y="624787"/>
                  </a:lnTo>
                  <a:lnTo>
                    <a:pt x="242455" y="622123"/>
                  </a:lnTo>
                  <a:lnTo>
                    <a:pt x="235795" y="616794"/>
                  </a:lnTo>
                  <a:lnTo>
                    <a:pt x="227802" y="610133"/>
                  </a:lnTo>
                  <a:lnTo>
                    <a:pt x="26643" y="447609"/>
                  </a:lnTo>
                  <a:lnTo>
                    <a:pt x="17318" y="439616"/>
                  </a:lnTo>
                  <a:lnTo>
                    <a:pt x="10657" y="428958"/>
                  </a:lnTo>
                  <a:lnTo>
                    <a:pt x="5328" y="418301"/>
                  </a:lnTo>
                  <a:lnTo>
                    <a:pt x="2664" y="406311"/>
                  </a:lnTo>
                  <a:lnTo>
                    <a:pt x="0" y="394322"/>
                  </a:lnTo>
                  <a:lnTo>
                    <a:pt x="2664" y="383664"/>
                  </a:lnTo>
                  <a:lnTo>
                    <a:pt x="6661" y="371675"/>
                  </a:lnTo>
                  <a:lnTo>
                    <a:pt x="13321" y="359685"/>
                  </a:lnTo>
                  <a:lnTo>
                    <a:pt x="22647" y="351692"/>
                  </a:lnTo>
                  <a:lnTo>
                    <a:pt x="31972" y="343699"/>
                  </a:lnTo>
                  <a:lnTo>
                    <a:pt x="42629" y="338371"/>
                  </a:lnTo>
                  <a:lnTo>
                    <a:pt x="53287" y="335706"/>
                  </a:lnTo>
                  <a:lnTo>
                    <a:pt x="66608" y="335706"/>
                  </a:lnTo>
                  <a:lnTo>
                    <a:pt x="78598" y="337038"/>
                  </a:lnTo>
                  <a:lnTo>
                    <a:pt x="90588" y="339703"/>
                  </a:lnTo>
                  <a:lnTo>
                    <a:pt x="99913" y="346364"/>
                  </a:lnTo>
                  <a:lnTo>
                    <a:pt x="284860" y="482923"/>
                  </a:lnTo>
                  <a:lnTo>
                    <a:pt x="385510" y="431289"/>
                  </a:lnTo>
                  <a:lnTo>
                    <a:pt x="483451" y="378881"/>
                  </a:lnTo>
                  <a:lnTo>
                    <a:pt x="498263" y="371361"/>
                  </a:lnTo>
                  <a:lnTo>
                    <a:pt x="701542" y="260448"/>
                  </a:lnTo>
                  <a:lnTo>
                    <a:pt x="600983" y="149160"/>
                  </a:lnTo>
                  <a:lnTo>
                    <a:pt x="603476" y="155364"/>
                  </a:lnTo>
                  <a:lnTo>
                    <a:pt x="607472" y="169951"/>
                  </a:lnTo>
                  <a:lnTo>
                    <a:pt x="607472" y="185863"/>
                  </a:lnTo>
                  <a:lnTo>
                    <a:pt x="607472" y="200449"/>
                  </a:lnTo>
                  <a:lnTo>
                    <a:pt x="607472" y="213710"/>
                  </a:lnTo>
                  <a:lnTo>
                    <a:pt x="603476" y="228296"/>
                  </a:lnTo>
                  <a:lnTo>
                    <a:pt x="598147" y="241556"/>
                  </a:lnTo>
                  <a:lnTo>
                    <a:pt x="594151" y="254817"/>
                  </a:lnTo>
                  <a:lnTo>
                    <a:pt x="587490" y="266751"/>
                  </a:lnTo>
                  <a:lnTo>
                    <a:pt x="578164" y="277359"/>
                  </a:lnTo>
                  <a:lnTo>
                    <a:pt x="570171" y="289294"/>
                  </a:lnTo>
                  <a:lnTo>
                    <a:pt x="560846" y="298576"/>
                  </a:lnTo>
                  <a:lnTo>
                    <a:pt x="548857" y="307858"/>
                  </a:lnTo>
                  <a:lnTo>
                    <a:pt x="536866" y="315815"/>
                  </a:lnTo>
                  <a:lnTo>
                    <a:pt x="526209" y="322445"/>
                  </a:lnTo>
                  <a:lnTo>
                    <a:pt x="512887" y="327749"/>
                  </a:lnTo>
                  <a:lnTo>
                    <a:pt x="499565" y="330401"/>
                  </a:lnTo>
                  <a:lnTo>
                    <a:pt x="486244" y="334379"/>
                  </a:lnTo>
                  <a:lnTo>
                    <a:pt x="471590" y="335705"/>
                  </a:lnTo>
                  <a:lnTo>
                    <a:pt x="455604" y="335705"/>
                  </a:lnTo>
                  <a:lnTo>
                    <a:pt x="440950" y="334379"/>
                  </a:lnTo>
                  <a:lnTo>
                    <a:pt x="427628" y="330401"/>
                  </a:lnTo>
                  <a:lnTo>
                    <a:pt x="414306" y="327749"/>
                  </a:lnTo>
                  <a:lnTo>
                    <a:pt x="400985" y="321119"/>
                  </a:lnTo>
                  <a:lnTo>
                    <a:pt x="387663" y="314488"/>
                  </a:lnTo>
                  <a:lnTo>
                    <a:pt x="377006" y="307858"/>
                  </a:lnTo>
                  <a:lnTo>
                    <a:pt x="366348" y="297250"/>
                  </a:lnTo>
                  <a:lnTo>
                    <a:pt x="357023" y="287968"/>
                  </a:lnTo>
                  <a:lnTo>
                    <a:pt x="349030" y="277359"/>
                  </a:lnTo>
                  <a:lnTo>
                    <a:pt x="339705" y="266751"/>
                  </a:lnTo>
                  <a:lnTo>
                    <a:pt x="333044" y="254817"/>
                  </a:lnTo>
                  <a:lnTo>
                    <a:pt x="329047" y="241556"/>
                  </a:lnTo>
                  <a:lnTo>
                    <a:pt x="323719" y="228296"/>
                  </a:lnTo>
                  <a:lnTo>
                    <a:pt x="322387" y="213710"/>
                  </a:lnTo>
                  <a:lnTo>
                    <a:pt x="319722" y="200449"/>
                  </a:lnTo>
                  <a:lnTo>
                    <a:pt x="319722" y="185863"/>
                  </a:lnTo>
                  <a:lnTo>
                    <a:pt x="322387" y="169951"/>
                  </a:lnTo>
                  <a:lnTo>
                    <a:pt x="323719" y="155364"/>
                  </a:lnTo>
                  <a:lnTo>
                    <a:pt x="329047" y="142104"/>
                  </a:lnTo>
                  <a:lnTo>
                    <a:pt x="333044" y="128844"/>
                  </a:lnTo>
                  <a:lnTo>
                    <a:pt x="339705" y="118236"/>
                  </a:lnTo>
                  <a:lnTo>
                    <a:pt x="349030" y="106301"/>
                  </a:lnTo>
                  <a:lnTo>
                    <a:pt x="357023" y="94367"/>
                  </a:lnTo>
                  <a:lnTo>
                    <a:pt x="366348" y="86411"/>
                  </a:lnTo>
                  <a:lnTo>
                    <a:pt x="378338" y="75803"/>
                  </a:lnTo>
                  <a:lnTo>
                    <a:pt x="390327" y="70498"/>
                  </a:lnTo>
                  <a:lnTo>
                    <a:pt x="400985" y="63868"/>
                  </a:lnTo>
                  <a:lnTo>
                    <a:pt x="414306" y="57238"/>
                  </a:lnTo>
                  <a:lnTo>
                    <a:pt x="427628" y="53260"/>
                  </a:lnTo>
                  <a:lnTo>
                    <a:pt x="440950" y="50608"/>
                  </a:lnTo>
                  <a:lnTo>
                    <a:pt x="455604" y="47956"/>
                  </a:lnTo>
                  <a:lnTo>
                    <a:pt x="471590" y="47956"/>
                  </a:lnTo>
                  <a:lnTo>
                    <a:pt x="486244" y="50608"/>
                  </a:lnTo>
                  <a:lnTo>
                    <a:pt x="499565" y="53260"/>
                  </a:lnTo>
                  <a:lnTo>
                    <a:pt x="514219" y="57238"/>
                  </a:lnTo>
                  <a:lnTo>
                    <a:pt x="526209" y="63868"/>
                  </a:lnTo>
                  <a:lnTo>
                    <a:pt x="539531" y="70498"/>
                  </a:lnTo>
                  <a:lnTo>
                    <a:pt x="545732" y="75127"/>
                  </a:lnTo>
                  <a:lnTo>
                    <a:pt x="544859" y="71170"/>
                  </a:lnTo>
                  <a:lnTo>
                    <a:pt x="543527" y="57742"/>
                  </a:lnTo>
                  <a:lnTo>
                    <a:pt x="544859" y="45656"/>
                  </a:lnTo>
                  <a:lnTo>
                    <a:pt x="550188" y="34914"/>
                  </a:lnTo>
                  <a:lnTo>
                    <a:pt x="556849" y="24171"/>
                  </a:lnTo>
                  <a:lnTo>
                    <a:pt x="564842" y="14771"/>
                  </a:lnTo>
                  <a:lnTo>
                    <a:pt x="575499" y="8057"/>
                  </a:lnTo>
                  <a:lnTo>
                    <a:pt x="587489" y="2686"/>
                  </a:ln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>
              <a:noFill/>
            </a:ln>
          </p:spPr>
          <p:txBody>
            <a:bodyPr vert="horz" wrap="square" lIns="182880" tIns="91440" rIns="182880" bIns="91440" numCol="1" anchor="t" anchorCtr="0" compatLnSpc="1">
              <a:noAutofit/>
            </a:bodyPr>
            <a:lstStyle/>
            <a:p>
              <a:pPr algn="l" defTabSz="1828800" rtl="0"/>
              <a:endParaRPr lang="en-US" sz="3600" kern="1200" dirty="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28" name="组合 27"/>
          <p:cNvGrpSpPr/>
          <p:nvPr/>
        </p:nvGrpSpPr>
        <p:grpSpPr>
          <a:xfrm>
            <a:off x="1245388" y="2854351"/>
            <a:ext cx="2713780" cy="1184047"/>
            <a:chOff x="2676067" y="1799802"/>
            <a:chExt cx="2713780" cy="1184047"/>
          </a:xfrm>
        </p:grpSpPr>
        <p:sp>
          <p:nvSpPr>
            <p:cNvPr id="29" name="TextBox 53"/>
            <p:cNvSpPr txBox="1"/>
            <p:nvPr/>
          </p:nvSpPr>
          <p:spPr>
            <a:xfrm>
              <a:off x="2676067" y="2374451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0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31" name="组合 30"/>
          <p:cNvGrpSpPr/>
          <p:nvPr/>
        </p:nvGrpSpPr>
        <p:grpSpPr>
          <a:xfrm>
            <a:off x="6829254" y="1618078"/>
            <a:ext cx="2713780" cy="1184047"/>
            <a:chOff x="2676067" y="1799802"/>
            <a:chExt cx="2713780" cy="1184047"/>
          </a:xfrm>
        </p:grpSpPr>
        <p:sp>
          <p:nvSpPr>
            <p:cNvPr id="32" name="TextBox 53"/>
            <p:cNvSpPr txBox="1"/>
            <p:nvPr/>
          </p:nvSpPr>
          <p:spPr>
            <a:xfrm>
              <a:off x="2676067" y="2374451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3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34" name="组合 33"/>
          <p:cNvGrpSpPr/>
          <p:nvPr/>
        </p:nvGrpSpPr>
        <p:grpSpPr>
          <a:xfrm>
            <a:off x="8186144" y="3204021"/>
            <a:ext cx="2713780" cy="1184047"/>
            <a:chOff x="2676067" y="1799802"/>
            <a:chExt cx="2713780" cy="1184047"/>
          </a:xfrm>
        </p:grpSpPr>
        <p:sp>
          <p:nvSpPr>
            <p:cNvPr id="35" name="TextBox 53"/>
            <p:cNvSpPr txBox="1"/>
            <p:nvPr/>
          </p:nvSpPr>
          <p:spPr>
            <a:xfrm>
              <a:off x="2676067" y="2374451"/>
              <a:ext cx="2713780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6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37" name="文本框 36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工作概述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OVERVIEW OF WOR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75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7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75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75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3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39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矩形 21"/>
          <p:cNvSpPr/>
          <p:nvPr/>
        </p:nvSpPr>
        <p:spPr>
          <a:xfrm>
            <a:off x="794990" y="1667413"/>
            <a:ext cx="1570529" cy="1642144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3" name="矩形 22"/>
          <p:cNvSpPr/>
          <p:nvPr/>
        </p:nvSpPr>
        <p:spPr>
          <a:xfrm>
            <a:off x="2582212" y="2052256"/>
            <a:ext cx="3562392" cy="3724835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5" name="TextBox 53"/>
          <p:cNvSpPr txBox="1"/>
          <p:nvPr/>
        </p:nvSpPr>
        <p:spPr>
          <a:xfrm>
            <a:off x="6625457" y="2245334"/>
            <a:ext cx="4621663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9" name="组合 8"/>
          <p:cNvGrpSpPr/>
          <p:nvPr/>
        </p:nvGrpSpPr>
        <p:grpSpPr>
          <a:xfrm>
            <a:off x="6611757" y="1876002"/>
            <a:ext cx="1904531" cy="369332"/>
            <a:chOff x="6611757" y="1876002"/>
            <a:chExt cx="1904531" cy="369332"/>
          </a:xfrm>
        </p:grpSpPr>
        <p:sp>
          <p:nvSpPr>
            <p:cNvPr id="39" name="TextBox 42"/>
            <p:cNvSpPr txBox="1"/>
            <p:nvPr/>
          </p:nvSpPr>
          <p:spPr>
            <a:xfrm>
              <a:off x="6876160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  <p:sp>
          <p:nvSpPr>
            <p:cNvPr id="8" name="椭圆 7"/>
            <p:cNvSpPr/>
            <p:nvPr/>
          </p:nvSpPr>
          <p:spPr>
            <a:xfrm>
              <a:off x="6611757" y="1991142"/>
              <a:ext cx="139052" cy="139052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44" name="TextBox 53"/>
          <p:cNvSpPr txBox="1"/>
          <p:nvPr/>
        </p:nvSpPr>
        <p:spPr>
          <a:xfrm>
            <a:off x="6625457" y="3494223"/>
            <a:ext cx="4621663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45" name="组合 44"/>
          <p:cNvGrpSpPr/>
          <p:nvPr/>
        </p:nvGrpSpPr>
        <p:grpSpPr>
          <a:xfrm>
            <a:off x="6611757" y="3124891"/>
            <a:ext cx="1904531" cy="369332"/>
            <a:chOff x="6611757" y="1876002"/>
            <a:chExt cx="1904531" cy="369332"/>
          </a:xfrm>
        </p:grpSpPr>
        <p:sp>
          <p:nvSpPr>
            <p:cNvPr id="46" name="TextBox 42"/>
            <p:cNvSpPr txBox="1"/>
            <p:nvPr/>
          </p:nvSpPr>
          <p:spPr>
            <a:xfrm>
              <a:off x="6876160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  <p:sp>
          <p:nvSpPr>
            <p:cNvPr id="47" name="椭圆 46"/>
            <p:cNvSpPr/>
            <p:nvPr/>
          </p:nvSpPr>
          <p:spPr>
            <a:xfrm>
              <a:off x="6611757" y="1991142"/>
              <a:ext cx="139052" cy="139052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48" name="TextBox 53"/>
          <p:cNvSpPr txBox="1"/>
          <p:nvPr/>
        </p:nvSpPr>
        <p:spPr>
          <a:xfrm>
            <a:off x="6625457" y="4815023"/>
            <a:ext cx="4621663" cy="6093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zh-CN"/>
            </a:defPPr>
            <a:lvl1pPr algn="just">
              <a:lnSpc>
                <a:spcPts val="2000"/>
              </a:lnSpc>
              <a:defRPr sz="1200">
                <a:solidFill>
                  <a:schemeClr val="tx1">
                    <a:lumMod val="65000"/>
                    <a:lumOff val="35000"/>
                  </a:schemeClr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1pPr>
          </a:lstStyle>
          <a:p>
            <a:pPr algn="l">
              <a:lnSpc>
                <a:spcPct val="150000"/>
              </a:lnSpc>
            </a:pPr>
            <a:r>
              <a:rPr lang="zh-CN" altLang="en-US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点击输入简要文字内容，文字内容需概括精炼，不用多余的文字修饰</a:t>
            </a:r>
            <a:endParaRPr lang="en-US" altLang="zh-CN" sz="1400" dirty="0">
              <a:solidFill>
                <a:schemeClr val="lt1">
                  <a:lumMod val="75000"/>
                  <a:lumOff val="25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49" name="组合 48"/>
          <p:cNvGrpSpPr/>
          <p:nvPr/>
        </p:nvGrpSpPr>
        <p:grpSpPr>
          <a:xfrm>
            <a:off x="6611757" y="4445691"/>
            <a:ext cx="1904531" cy="369332"/>
            <a:chOff x="6611757" y="1876002"/>
            <a:chExt cx="1904531" cy="369332"/>
          </a:xfrm>
        </p:grpSpPr>
        <p:sp>
          <p:nvSpPr>
            <p:cNvPr id="50" name="TextBox 42"/>
            <p:cNvSpPr txBox="1"/>
            <p:nvPr/>
          </p:nvSpPr>
          <p:spPr>
            <a:xfrm>
              <a:off x="6876160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  <p:sp>
          <p:nvSpPr>
            <p:cNvPr id="51" name="椭圆 50"/>
            <p:cNvSpPr/>
            <p:nvPr/>
          </p:nvSpPr>
          <p:spPr>
            <a:xfrm>
              <a:off x="6611757" y="1991142"/>
              <a:ext cx="139052" cy="139052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sp>
        <p:nvSpPr>
          <p:cNvPr id="14" name="矩形 13"/>
          <p:cNvSpPr/>
          <p:nvPr/>
        </p:nvSpPr>
        <p:spPr>
          <a:xfrm>
            <a:off x="891540" y="1771452"/>
            <a:ext cx="5114012" cy="3833908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8" name="文本框 27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工作概述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OVERVIEW OF WOR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7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75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75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1" presetID="2" presetClass="entr" presetSubtype="4" fill="hold" nodeType="afterEffect" p14:presetBounceEnd="4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2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4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nodeType="withEffect" p14:presetBounceEnd="40000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27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2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nodeType="withEffect" p14:presetBounceEnd="40000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40000">
                                          <p:cBhvr additive="base">
                                            <p:cTn id="31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40000">
                                          <p:cBhvr additive="base">
                                            <p:cTn id="32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34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8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40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2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44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 animBg="1"/>
          <p:bldP spid="23" grpId="0" animBg="1"/>
          <p:bldP spid="25" grpId="0"/>
          <p:bldP spid="44" grpId="0"/>
          <p:bldP spid="48" grpId="0"/>
          <p:bldP spid="14" grpId="0" animBg="1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7" dur="750"/>
                                            <p:tgtEl>
                                              <p:spTgt spid="23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8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9" dur="750" fill="hold"/>
                                            <p:tgtEl>
                                              <p:spTgt spid="23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0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750"/>
                                            <p:tgtEl>
                                              <p:spTgt spid="22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750" fill="hold"/>
                                            <p:tgtEl>
                                              <p:spTgt spid="2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42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750"/>
                                            <p:tgtEl>
                                              <p:spTgt spid="14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8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9" dur="750" fill="hold"/>
                                            <p:tgtEl>
                                              <p:spTgt spid="14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+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0" fill="hold">
                                <p:stCondLst>
                                  <p:cond delay="1000"/>
                                </p:stCondLst>
                                <p:childTnLst>
                                  <p:par>
                                    <p:cTn id="21" presetID="2" presetClass="entr" presetSubtype="4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3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4" dur="5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5" presetID="2" presetClass="entr" presetSubtype="4" fill="hold" nodeType="withEffect">
                                      <p:stCondLst>
                                        <p:cond delay="250"/>
                                      </p:stCondLst>
                                      <p:childTnLst>
                                        <p:set>
                                          <p:cBhvr>
                                            <p:cTn id="2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27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28" dur="500" fill="hold"/>
                                            <p:tgtEl>
                                              <p:spTgt spid="45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29" presetID="2" presetClass="entr" presetSubtype="4" fill="hold" nodeType="withEffect">
                                      <p:stCondLst>
                                        <p:cond delay="50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31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32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h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3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34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5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36" dur="500"/>
                                            <p:tgtEl>
                                              <p:spTgt spid="2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37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38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9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40" dur="500"/>
                                            <p:tgtEl>
                                              <p:spTgt spid="4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41" fill="hold">
                                <p:stCondLst>
                                  <p:cond delay="2500"/>
                                </p:stCondLst>
                                <p:childTnLst>
                                  <p:par>
                                    <p:cTn id="42" presetID="14" presetClass="entr" presetSubtype="1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4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randombar(horizontal)">
                                          <p:cBhvr>
                                            <p:cTn id="44" dur="500"/>
                                            <p:tgtEl>
                                              <p:spTgt spid="4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22" grpId="0" animBg="1"/>
          <p:bldP spid="23" grpId="0" animBg="1"/>
          <p:bldP spid="25" grpId="0"/>
          <p:bldP spid="44" grpId="0"/>
          <p:bldP spid="48" grpId="0"/>
          <p:bldP spid="14" grpId="0" animBg="1"/>
        </p:bldLst>
      </p:timing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矩形 9"/>
          <p:cNvSpPr/>
          <p:nvPr/>
        </p:nvSpPr>
        <p:spPr>
          <a:xfrm>
            <a:off x="6305550" y="1765753"/>
            <a:ext cx="4803493" cy="1788118"/>
          </a:xfrm>
          <a:prstGeom prst="rect">
            <a:avLst/>
          </a:prstGeom>
          <a:blipFill dpi="0" rotWithShape="1">
            <a:blip r:embed="rId3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60" name="矩形 59"/>
          <p:cNvSpPr/>
          <p:nvPr/>
        </p:nvSpPr>
        <p:spPr>
          <a:xfrm>
            <a:off x="6305550" y="3695829"/>
            <a:ext cx="2294499" cy="1676212"/>
          </a:xfrm>
          <a:prstGeom prst="rect">
            <a:avLst/>
          </a:prstGeom>
          <a:blipFill dpi="0" rotWithShape="1">
            <a:blip r:embed="rId4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61" name="矩形 60"/>
          <p:cNvSpPr/>
          <p:nvPr/>
        </p:nvSpPr>
        <p:spPr>
          <a:xfrm>
            <a:off x="8814544" y="3695829"/>
            <a:ext cx="2294499" cy="1676212"/>
          </a:xfrm>
          <a:prstGeom prst="rect">
            <a:avLst/>
          </a:prstGeom>
          <a:blipFill dpi="0" rotWithShape="1">
            <a:blip r:embed="rId5"/>
            <a:srcRect/>
            <a:tile tx="0" ty="0" sx="100000" sy="100000" flip="none" algn="ctr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grpSp>
        <p:nvGrpSpPr>
          <p:cNvPr id="32" name="组合 31"/>
          <p:cNvGrpSpPr/>
          <p:nvPr/>
        </p:nvGrpSpPr>
        <p:grpSpPr>
          <a:xfrm>
            <a:off x="1176164" y="2073267"/>
            <a:ext cx="584200" cy="584200"/>
            <a:chOff x="1028700" y="1853169"/>
            <a:chExt cx="787400" cy="787400"/>
          </a:xfrm>
        </p:grpSpPr>
        <p:sp>
          <p:nvSpPr>
            <p:cNvPr id="33" name="椭圆 32"/>
            <p:cNvSpPr/>
            <p:nvPr/>
          </p:nvSpPr>
          <p:spPr>
            <a:xfrm>
              <a:off x="1028700" y="1853169"/>
              <a:ext cx="787400" cy="787400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34" name="椭圆 9"/>
            <p:cNvSpPr/>
            <p:nvPr/>
          </p:nvSpPr>
          <p:spPr>
            <a:xfrm>
              <a:off x="1237694" y="2063723"/>
              <a:ext cx="369412" cy="366291"/>
            </a:xfrm>
            <a:custGeom>
              <a:avLst/>
              <a:gdLst>
                <a:gd name="connsiteX0" fmla="*/ 192254 w 338138"/>
                <a:gd name="connsiteY0" fmla="*/ 135421 h 335282"/>
                <a:gd name="connsiteX1" fmla="*/ 152810 w 338138"/>
                <a:gd name="connsiteY1" fmla="*/ 151158 h 335282"/>
                <a:gd name="connsiteX2" fmla="*/ 152810 w 338138"/>
                <a:gd name="connsiteY2" fmla="*/ 229842 h 335282"/>
                <a:gd name="connsiteX3" fmla="*/ 232697 w 338138"/>
                <a:gd name="connsiteY3" fmla="*/ 229842 h 335282"/>
                <a:gd name="connsiteX4" fmla="*/ 232697 w 338138"/>
                <a:gd name="connsiteY4" fmla="*/ 151158 h 335282"/>
                <a:gd name="connsiteX5" fmla="*/ 192254 w 338138"/>
                <a:gd name="connsiteY5" fmla="*/ 135421 h 335282"/>
                <a:gd name="connsiteX6" fmla="*/ 238125 w 338138"/>
                <a:gd name="connsiteY6" fmla="*/ 69850 h 335282"/>
                <a:gd name="connsiteX7" fmla="*/ 225425 w 338138"/>
                <a:gd name="connsiteY7" fmla="*/ 80963 h 335282"/>
                <a:gd name="connsiteX8" fmla="*/ 238125 w 338138"/>
                <a:gd name="connsiteY8" fmla="*/ 92076 h 335282"/>
                <a:gd name="connsiteX9" fmla="*/ 250825 w 338138"/>
                <a:gd name="connsiteY9" fmla="*/ 80963 h 335282"/>
                <a:gd name="connsiteX10" fmla="*/ 238125 w 338138"/>
                <a:gd name="connsiteY10" fmla="*/ 69850 h 335282"/>
                <a:gd name="connsiteX11" fmla="*/ 214313 w 338138"/>
                <a:gd name="connsiteY11" fmla="*/ 57150 h 335282"/>
                <a:gd name="connsiteX12" fmla="*/ 263526 w 338138"/>
                <a:gd name="connsiteY12" fmla="*/ 57150 h 335282"/>
                <a:gd name="connsiteX13" fmla="*/ 263526 w 338138"/>
                <a:gd name="connsiteY13" fmla="*/ 106363 h 335282"/>
                <a:gd name="connsiteX14" fmla="*/ 214313 w 338138"/>
                <a:gd name="connsiteY14" fmla="*/ 106363 h 335282"/>
                <a:gd name="connsiteX15" fmla="*/ 49213 w 338138"/>
                <a:gd name="connsiteY15" fmla="*/ 57150 h 335282"/>
                <a:gd name="connsiteX16" fmla="*/ 195263 w 338138"/>
                <a:gd name="connsiteY16" fmla="*/ 57150 h 335282"/>
                <a:gd name="connsiteX17" fmla="*/ 195263 w 338138"/>
                <a:gd name="connsiteY17" fmla="*/ 106363 h 335282"/>
                <a:gd name="connsiteX18" fmla="*/ 49213 w 338138"/>
                <a:gd name="connsiteY18" fmla="*/ 106363 h 335282"/>
                <a:gd name="connsiteX19" fmla="*/ 22225 w 338138"/>
                <a:gd name="connsiteY19" fmla="*/ 28575 h 335282"/>
                <a:gd name="connsiteX20" fmla="*/ 22225 w 338138"/>
                <a:gd name="connsiteY20" fmla="*/ 269875 h 335282"/>
                <a:gd name="connsiteX21" fmla="*/ 241853 w 338138"/>
                <a:gd name="connsiteY21" fmla="*/ 269875 h 335282"/>
                <a:gd name="connsiteX22" fmla="*/ 247114 w 338138"/>
                <a:gd name="connsiteY22" fmla="*/ 259384 h 335282"/>
                <a:gd name="connsiteX23" fmla="*/ 233962 w 338138"/>
                <a:gd name="connsiteY23" fmla="*/ 248892 h 335282"/>
                <a:gd name="connsiteX24" fmla="*/ 155054 w 338138"/>
                <a:gd name="connsiteY24" fmla="*/ 251515 h 335282"/>
                <a:gd name="connsiteX25" fmla="*/ 49843 w 338138"/>
                <a:gd name="connsiteY25" fmla="*/ 251515 h 335282"/>
                <a:gd name="connsiteX26" fmla="*/ 49843 w 338138"/>
                <a:gd name="connsiteY26" fmla="*/ 231844 h 335282"/>
                <a:gd name="connsiteX27" fmla="*/ 135327 w 338138"/>
                <a:gd name="connsiteY27" fmla="*/ 231844 h 335282"/>
                <a:gd name="connsiteX28" fmla="*/ 122175 w 338138"/>
                <a:gd name="connsiteY28" fmla="*/ 201682 h 335282"/>
                <a:gd name="connsiteX29" fmla="*/ 49843 w 338138"/>
                <a:gd name="connsiteY29" fmla="*/ 201682 h 335282"/>
                <a:gd name="connsiteX30" fmla="*/ 49843 w 338138"/>
                <a:gd name="connsiteY30" fmla="*/ 183322 h 335282"/>
                <a:gd name="connsiteX31" fmla="*/ 120860 w 338138"/>
                <a:gd name="connsiteY31" fmla="*/ 183322 h 335282"/>
                <a:gd name="connsiteX32" fmla="*/ 131381 w 338138"/>
                <a:gd name="connsiteY32" fmla="*/ 153159 h 335282"/>
                <a:gd name="connsiteX33" fmla="*/ 49843 w 338138"/>
                <a:gd name="connsiteY33" fmla="*/ 153159 h 335282"/>
                <a:gd name="connsiteX34" fmla="*/ 49843 w 338138"/>
                <a:gd name="connsiteY34" fmla="*/ 134800 h 335282"/>
                <a:gd name="connsiteX35" fmla="*/ 147163 w 338138"/>
                <a:gd name="connsiteY35" fmla="*/ 134800 h 335282"/>
                <a:gd name="connsiteX36" fmla="*/ 243168 w 338138"/>
                <a:gd name="connsiteY36" fmla="*/ 138734 h 335282"/>
                <a:gd name="connsiteX37" fmla="*/ 251059 w 338138"/>
                <a:gd name="connsiteY37" fmla="*/ 231844 h 335282"/>
                <a:gd name="connsiteX38" fmla="*/ 264210 w 338138"/>
                <a:gd name="connsiteY38" fmla="*/ 243647 h 335282"/>
                <a:gd name="connsiteX39" fmla="*/ 272101 w 338138"/>
                <a:gd name="connsiteY39" fmla="*/ 238401 h 335282"/>
                <a:gd name="connsiteX40" fmla="*/ 290513 w 338138"/>
                <a:gd name="connsiteY40" fmla="*/ 256761 h 335282"/>
                <a:gd name="connsiteX41" fmla="*/ 290513 w 338138"/>
                <a:gd name="connsiteY41" fmla="*/ 28575 h 335282"/>
                <a:gd name="connsiteX42" fmla="*/ 22225 w 338138"/>
                <a:gd name="connsiteY42" fmla="*/ 28575 h 335282"/>
                <a:gd name="connsiteX43" fmla="*/ 0 w 338138"/>
                <a:gd name="connsiteY43" fmla="*/ 0 h 335282"/>
                <a:gd name="connsiteX44" fmla="*/ 311721 w 338138"/>
                <a:gd name="connsiteY44" fmla="*/ 0 h 335282"/>
                <a:gd name="connsiteX45" fmla="*/ 311721 w 338138"/>
                <a:gd name="connsiteY45" fmla="*/ 278479 h 335282"/>
                <a:gd name="connsiteX46" fmla="*/ 338138 w 338138"/>
                <a:gd name="connsiteY46" fmla="*/ 304875 h 335282"/>
                <a:gd name="connsiteX47" fmla="*/ 330213 w 338138"/>
                <a:gd name="connsiteY47" fmla="*/ 325992 h 335282"/>
                <a:gd name="connsiteX48" fmla="*/ 307759 w 338138"/>
                <a:gd name="connsiteY48" fmla="*/ 335230 h 335282"/>
                <a:gd name="connsiteX49" fmla="*/ 262850 w 338138"/>
                <a:gd name="connsiteY49" fmla="*/ 291677 h 335282"/>
                <a:gd name="connsiteX50" fmla="*/ 0 w 338138"/>
                <a:gd name="connsiteY50" fmla="*/ 291677 h 335282"/>
                <a:gd name="connsiteX51" fmla="*/ 0 w 338138"/>
                <a:gd name="connsiteY51" fmla="*/ 0 h 33528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</a:cxnLst>
              <a:rect l="l" t="t" r="r" b="b"/>
              <a:pathLst>
                <a:path w="338138" h="335282">
                  <a:moveTo>
                    <a:pt x="192254" y="135421"/>
                  </a:moveTo>
                  <a:cubicBezTo>
                    <a:pt x="177774" y="135421"/>
                    <a:pt x="163461" y="140666"/>
                    <a:pt x="152810" y="151158"/>
                  </a:cubicBezTo>
                  <a:cubicBezTo>
                    <a:pt x="130175" y="173452"/>
                    <a:pt x="130175" y="207548"/>
                    <a:pt x="152810" y="229842"/>
                  </a:cubicBezTo>
                  <a:cubicBezTo>
                    <a:pt x="174113" y="250825"/>
                    <a:pt x="210062" y="250825"/>
                    <a:pt x="232697" y="229842"/>
                  </a:cubicBezTo>
                  <a:cubicBezTo>
                    <a:pt x="254000" y="207548"/>
                    <a:pt x="254000" y="173452"/>
                    <a:pt x="232697" y="151158"/>
                  </a:cubicBezTo>
                  <a:cubicBezTo>
                    <a:pt x="221379" y="140666"/>
                    <a:pt x="206733" y="135421"/>
                    <a:pt x="192254" y="135421"/>
                  </a:cubicBezTo>
                  <a:close/>
                  <a:moveTo>
                    <a:pt x="238125" y="69850"/>
                  </a:moveTo>
                  <a:cubicBezTo>
                    <a:pt x="231111" y="69850"/>
                    <a:pt x="225425" y="74825"/>
                    <a:pt x="225425" y="80963"/>
                  </a:cubicBezTo>
                  <a:cubicBezTo>
                    <a:pt x="225425" y="87101"/>
                    <a:pt x="231111" y="92076"/>
                    <a:pt x="238125" y="92076"/>
                  </a:cubicBezTo>
                  <a:cubicBezTo>
                    <a:pt x="245139" y="92076"/>
                    <a:pt x="250825" y="87101"/>
                    <a:pt x="250825" y="80963"/>
                  </a:cubicBezTo>
                  <a:cubicBezTo>
                    <a:pt x="250825" y="74825"/>
                    <a:pt x="245139" y="69850"/>
                    <a:pt x="238125" y="69850"/>
                  </a:cubicBezTo>
                  <a:close/>
                  <a:moveTo>
                    <a:pt x="214313" y="57150"/>
                  </a:moveTo>
                  <a:lnTo>
                    <a:pt x="263526" y="57150"/>
                  </a:lnTo>
                  <a:lnTo>
                    <a:pt x="263526" y="106363"/>
                  </a:lnTo>
                  <a:lnTo>
                    <a:pt x="214313" y="106363"/>
                  </a:lnTo>
                  <a:close/>
                  <a:moveTo>
                    <a:pt x="49213" y="57150"/>
                  </a:moveTo>
                  <a:lnTo>
                    <a:pt x="195263" y="57150"/>
                  </a:lnTo>
                  <a:lnTo>
                    <a:pt x="195263" y="106363"/>
                  </a:lnTo>
                  <a:lnTo>
                    <a:pt x="49213" y="106363"/>
                  </a:lnTo>
                  <a:close/>
                  <a:moveTo>
                    <a:pt x="22225" y="28575"/>
                  </a:moveTo>
                  <a:cubicBezTo>
                    <a:pt x="22225" y="28575"/>
                    <a:pt x="22225" y="28575"/>
                    <a:pt x="22225" y="269875"/>
                  </a:cubicBezTo>
                  <a:lnTo>
                    <a:pt x="241853" y="269875"/>
                  </a:lnTo>
                  <a:cubicBezTo>
                    <a:pt x="241853" y="269875"/>
                    <a:pt x="241853" y="269875"/>
                    <a:pt x="247114" y="259384"/>
                  </a:cubicBezTo>
                  <a:cubicBezTo>
                    <a:pt x="247114" y="259384"/>
                    <a:pt x="247114" y="259384"/>
                    <a:pt x="233962" y="248892"/>
                  </a:cubicBezTo>
                  <a:cubicBezTo>
                    <a:pt x="210289" y="264629"/>
                    <a:pt x="178726" y="265941"/>
                    <a:pt x="155054" y="251515"/>
                  </a:cubicBezTo>
                  <a:cubicBezTo>
                    <a:pt x="155054" y="251515"/>
                    <a:pt x="155054" y="251515"/>
                    <a:pt x="49843" y="251515"/>
                  </a:cubicBezTo>
                  <a:cubicBezTo>
                    <a:pt x="49843" y="251515"/>
                    <a:pt x="49843" y="251515"/>
                    <a:pt x="49843" y="231844"/>
                  </a:cubicBezTo>
                  <a:cubicBezTo>
                    <a:pt x="49843" y="231844"/>
                    <a:pt x="49843" y="231844"/>
                    <a:pt x="135327" y="231844"/>
                  </a:cubicBezTo>
                  <a:cubicBezTo>
                    <a:pt x="128751" y="222664"/>
                    <a:pt x="123490" y="213484"/>
                    <a:pt x="122175" y="201682"/>
                  </a:cubicBezTo>
                  <a:cubicBezTo>
                    <a:pt x="122175" y="201682"/>
                    <a:pt x="122175" y="201682"/>
                    <a:pt x="49843" y="201682"/>
                  </a:cubicBezTo>
                  <a:cubicBezTo>
                    <a:pt x="49843" y="201682"/>
                    <a:pt x="49843" y="201682"/>
                    <a:pt x="49843" y="183322"/>
                  </a:cubicBezTo>
                  <a:cubicBezTo>
                    <a:pt x="49843" y="183322"/>
                    <a:pt x="49843" y="183322"/>
                    <a:pt x="120860" y="183322"/>
                  </a:cubicBezTo>
                  <a:cubicBezTo>
                    <a:pt x="122175" y="172831"/>
                    <a:pt x="124806" y="162339"/>
                    <a:pt x="131381" y="153159"/>
                  </a:cubicBezTo>
                  <a:cubicBezTo>
                    <a:pt x="131381" y="153159"/>
                    <a:pt x="131381" y="153159"/>
                    <a:pt x="49843" y="153159"/>
                  </a:cubicBezTo>
                  <a:cubicBezTo>
                    <a:pt x="49843" y="153159"/>
                    <a:pt x="49843" y="153159"/>
                    <a:pt x="49843" y="134800"/>
                  </a:cubicBezTo>
                  <a:cubicBezTo>
                    <a:pt x="49843" y="134800"/>
                    <a:pt x="49843" y="134800"/>
                    <a:pt x="147163" y="134800"/>
                  </a:cubicBezTo>
                  <a:cubicBezTo>
                    <a:pt x="174781" y="111194"/>
                    <a:pt x="216865" y="112506"/>
                    <a:pt x="243168" y="138734"/>
                  </a:cubicBezTo>
                  <a:cubicBezTo>
                    <a:pt x="269471" y="164962"/>
                    <a:pt x="270786" y="202993"/>
                    <a:pt x="251059" y="231844"/>
                  </a:cubicBezTo>
                  <a:cubicBezTo>
                    <a:pt x="251059" y="231844"/>
                    <a:pt x="251059" y="231844"/>
                    <a:pt x="264210" y="243647"/>
                  </a:cubicBezTo>
                  <a:cubicBezTo>
                    <a:pt x="264210" y="243647"/>
                    <a:pt x="264210" y="243647"/>
                    <a:pt x="272101" y="238401"/>
                  </a:cubicBezTo>
                  <a:cubicBezTo>
                    <a:pt x="272101" y="238401"/>
                    <a:pt x="272101" y="238401"/>
                    <a:pt x="290513" y="256761"/>
                  </a:cubicBezTo>
                  <a:cubicBezTo>
                    <a:pt x="290513" y="256761"/>
                    <a:pt x="290513" y="256761"/>
                    <a:pt x="290513" y="28575"/>
                  </a:cubicBezTo>
                  <a:cubicBezTo>
                    <a:pt x="290513" y="28575"/>
                    <a:pt x="290513" y="28575"/>
                    <a:pt x="22225" y="28575"/>
                  </a:cubicBezTo>
                  <a:close/>
                  <a:moveTo>
                    <a:pt x="0" y="0"/>
                  </a:moveTo>
                  <a:cubicBezTo>
                    <a:pt x="0" y="0"/>
                    <a:pt x="0" y="0"/>
                    <a:pt x="311721" y="0"/>
                  </a:cubicBezTo>
                  <a:cubicBezTo>
                    <a:pt x="311721" y="0"/>
                    <a:pt x="311721" y="0"/>
                    <a:pt x="311721" y="278479"/>
                  </a:cubicBezTo>
                  <a:cubicBezTo>
                    <a:pt x="311721" y="278479"/>
                    <a:pt x="311721" y="278479"/>
                    <a:pt x="338138" y="304875"/>
                  </a:cubicBezTo>
                  <a:cubicBezTo>
                    <a:pt x="338138" y="304875"/>
                    <a:pt x="338138" y="316753"/>
                    <a:pt x="330213" y="325992"/>
                  </a:cubicBezTo>
                  <a:cubicBezTo>
                    <a:pt x="320967" y="336550"/>
                    <a:pt x="307759" y="335230"/>
                    <a:pt x="307759" y="335230"/>
                  </a:cubicBezTo>
                  <a:cubicBezTo>
                    <a:pt x="307759" y="335230"/>
                    <a:pt x="307759" y="335230"/>
                    <a:pt x="262850" y="291677"/>
                  </a:cubicBezTo>
                  <a:cubicBezTo>
                    <a:pt x="262850" y="291677"/>
                    <a:pt x="262850" y="291677"/>
                    <a:pt x="0" y="291677"/>
                  </a:cubicBezTo>
                  <a:cubicBezTo>
                    <a:pt x="0" y="291677"/>
                    <a:pt x="0" y="291677"/>
                    <a:pt x="0" y="0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40" name="组合 39"/>
          <p:cNvGrpSpPr/>
          <p:nvPr/>
        </p:nvGrpSpPr>
        <p:grpSpPr>
          <a:xfrm>
            <a:off x="1176164" y="3331921"/>
            <a:ext cx="584200" cy="584200"/>
            <a:chOff x="1028700" y="1853169"/>
            <a:chExt cx="787400" cy="787400"/>
          </a:xfrm>
        </p:grpSpPr>
        <p:sp>
          <p:nvSpPr>
            <p:cNvPr id="41" name="椭圆 40"/>
            <p:cNvSpPr/>
            <p:nvPr/>
          </p:nvSpPr>
          <p:spPr>
            <a:xfrm>
              <a:off x="1028700" y="1853169"/>
              <a:ext cx="787400" cy="787400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42" name="椭圆 16"/>
            <p:cNvSpPr/>
            <p:nvPr/>
          </p:nvSpPr>
          <p:spPr>
            <a:xfrm>
              <a:off x="1237694" y="2062163"/>
              <a:ext cx="369412" cy="369412"/>
            </a:xfrm>
            <a:custGeom>
              <a:avLst/>
              <a:gdLst>
                <a:gd name="connsiteX0" fmla="*/ 311151 w 331788"/>
                <a:gd name="connsiteY0" fmla="*/ 34925 h 331788"/>
                <a:gd name="connsiteX1" fmla="*/ 331788 w 331788"/>
                <a:gd name="connsiteY1" fmla="*/ 92075 h 331788"/>
                <a:gd name="connsiteX2" fmla="*/ 311151 w 331788"/>
                <a:gd name="connsiteY2" fmla="*/ 98425 h 331788"/>
                <a:gd name="connsiteX3" fmla="*/ 304801 w 331788"/>
                <a:gd name="connsiteY3" fmla="*/ 76200 h 331788"/>
                <a:gd name="connsiteX4" fmla="*/ 254001 w 331788"/>
                <a:gd name="connsiteY4" fmla="*/ 222251 h 331788"/>
                <a:gd name="connsiteX5" fmla="*/ 206376 w 331788"/>
                <a:gd name="connsiteY5" fmla="*/ 146050 h 331788"/>
                <a:gd name="connsiteX6" fmla="*/ 157163 w 331788"/>
                <a:gd name="connsiteY6" fmla="*/ 241301 h 331788"/>
                <a:gd name="connsiteX7" fmla="*/ 103188 w 331788"/>
                <a:gd name="connsiteY7" fmla="*/ 163513 h 331788"/>
                <a:gd name="connsiteX8" fmla="*/ 61913 w 331788"/>
                <a:gd name="connsiteY8" fmla="*/ 242888 h 331788"/>
                <a:gd name="connsiteX9" fmla="*/ 44450 w 331788"/>
                <a:gd name="connsiteY9" fmla="*/ 231776 h 331788"/>
                <a:gd name="connsiteX10" fmla="*/ 101600 w 331788"/>
                <a:gd name="connsiteY10" fmla="*/ 123825 h 331788"/>
                <a:gd name="connsiteX11" fmla="*/ 153988 w 331788"/>
                <a:gd name="connsiteY11" fmla="*/ 201613 h 331788"/>
                <a:gd name="connsiteX12" fmla="*/ 203201 w 331788"/>
                <a:gd name="connsiteY12" fmla="*/ 106363 h 331788"/>
                <a:gd name="connsiteX13" fmla="*/ 247651 w 331788"/>
                <a:gd name="connsiteY13" fmla="*/ 174625 h 331788"/>
                <a:gd name="connsiteX14" fmla="*/ 284163 w 331788"/>
                <a:gd name="connsiteY14" fmla="*/ 69850 h 331788"/>
                <a:gd name="connsiteX15" fmla="*/ 263526 w 331788"/>
                <a:gd name="connsiteY15" fmla="*/ 79375 h 331788"/>
                <a:gd name="connsiteX16" fmla="*/ 255588 w 331788"/>
                <a:gd name="connsiteY16" fmla="*/ 61913 h 331788"/>
                <a:gd name="connsiteX17" fmla="*/ 0 w 331788"/>
                <a:gd name="connsiteY17" fmla="*/ 0 h 331788"/>
                <a:gd name="connsiteX18" fmla="*/ 20637 w 331788"/>
                <a:gd name="connsiteY18" fmla="*/ 0 h 331788"/>
                <a:gd name="connsiteX19" fmla="*/ 20637 w 331788"/>
                <a:gd name="connsiteY19" fmla="*/ 311151 h 331788"/>
                <a:gd name="connsiteX20" fmla="*/ 331788 w 331788"/>
                <a:gd name="connsiteY20" fmla="*/ 311151 h 331788"/>
                <a:gd name="connsiteX21" fmla="*/ 331788 w 331788"/>
                <a:gd name="connsiteY21" fmla="*/ 331788 h 331788"/>
                <a:gd name="connsiteX22" fmla="*/ 0 w 331788"/>
                <a:gd name="connsiteY22" fmla="*/ 331788 h 3317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</a:cxnLst>
              <a:rect l="l" t="t" r="r" b="b"/>
              <a:pathLst>
                <a:path w="331788" h="331788">
                  <a:moveTo>
                    <a:pt x="311151" y="34925"/>
                  </a:moveTo>
                  <a:lnTo>
                    <a:pt x="331788" y="92075"/>
                  </a:lnTo>
                  <a:lnTo>
                    <a:pt x="311151" y="98425"/>
                  </a:lnTo>
                  <a:lnTo>
                    <a:pt x="304801" y="76200"/>
                  </a:lnTo>
                  <a:lnTo>
                    <a:pt x="254001" y="222251"/>
                  </a:lnTo>
                  <a:lnTo>
                    <a:pt x="206376" y="146050"/>
                  </a:lnTo>
                  <a:lnTo>
                    <a:pt x="157163" y="241301"/>
                  </a:lnTo>
                  <a:lnTo>
                    <a:pt x="103188" y="163513"/>
                  </a:lnTo>
                  <a:lnTo>
                    <a:pt x="61913" y="242888"/>
                  </a:lnTo>
                  <a:lnTo>
                    <a:pt x="44450" y="231776"/>
                  </a:lnTo>
                  <a:lnTo>
                    <a:pt x="101600" y="123825"/>
                  </a:lnTo>
                  <a:lnTo>
                    <a:pt x="153988" y="201613"/>
                  </a:lnTo>
                  <a:lnTo>
                    <a:pt x="203201" y="106363"/>
                  </a:lnTo>
                  <a:lnTo>
                    <a:pt x="247651" y="174625"/>
                  </a:lnTo>
                  <a:lnTo>
                    <a:pt x="284163" y="69850"/>
                  </a:lnTo>
                  <a:lnTo>
                    <a:pt x="263526" y="79375"/>
                  </a:lnTo>
                  <a:lnTo>
                    <a:pt x="255588" y="61913"/>
                  </a:lnTo>
                  <a:close/>
                  <a:moveTo>
                    <a:pt x="0" y="0"/>
                  </a:moveTo>
                  <a:lnTo>
                    <a:pt x="20637" y="0"/>
                  </a:lnTo>
                  <a:lnTo>
                    <a:pt x="20637" y="311151"/>
                  </a:lnTo>
                  <a:lnTo>
                    <a:pt x="331788" y="311151"/>
                  </a:lnTo>
                  <a:lnTo>
                    <a:pt x="331788" y="331788"/>
                  </a:lnTo>
                  <a:lnTo>
                    <a:pt x="0" y="331788"/>
                  </a:ln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1176164" y="4590576"/>
            <a:ext cx="584200" cy="584200"/>
            <a:chOff x="1028700" y="1853169"/>
            <a:chExt cx="787400" cy="787400"/>
          </a:xfrm>
        </p:grpSpPr>
        <p:sp>
          <p:nvSpPr>
            <p:cNvPr id="56" name="椭圆 55"/>
            <p:cNvSpPr/>
            <p:nvPr/>
          </p:nvSpPr>
          <p:spPr>
            <a:xfrm>
              <a:off x="1028700" y="1853169"/>
              <a:ext cx="787400" cy="787400"/>
            </a:xfrm>
            <a:prstGeom prst="ellipse">
              <a:avLst/>
            </a:prstGeom>
            <a:solidFill>
              <a:schemeClr val="lt1">
                <a:lumMod val="10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57" name="椭圆 23"/>
            <p:cNvSpPr/>
            <p:nvPr/>
          </p:nvSpPr>
          <p:spPr>
            <a:xfrm>
              <a:off x="1237694" y="2087311"/>
              <a:ext cx="369412" cy="319115"/>
            </a:xfrm>
            <a:custGeom>
              <a:avLst/>
              <a:gdLst>
                <a:gd name="T0" fmla="*/ 185 w 256"/>
                <a:gd name="T1" fmla="*/ 0 h 222"/>
                <a:gd name="T2" fmla="*/ 256 w 256"/>
                <a:gd name="T3" fmla="*/ 71 h 222"/>
                <a:gd name="T4" fmla="*/ 128 w 256"/>
                <a:gd name="T5" fmla="*/ 222 h 222"/>
                <a:gd name="T6" fmla="*/ 0 w 256"/>
                <a:gd name="T7" fmla="*/ 71 h 222"/>
                <a:gd name="T8" fmla="*/ 71 w 256"/>
                <a:gd name="T9" fmla="*/ 0 h 222"/>
                <a:gd name="T10" fmla="*/ 128 w 256"/>
                <a:gd name="T11" fmla="*/ 30 h 222"/>
                <a:gd name="T12" fmla="*/ 185 w 256"/>
                <a:gd name="T13" fmla="*/ 0 h 2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6" h="222">
                  <a:moveTo>
                    <a:pt x="185" y="0"/>
                  </a:moveTo>
                  <a:cubicBezTo>
                    <a:pt x="224" y="0"/>
                    <a:pt x="256" y="32"/>
                    <a:pt x="256" y="71"/>
                  </a:cubicBezTo>
                  <a:cubicBezTo>
                    <a:pt x="256" y="136"/>
                    <a:pt x="128" y="222"/>
                    <a:pt x="128" y="222"/>
                  </a:cubicBezTo>
                  <a:cubicBezTo>
                    <a:pt x="128" y="222"/>
                    <a:pt x="0" y="139"/>
                    <a:pt x="0" y="71"/>
                  </a:cubicBezTo>
                  <a:cubicBezTo>
                    <a:pt x="0" y="23"/>
                    <a:pt x="32" y="0"/>
                    <a:pt x="71" y="0"/>
                  </a:cubicBezTo>
                  <a:cubicBezTo>
                    <a:pt x="94" y="0"/>
                    <a:pt x="115" y="12"/>
                    <a:pt x="128" y="30"/>
                  </a:cubicBezTo>
                  <a:cubicBezTo>
                    <a:pt x="141" y="12"/>
                    <a:pt x="162" y="0"/>
                    <a:pt x="185" y="0"/>
                  </a:cubicBezTo>
                  <a:close/>
                </a:path>
              </a:pathLst>
            </a:custGeom>
            <a:solidFill>
              <a:srgbClr val="7030A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zh-CN" altLang="en-US">
                <a:solidFill>
                  <a:srgbClr val="7030A0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13" name="组合 12"/>
          <p:cNvGrpSpPr/>
          <p:nvPr/>
        </p:nvGrpSpPr>
        <p:grpSpPr>
          <a:xfrm>
            <a:off x="1969913" y="1876002"/>
            <a:ext cx="4126087" cy="978730"/>
            <a:chOff x="1969913" y="1876002"/>
            <a:chExt cx="4126087" cy="978730"/>
          </a:xfrm>
        </p:grpSpPr>
        <p:sp>
          <p:nvSpPr>
            <p:cNvPr id="63" name="TextBox 53"/>
            <p:cNvSpPr txBox="1"/>
            <p:nvPr/>
          </p:nvSpPr>
          <p:spPr>
            <a:xfrm>
              <a:off x="1977501" y="2245334"/>
              <a:ext cx="4118499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65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75" name="组合 74"/>
          <p:cNvGrpSpPr/>
          <p:nvPr/>
        </p:nvGrpSpPr>
        <p:grpSpPr>
          <a:xfrm>
            <a:off x="1969913" y="3134656"/>
            <a:ext cx="4126087" cy="978730"/>
            <a:chOff x="1969913" y="1876002"/>
            <a:chExt cx="4126087" cy="978730"/>
          </a:xfrm>
        </p:grpSpPr>
        <p:sp>
          <p:nvSpPr>
            <p:cNvPr id="76" name="TextBox 53"/>
            <p:cNvSpPr txBox="1"/>
            <p:nvPr/>
          </p:nvSpPr>
          <p:spPr>
            <a:xfrm>
              <a:off x="1977501" y="2245334"/>
              <a:ext cx="4118499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77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78" name="组合 77"/>
          <p:cNvGrpSpPr/>
          <p:nvPr/>
        </p:nvGrpSpPr>
        <p:grpSpPr>
          <a:xfrm>
            <a:off x="1969913" y="4393311"/>
            <a:ext cx="4126087" cy="978730"/>
            <a:chOff x="1969913" y="1876002"/>
            <a:chExt cx="4126087" cy="978730"/>
          </a:xfrm>
        </p:grpSpPr>
        <p:sp>
          <p:nvSpPr>
            <p:cNvPr id="79" name="TextBox 53"/>
            <p:cNvSpPr txBox="1"/>
            <p:nvPr/>
          </p:nvSpPr>
          <p:spPr>
            <a:xfrm>
              <a:off x="1977501" y="2245334"/>
              <a:ext cx="4118499" cy="60939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0" name="TextBox 42"/>
            <p:cNvSpPr txBox="1"/>
            <p:nvPr/>
          </p:nvSpPr>
          <p:spPr>
            <a:xfrm>
              <a:off x="1969913" y="18760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31" name="文本框 30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工作概述</a:t>
            </a:r>
          </a:p>
        </p:txBody>
      </p:sp>
      <p:sp>
        <p:nvSpPr>
          <p:cNvPr id="35" name="文本框 34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OVERVIEW OF WOR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1500"/>
                            </p:stCondLst>
                            <p:childTnLst>
                              <p:par>
                                <p:cTn id="34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60" grpId="0" animBg="1"/>
      <p:bldP spid="61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5" name="Straight Connector 102"/>
          <p:cNvCxnSpPr/>
          <p:nvPr/>
        </p:nvCxnSpPr>
        <p:spPr>
          <a:xfrm flipH="1">
            <a:off x="1570665" y="4309280"/>
            <a:ext cx="3196269" cy="0"/>
          </a:xfrm>
          <a:prstGeom prst="line">
            <a:avLst/>
          </a:prstGeom>
          <a:ln>
            <a:solidFill>
              <a:schemeClr val="lt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6"/>
          <p:cNvCxnSpPr/>
          <p:nvPr/>
        </p:nvCxnSpPr>
        <p:spPr>
          <a:xfrm flipH="1">
            <a:off x="1570665" y="2205804"/>
            <a:ext cx="3439148" cy="0"/>
          </a:xfrm>
          <a:prstGeom prst="line">
            <a:avLst/>
          </a:prstGeom>
          <a:ln>
            <a:solidFill>
              <a:schemeClr val="lt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Group 70"/>
          <p:cNvGrpSpPr/>
          <p:nvPr/>
        </p:nvGrpSpPr>
        <p:grpSpPr>
          <a:xfrm>
            <a:off x="898244" y="1825924"/>
            <a:ext cx="397768" cy="938733"/>
            <a:chOff x="6473825" y="1296987"/>
            <a:chExt cx="396875" cy="936625"/>
          </a:xfrm>
          <a:solidFill>
            <a:schemeClr val="bg1"/>
          </a:solidFill>
        </p:grpSpPr>
        <p:sp>
          <p:nvSpPr>
            <p:cNvPr id="78" name="Freeform 241"/>
            <p:cNvSpPr>
              <a:spLocks noEditPoints="1"/>
            </p:cNvSpPr>
            <p:nvPr/>
          </p:nvSpPr>
          <p:spPr bwMode="auto">
            <a:xfrm>
              <a:off x="6515100" y="1644650"/>
              <a:ext cx="334963" cy="588962"/>
            </a:xfrm>
            <a:custGeom>
              <a:avLst/>
              <a:gdLst>
                <a:gd name="T0" fmla="*/ 629 w 631"/>
                <a:gd name="T1" fmla="*/ 123 h 1113"/>
                <a:gd name="T2" fmla="*/ 631 w 631"/>
                <a:gd name="T3" fmla="*/ 129 h 1113"/>
                <a:gd name="T4" fmla="*/ 629 w 631"/>
                <a:gd name="T5" fmla="*/ 142 h 1113"/>
                <a:gd name="T6" fmla="*/ 621 w 631"/>
                <a:gd name="T7" fmla="*/ 164 h 1113"/>
                <a:gd name="T8" fmla="*/ 612 w 631"/>
                <a:gd name="T9" fmla="*/ 180 h 1113"/>
                <a:gd name="T10" fmla="*/ 581 w 631"/>
                <a:gd name="T11" fmla="*/ 232 h 1113"/>
                <a:gd name="T12" fmla="*/ 473 w 631"/>
                <a:gd name="T13" fmla="*/ 387 h 1113"/>
                <a:gd name="T14" fmla="*/ 472 w 631"/>
                <a:gd name="T15" fmla="*/ 398 h 1113"/>
                <a:gd name="T16" fmla="*/ 464 w 631"/>
                <a:gd name="T17" fmla="*/ 467 h 1113"/>
                <a:gd name="T18" fmla="*/ 463 w 631"/>
                <a:gd name="T19" fmla="*/ 515 h 1113"/>
                <a:gd name="T20" fmla="*/ 463 w 631"/>
                <a:gd name="T21" fmla="*/ 648 h 1113"/>
                <a:gd name="T22" fmla="*/ 553 w 631"/>
                <a:gd name="T23" fmla="*/ 807 h 1113"/>
                <a:gd name="T24" fmla="*/ 563 w 631"/>
                <a:gd name="T25" fmla="*/ 824 h 1113"/>
                <a:gd name="T26" fmla="*/ 569 w 631"/>
                <a:gd name="T27" fmla="*/ 841 h 1113"/>
                <a:gd name="T28" fmla="*/ 571 w 631"/>
                <a:gd name="T29" fmla="*/ 859 h 1113"/>
                <a:gd name="T30" fmla="*/ 571 w 631"/>
                <a:gd name="T31" fmla="*/ 1113 h 1113"/>
                <a:gd name="T32" fmla="*/ 496 w 631"/>
                <a:gd name="T33" fmla="*/ 869 h 1113"/>
                <a:gd name="T34" fmla="*/ 288 w 631"/>
                <a:gd name="T35" fmla="*/ 677 h 1113"/>
                <a:gd name="T36" fmla="*/ 136 w 631"/>
                <a:gd name="T37" fmla="*/ 1113 h 1113"/>
                <a:gd name="T38" fmla="*/ 59 w 631"/>
                <a:gd name="T39" fmla="*/ 1113 h 1113"/>
                <a:gd name="T40" fmla="*/ 59 w 631"/>
                <a:gd name="T41" fmla="*/ 859 h 1113"/>
                <a:gd name="T42" fmla="*/ 62 w 631"/>
                <a:gd name="T43" fmla="*/ 841 h 1113"/>
                <a:gd name="T44" fmla="*/ 69 w 631"/>
                <a:gd name="T45" fmla="*/ 824 h 1113"/>
                <a:gd name="T46" fmla="*/ 77 w 631"/>
                <a:gd name="T47" fmla="*/ 807 h 1113"/>
                <a:gd name="T48" fmla="*/ 167 w 631"/>
                <a:gd name="T49" fmla="*/ 648 h 1113"/>
                <a:gd name="T50" fmla="*/ 167 w 631"/>
                <a:gd name="T51" fmla="*/ 515 h 1113"/>
                <a:gd name="T52" fmla="*/ 166 w 631"/>
                <a:gd name="T53" fmla="*/ 467 h 1113"/>
                <a:gd name="T54" fmla="*/ 159 w 631"/>
                <a:gd name="T55" fmla="*/ 398 h 1113"/>
                <a:gd name="T56" fmla="*/ 157 w 631"/>
                <a:gd name="T57" fmla="*/ 387 h 1113"/>
                <a:gd name="T58" fmla="*/ 51 w 631"/>
                <a:gd name="T59" fmla="*/ 232 h 1113"/>
                <a:gd name="T60" fmla="*/ 18 w 631"/>
                <a:gd name="T61" fmla="*/ 180 h 1113"/>
                <a:gd name="T62" fmla="*/ 9 w 631"/>
                <a:gd name="T63" fmla="*/ 164 h 1113"/>
                <a:gd name="T64" fmla="*/ 2 w 631"/>
                <a:gd name="T65" fmla="*/ 142 h 1113"/>
                <a:gd name="T66" fmla="*/ 0 w 631"/>
                <a:gd name="T67" fmla="*/ 129 h 1113"/>
                <a:gd name="T68" fmla="*/ 2 w 631"/>
                <a:gd name="T69" fmla="*/ 123 h 1113"/>
                <a:gd name="T70" fmla="*/ 71 w 631"/>
                <a:gd name="T71" fmla="*/ 21 h 1113"/>
                <a:gd name="T72" fmla="*/ 99 w 631"/>
                <a:gd name="T73" fmla="*/ 43 h 1113"/>
                <a:gd name="T74" fmla="*/ 131 w 631"/>
                <a:gd name="T75" fmla="*/ 62 h 1113"/>
                <a:gd name="T76" fmla="*/ 208 w 631"/>
                <a:gd name="T77" fmla="*/ 302 h 1113"/>
                <a:gd name="T78" fmla="*/ 244 w 631"/>
                <a:gd name="T79" fmla="*/ 302 h 1113"/>
                <a:gd name="T80" fmla="*/ 268 w 631"/>
                <a:gd name="T81" fmla="*/ 317 h 1113"/>
                <a:gd name="T82" fmla="*/ 286 w 631"/>
                <a:gd name="T83" fmla="*/ 323 h 1113"/>
                <a:gd name="T84" fmla="*/ 305 w 631"/>
                <a:gd name="T85" fmla="*/ 326 h 1113"/>
                <a:gd name="T86" fmla="*/ 315 w 631"/>
                <a:gd name="T87" fmla="*/ 327 h 1113"/>
                <a:gd name="T88" fmla="*/ 335 w 631"/>
                <a:gd name="T89" fmla="*/ 324 h 1113"/>
                <a:gd name="T90" fmla="*/ 354 w 631"/>
                <a:gd name="T91" fmla="*/ 319 h 1113"/>
                <a:gd name="T92" fmla="*/ 371 w 631"/>
                <a:gd name="T93" fmla="*/ 312 h 1113"/>
                <a:gd name="T94" fmla="*/ 422 w 631"/>
                <a:gd name="T95" fmla="*/ 302 h 1113"/>
                <a:gd name="T96" fmla="*/ 490 w 631"/>
                <a:gd name="T97" fmla="*/ 46 h 1113"/>
                <a:gd name="T98" fmla="*/ 504 w 631"/>
                <a:gd name="T99" fmla="*/ 36 h 1113"/>
                <a:gd name="T100" fmla="*/ 532 w 631"/>
                <a:gd name="T101" fmla="*/ 12 h 1113"/>
                <a:gd name="T102" fmla="*/ 629 w 631"/>
                <a:gd name="T103" fmla="*/ 123 h 1113"/>
                <a:gd name="T104" fmla="*/ 315 w 631"/>
                <a:gd name="T105" fmla="*/ 344 h 1113"/>
                <a:gd name="T106" fmla="*/ 315 w 631"/>
                <a:gd name="T107" fmla="*/ 623 h 1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631" h="1113">
                  <a:moveTo>
                    <a:pt x="629" y="123"/>
                  </a:moveTo>
                  <a:lnTo>
                    <a:pt x="629" y="123"/>
                  </a:lnTo>
                  <a:lnTo>
                    <a:pt x="631" y="125"/>
                  </a:lnTo>
                  <a:lnTo>
                    <a:pt x="631" y="129"/>
                  </a:lnTo>
                  <a:lnTo>
                    <a:pt x="631" y="134"/>
                  </a:lnTo>
                  <a:lnTo>
                    <a:pt x="629" y="142"/>
                  </a:lnTo>
                  <a:lnTo>
                    <a:pt x="626" y="152"/>
                  </a:lnTo>
                  <a:lnTo>
                    <a:pt x="621" y="164"/>
                  </a:lnTo>
                  <a:lnTo>
                    <a:pt x="612" y="180"/>
                  </a:lnTo>
                  <a:lnTo>
                    <a:pt x="612" y="180"/>
                  </a:lnTo>
                  <a:lnTo>
                    <a:pt x="600" y="203"/>
                  </a:lnTo>
                  <a:lnTo>
                    <a:pt x="581" y="232"/>
                  </a:lnTo>
                  <a:lnTo>
                    <a:pt x="534" y="301"/>
                  </a:lnTo>
                  <a:lnTo>
                    <a:pt x="473" y="387"/>
                  </a:lnTo>
                  <a:lnTo>
                    <a:pt x="473" y="387"/>
                  </a:lnTo>
                  <a:lnTo>
                    <a:pt x="472" y="398"/>
                  </a:lnTo>
                  <a:lnTo>
                    <a:pt x="468" y="427"/>
                  </a:lnTo>
                  <a:lnTo>
                    <a:pt x="464" y="467"/>
                  </a:lnTo>
                  <a:lnTo>
                    <a:pt x="464" y="491"/>
                  </a:lnTo>
                  <a:lnTo>
                    <a:pt x="463" y="515"/>
                  </a:lnTo>
                  <a:lnTo>
                    <a:pt x="463" y="515"/>
                  </a:lnTo>
                  <a:lnTo>
                    <a:pt x="463" y="648"/>
                  </a:lnTo>
                  <a:lnTo>
                    <a:pt x="553" y="807"/>
                  </a:lnTo>
                  <a:lnTo>
                    <a:pt x="553" y="807"/>
                  </a:lnTo>
                  <a:lnTo>
                    <a:pt x="557" y="812"/>
                  </a:lnTo>
                  <a:lnTo>
                    <a:pt x="563" y="824"/>
                  </a:lnTo>
                  <a:lnTo>
                    <a:pt x="566" y="831"/>
                  </a:lnTo>
                  <a:lnTo>
                    <a:pt x="569" y="841"/>
                  </a:lnTo>
                  <a:lnTo>
                    <a:pt x="571" y="850"/>
                  </a:lnTo>
                  <a:lnTo>
                    <a:pt x="571" y="859"/>
                  </a:lnTo>
                  <a:lnTo>
                    <a:pt x="571" y="859"/>
                  </a:lnTo>
                  <a:lnTo>
                    <a:pt x="571" y="1113"/>
                  </a:lnTo>
                  <a:lnTo>
                    <a:pt x="496" y="1113"/>
                  </a:lnTo>
                  <a:lnTo>
                    <a:pt x="496" y="869"/>
                  </a:lnTo>
                  <a:lnTo>
                    <a:pt x="342" y="677"/>
                  </a:lnTo>
                  <a:lnTo>
                    <a:pt x="288" y="677"/>
                  </a:lnTo>
                  <a:lnTo>
                    <a:pt x="136" y="869"/>
                  </a:lnTo>
                  <a:lnTo>
                    <a:pt x="136" y="1113"/>
                  </a:lnTo>
                  <a:lnTo>
                    <a:pt x="59" y="1113"/>
                  </a:lnTo>
                  <a:lnTo>
                    <a:pt x="59" y="1113"/>
                  </a:lnTo>
                  <a:lnTo>
                    <a:pt x="59" y="859"/>
                  </a:lnTo>
                  <a:lnTo>
                    <a:pt x="59" y="859"/>
                  </a:lnTo>
                  <a:lnTo>
                    <a:pt x="60" y="850"/>
                  </a:lnTo>
                  <a:lnTo>
                    <a:pt x="62" y="841"/>
                  </a:lnTo>
                  <a:lnTo>
                    <a:pt x="65" y="831"/>
                  </a:lnTo>
                  <a:lnTo>
                    <a:pt x="69" y="824"/>
                  </a:lnTo>
                  <a:lnTo>
                    <a:pt x="75" y="812"/>
                  </a:lnTo>
                  <a:lnTo>
                    <a:pt x="77" y="807"/>
                  </a:lnTo>
                  <a:lnTo>
                    <a:pt x="167" y="648"/>
                  </a:lnTo>
                  <a:lnTo>
                    <a:pt x="167" y="648"/>
                  </a:lnTo>
                  <a:lnTo>
                    <a:pt x="167" y="515"/>
                  </a:lnTo>
                  <a:lnTo>
                    <a:pt x="167" y="515"/>
                  </a:lnTo>
                  <a:lnTo>
                    <a:pt x="167" y="491"/>
                  </a:lnTo>
                  <a:lnTo>
                    <a:pt x="166" y="467"/>
                  </a:lnTo>
                  <a:lnTo>
                    <a:pt x="162" y="427"/>
                  </a:lnTo>
                  <a:lnTo>
                    <a:pt x="159" y="398"/>
                  </a:lnTo>
                  <a:lnTo>
                    <a:pt x="157" y="387"/>
                  </a:lnTo>
                  <a:lnTo>
                    <a:pt x="157" y="387"/>
                  </a:lnTo>
                  <a:lnTo>
                    <a:pt x="97" y="301"/>
                  </a:lnTo>
                  <a:lnTo>
                    <a:pt x="51" y="232"/>
                  </a:lnTo>
                  <a:lnTo>
                    <a:pt x="31" y="203"/>
                  </a:lnTo>
                  <a:lnTo>
                    <a:pt x="18" y="180"/>
                  </a:lnTo>
                  <a:lnTo>
                    <a:pt x="18" y="180"/>
                  </a:lnTo>
                  <a:lnTo>
                    <a:pt x="9" y="164"/>
                  </a:lnTo>
                  <a:lnTo>
                    <a:pt x="5" y="152"/>
                  </a:lnTo>
                  <a:lnTo>
                    <a:pt x="2" y="142"/>
                  </a:lnTo>
                  <a:lnTo>
                    <a:pt x="0" y="134"/>
                  </a:lnTo>
                  <a:lnTo>
                    <a:pt x="0" y="129"/>
                  </a:lnTo>
                  <a:lnTo>
                    <a:pt x="1" y="125"/>
                  </a:lnTo>
                  <a:lnTo>
                    <a:pt x="2" y="123"/>
                  </a:lnTo>
                  <a:lnTo>
                    <a:pt x="71" y="21"/>
                  </a:lnTo>
                  <a:lnTo>
                    <a:pt x="71" y="21"/>
                  </a:lnTo>
                  <a:lnTo>
                    <a:pt x="85" y="33"/>
                  </a:lnTo>
                  <a:lnTo>
                    <a:pt x="99" y="43"/>
                  </a:lnTo>
                  <a:lnTo>
                    <a:pt x="115" y="54"/>
                  </a:lnTo>
                  <a:lnTo>
                    <a:pt x="131" y="62"/>
                  </a:lnTo>
                  <a:lnTo>
                    <a:pt x="87" y="128"/>
                  </a:lnTo>
                  <a:lnTo>
                    <a:pt x="208" y="302"/>
                  </a:lnTo>
                  <a:lnTo>
                    <a:pt x="244" y="302"/>
                  </a:lnTo>
                  <a:lnTo>
                    <a:pt x="244" y="302"/>
                  </a:lnTo>
                  <a:lnTo>
                    <a:pt x="259" y="312"/>
                  </a:lnTo>
                  <a:lnTo>
                    <a:pt x="268" y="317"/>
                  </a:lnTo>
                  <a:lnTo>
                    <a:pt x="276" y="319"/>
                  </a:lnTo>
                  <a:lnTo>
                    <a:pt x="286" y="323"/>
                  </a:lnTo>
                  <a:lnTo>
                    <a:pt x="296" y="324"/>
                  </a:lnTo>
                  <a:lnTo>
                    <a:pt x="305" y="326"/>
                  </a:lnTo>
                  <a:lnTo>
                    <a:pt x="315" y="327"/>
                  </a:lnTo>
                  <a:lnTo>
                    <a:pt x="315" y="327"/>
                  </a:lnTo>
                  <a:lnTo>
                    <a:pt x="325" y="326"/>
                  </a:lnTo>
                  <a:lnTo>
                    <a:pt x="335" y="324"/>
                  </a:lnTo>
                  <a:lnTo>
                    <a:pt x="344" y="323"/>
                  </a:lnTo>
                  <a:lnTo>
                    <a:pt x="354" y="319"/>
                  </a:lnTo>
                  <a:lnTo>
                    <a:pt x="362" y="317"/>
                  </a:lnTo>
                  <a:lnTo>
                    <a:pt x="371" y="312"/>
                  </a:lnTo>
                  <a:lnTo>
                    <a:pt x="388" y="302"/>
                  </a:lnTo>
                  <a:lnTo>
                    <a:pt x="422" y="302"/>
                  </a:lnTo>
                  <a:lnTo>
                    <a:pt x="544" y="128"/>
                  </a:lnTo>
                  <a:lnTo>
                    <a:pt x="490" y="46"/>
                  </a:lnTo>
                  <a:lnTo>
                    <a:pt x="490" y="46"/>
                  </a:lnTo>
                  <a:lnTo>
                    <a:pt x="504" y="36"/>
                  </a:lnTo>
                  <a:lnTo>
                    <a:pt x="519" y="25"/>
                  </a:lnTo>
                  <a:lnTo>
                    <a:pt x="532" y="12"/>
                  </a:lnTo>
                  <a:lnTo>
                    <a:pt x="546" y="0"/>
                  </a:lnTo>
                  <a:lnTo>
                    <a:pt x="629" y="123"/>
                  </a:lnTo>
                  <a:close/>
                  <a:moveTo>
                    <a:pt x="377" y="540"/>
                  </a:moveTo>
                  <a:lnTo>
                    <a:pt x="315" y="344"/>
                  </a:lnTo>
                  <a:lnTo>
                    <a:pt x="253" y="540"/>
                  </a:lnTo>
                  <a:lnTo>
                    <a:pt x="315" y="623"/>
                  </a:lnTo>
                  <a:lnTo>
                    <a:pt x="377" y="5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79" name="Freeform 242"/>
            <p:cNvSpPr/>
            <p:nvPr/>
          </p:nvSpPr>
          <p:spPr bwMode="auto">
            <a:xfrm>
              <a:off x="6626225" y="1700212"/>
              <a:ext cx="112713" cy="114300"/>
            </a:xfrm>
            <a:custGeom>
              <a:avLst/>
              <a:gdLst>
                <a:gd name="T0" fmla="*/ 107 w 214"/>
                <a:gd name="T1" fmla="*/ 0 h 214"/>
                <a:gd name="T2" fmla="*/ 129 w 214"/>
                <a:gd name="T3" fmla="*/ 3 h 214"/>
                <a:gd name="T4" fmla="*/ 148 w 214"/>
                <a:gd name="T5" fmla="*/ 9 h 214"/>
                <a:gd name="T6" fmla="*/ 167 w 214"/>
                <a:gd name="T7" fmla="*/ 18 h 214"/>
                <a:gd name="T8" fmla="*/ 182 w 214"/>
                <a:gd name="T9" fmla="*/ 32 h 214"/>
                <a:gd name="T10" fmla="*/ 196 w 214"/>
                <a:gd name="T11" fmla="*/ 47 h 214"/>
                <a:gd name="T12" fmla="*/ 205 w 214"/>
                <a:gd name="T13" fmla="*/ 66 h 214"/>
                <a:gd name="T14" fmla="*/ 211 w 214"/>
                <a:gd name="T15" fmla="*/ 85 h 214"/>
                <a:gd name="T16" fmla="*/ 214 w 214"/>
                <a:gd name="T17" fmla="*/ 107 h 214"/>
                <a:gd name="T18" fmla="*/ 213 w 214"/>
                <a:gd name="T19" fmla="*/ 118 h 214"/>
                <a:gd name="T20" fmla="*/ 209 w 214"/>
                <a:gd name="T21" fmla="*/ 138 h 214"/>
                <a:gd name="T22" fmla="*/ 201 w 214"/>
                <a:gd name="T23" fmla="*/ 158 h 214"/>
                <a:gd name="T24" fmla="*/ 190 w 214"/>
                <a:gd name="T25" fmla="*/ 175 h 214"/>
                <a:gd name="T26" fmla="*/ 175 w 214"/>
                <a:gd name="T27" fmla="*/ 189 h 214"/>
                <a:gd name="T28" fmla="*/ 158 w 214"/>
                <a:gd name="T29" fmla="*/ 200 h 214"/>
                <a:gd name="T30" fmla="*/ 139 w 214"/>
                <a:gd name="T31" fmla="*/ 209 h 214"/>
                <a:gd name="T32" fmla="*/ 118 w 214"/>
                <a:gd name="T33" fmla="*/ 212 h 214"/>
                <a:gd name="T34" fmla="*/ 107 w 214"/>
                <a:gd name="T35" fmla="*/ 214 h 214"/>
                <a:gd name="T36" fmla="*/ 87 w 214"/>
                <a:gd name="T37" fmla="*/ 211 h 214"/>
                <a:gd name="T38" fmla="*/ 66 w 214"/>
                <a:gd name="T39" fmla="*/ 205 h 214"/>
                <a:gd name="T40" fmla="*/ 48 w 214"/>
                <a:gd name="T41" fmla="*/ 195 h 214"/>
                <a:gd name="T42" fmla="*/ 32 w 214"/>
                <a:gd name="T43" fmla="*/ 182 h 214"/>
                <a:gd name="T44" fmla="*/ 19 w 214"/>
                <a:gd name="T45" fmla="*/ 166 h 214"/>
                <a:gd name="T46" fmla="*/ 9 w 214"/>
                <a:gd name="T47" fmla="*/ 148 h 214"/>
                <a:gd name="T48" fmla="*/ 3 w 214"/>
                <a:gd name="T49" fmla="*/ 129 h 214"/>
                <a:gd name="T50" fmla="*/ 0 w 214"/>
                <a:gd name="T51" fmla="*/ 107 h 214"/>
                <a:gd name="T52" fmla="*/ 2 w 214"/>
                <a:gd name="T53" fmla="*/ 96 h 214"/>
                <a:gd name="T54" fmla="*/ 5 w 214"/>
                <a:gd name="T55" fmla="*/ 75 h 214"/>
                <a:gd name="T56" fmla="*/ 14 w 214"/>
                <a:gd name="T57" fmla="*/ 56 h 214"/>
                <a:gd name="T58" fmla="*/ 26 w 214"/>
                <a:gd name="T59" fmla="*/ 39 h 214"/>
                <a:gd name="T60" fmla="*/ 39 w 214"/>
                <a:gd name="T61" fmla="*/ 24 h 214"/>
                <a:gd name="T62" fmla="*/ 56 w 214"/>
                <a:gd name="T63" fmla="*/ 13 h 214"/>
                <a:gd name="T64" fmla="*/ 76 w 214"/>
                <a:gd name="T65" fmla="*/ 5 h 214"/>
                <a:gd name="T66" fmla="*/ 96 w 214"/>
                <a:gd name="T67" fmla="*/ 1 h 214"/>
                <a:gd name="T68" fmla="*/ 107 w 214"/>
                <a:gd name="T69" fmla="*/ 0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14" h="214">
                  <a:moveTo>
                    <a:pt x="107" y="0"/>
                  </a:moveTo>
                  <a:lnTo>
                    <a:pt x="107" y="0"/>
                  </a:lnTo>
                  <a:lnTo>
                    <a:pt x="118" y="1"/>
                  </a:lnTo>
                  <a:lnTo>
                    <a:pt x="129" y="3"/>
                  </a:lnTo>
                  <a:lnTo>
                    <a:pt x="139" y="5"/>
                  </a:lnTo>
                  <a:lnTo>
                    <a:pt x="148" y="9"/>
                  </a:lnTo>
                  <a:lnTo>
                    <a:pt x="158" y="13"/>
                  </a:lnTo>
                  <a:lnTo>
                    <a:pt x="167" y="18"/>
                  </a:lnTo>
                  <a:lnTo>
                    <a:pt x="175" y="24"/>
                  </a:lnTo>
                  <a:lnTo>
                    <a:pt x="182" y="32"/>
                  </a:lnTo>
                  <a:lnTo>
                    <a:pt x="190" y="39"/>
                  </a:lnTo>
                  <a:lnTo>
                    <a:pt x="196" y="47"/>
                  </a:lnTo>
                  <a:lnTo>
                    <a:pt x="201" y="56"/>
                  </a:lnTo>
                  <a:lnTo>
                    <a:pt x="205" y="66"/>
                  </a:lnTo>
                  <a:lnTo>
                    <a:pt x="209" y="75"/>
                  </a:lnTo>
                  <a:lnTo>
                    <a:pt x="211" y="85"/>
                  </a:lnTo>
                  <a:lnTo>
                    <a:pt x="213" y="96"/>
                  </a:lnTo>
                  <a:lnTo>
                    <a:pt x="214" y="107"/>
                  </a:lnTo>
                  <a:lnTo>
                    <a:pt x="214" y="107"/>
                  </a:lnTo>
                  <a:lnTo>
                    <a:pt x="213" y="118"/>
                  </a:lnTo>
                  <a:lnTo>
                    <a:pt x="211" y="129"/>
                  </a:lnTo>
                  <a:lnTo>
                    <a:pt x="209" y="138"/>
                  </a:lnTo>
                  <a:lnTo>
                    <a:pt x="205" y="148"/>
                  </a:lnTo>
                  <a:lnTo>
                    <a:pt x="201" y="158"/>
                  </a:lnTo>
                  <a:lnTo>
                    <a:pt x="196" y="166"/>
                  </a:lnTo>
                  <a:lnTo>
                    <a:pt x="190" y="175"/>
                  </a:lnTo>
                  <a:lnTo>
                    <a:pt x="182" y="182"/>
                  </a:lnTo>
                  <a:lnTo>
                    <a:pt x="175" y="189"/>
                  </a:lnTo>
                  <a:lnTo>
                    <a:pt x="167" y="195"/>
                  </a:lnTo>
                  <a:lnTo>
                    <a:pt x="158" y="200"/>
                  </a:lnTo>
                  <a:lnTo>
                    <a:pt x="148" y="205"/>
                  </a:lnTo>
                  <a:lnTo>
                    <a:pt x="139" y="209"/>
                  </a:lnTo>
                  <a:lnTo>
                    <a:pt x="129" y="211"/>
                  </a:lnTo>
                  <a:lnTo>
                    <a:pt x="118" y="212"/>
                  </a:lnTo>
                  <a:lnTo>
                    <a:pt x="107" y="214"/>
                  </a:lnTo>
                  <a:lnTo>
                    <a:pt x="107" y="214"/>
                  </a:lnTo>
                  <a:lnTo>
                    <a:pt x="96" y="212"/>
                  </a:lnTo>
                  <a:lnTo>
                    <a:pt x="87" y="211"/>
                  </a:lnTo>
                  <a:lnTo>
                    <a:pt x="76" y="209"/>
                  </a:lnTo>
                  <a:lnTo>
                    <a:pt x="66" y="205"/>
                  </a:lnTo>
                  <a:lnTo>
                    <a:pt x="56" y="200"/>
                  </a:lnTo>
                  <a:lnTo>
                    <a:pt x="48" y="195"/>
                  </a:lnTo>
                  <a:lnTo>
                    <a:pt x="39" y="189"/>
                  </a:lnTo>
                  <a:lnTo>
                    <a:pt x="32" y="182"/>
                  </a:lnTo>
                  <a:lnTo>
                    <a:pt x="26" y="175"/>
                  </a:lnTo>
                  <a:lnTo>
                    <a:pt x="19" y="166"/>
                  </a:lnTo>
                  <a:lnTo>
                    <a:pt x="14" y="158"/>
                  </a:lnTo>
                  <a:lnTo>
                    <a:pt x="9" y="148"/>
                  </a:lnTo>
                  <a:lnTo>
                    <a:pt x="5" y="138"/>
                  </a:lnTo>
                  <a:lnTo>
                    <a:pt x="3" y="129"/>
                  </a:lnTo>
                  <a:lnTo>
                    <a:pt x="2" y="118"/>
                  </a:lnTo>
                  <a:lnTo>
                    <a:pt x="0" y="107"/>
                  </a:lnTo>
                  <a:lnTo>
                    <a:pt x="0" y="107"/>
                  </a:lnTo>
                  <a:lnTo>
                    <a:pt x="2" y="96"/>
                  </a:lnTo>
                  <a:lnTo>
                    <a:pt x="3" y="85"/>
                  </a:lnTo>
                  <a:lnTo>
                    <a:pt x="5" y="75"/>
                  </a:lnTo>
                  <a:lnTo>
                    <a:pt x="9" y="66"/>
                  </a:lnTo>
                  <a:lnTo>
                    <a:pt x="14" y="56"/>
                  </a:lnTo>
                  <a:lnTo>
                    <a:pt x="19" y="47"/>
                  </a:lnTo>
                  <a:lnTo>
                    <a:pt x="26" y="39"/>
                  </a:lnTo>
                  <a:lnTo>
                    <a:pt x="32" y="32"/>
                  </a:lnTo>
                  <a:lnTo>
                    <a:pt x="39" y="24"/>
                  </a:lnTo>
                  <a:lnTo>
                    <a:pt x="48" y="18"/>
                  </a:lnTo>
                  <a:lnTo>
                    <a:pt x="56" y="13"/>
                  </a:lnTo>
                  <a:lnTo>
                    <a:pt x="66" y="9"/>
                  </a:lnTo>
                  <a:lnTo>
                    <a:pt x="76" y="5"/>
                  </a:lnTo>
                  <a:lnTo>
                    <a:pt x="87" y="3"/>
                  </a:lnTo>
                  <a:lnTo>
                    <a:pt x="96" y="1"/>
                  </a:lnTo>
                  <a:lnTo>
                    <a:pt x="107" y="0"/>
                  </a:lnTo>
                  <a:lnTo>
                    <a:pt x="10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0" name="Freeform 243"/>
            <p:cNvSpPr>
              <a:spLocks noEditPoints="1"/>
            </p:cNvSpPr>
            <p:nvPr/>
          </p:nvSpPr>
          <p:spPr bwMode="auto">
            <a:xfrm>
              <a:off x="6477000" y="1493837"/>
              <a:ext cx="390525" cy="192087"/>
            </a:xfrm>
            <a:custGeom>
              <a:avLst/>
              <a:gdLst>
                <a:gd name="T0" fmla="*/ 721 w 737"/>
                <a:gd name="T1" fmla="*/ 105 h 365"/>
                <a:gd name="T2" fmla="*/ 664 w 737"/>
                <a:gd name="T3" fmla="*/ 216 h 365"/>
                <a:gd name="T4" fmla="*/ 573 w 737"/>
                <a:gd name="T5" fmla="*/ 304 h 365"/>
                <a:gd name="T6" fmla="*/ 458 w 737"/>
                <a:gd name="T7" fmla="*/ 354 h 365"/>
                <a:gd name="T8" fmla="*/ 333 w 737"/>
                <a:gd name="T9" fmla="*/ 364 h 365"/>
                <a:gd name="T10" fmla="*/ 211 w 737"/>
                <a:gd name="T11" fmla="*/ 330 h 365"/>
                <a:gd name="T12" fmla="*/ 108 w 737"/>
                <a:gd name="T13" fmla="*/ 257 h 365"/>
                <a:gd name="T14" fmla="*/ 28 w 737"/>
                <a:gd name="T15" fmla="*/ 138 h 365"/>
                <a:gd name="T16" fmla="*/ 1 w 737"/>
                <a:gd name="T17" fmla="*/ 17 h 365"/>
                <a:gd name="T18" fmla="*/ 39 w 737"/>
                <a:gd name="T19" fmla="*/ 32 h 365"/>
                <a:gd name="T20" fmla="*/ 125 w 737"/>
                <a:gd name="T21" fmla="*/ 71 h 365"/>
                <a:gd name="T22" fmla="*/ 174 w 737"/>
                <a:gd name="T23" fmla="*/ 81 h 365"/>
                <a:gd name="T24" fmla="*/ 271 w 737"/>
                <a:gd name="T25" fmla="*/ 95 h 365"/>
                <a:gd name="T26" fmla="*/ 468 w 737"/>
                <a:gd name="T27" fmla="*/ 55 h 365"/>
                <a:gd name="T28" fmla="*/ 563 w 737"/>
                <a:gd name="T29" fmla="*/ 81 h 365"/>
                <a:gd name="T30" fmla="*/ 610 w 737"/>
                <a:gd name="T31" fmla="*/ 71 h 365"/>
                <a:gd name="T32" fmla="*/ 706 w 737"/>
                <a:gd name="T33" fmla="*/ 24 h 365"/>
                <a:gd name="T34" fmla="*/ 715 w 737"/>
                <a:gd name="T35" fmla="*/ 39 h 365"/>
                <a:gd name="T36" fmla="*/ 608 w 737"/>
                <a:gd name="T37" fmla="*/ 88 h 365"/>
                <a:gd name="T38" fmla="*/ 593 w 737"/>
                <a:gd name="T39" fmla="*/ 175 h 365"/>
                <a:gd name="T40" fmla="*/ 690 w 737"/>
                <a:gd name="T41" fmla="*/ 90 h 365"/>
                <a:gd name="T42" fmla="*/ 706 w 737"/>
                <a:gd name="T43" fmla="*/ 96 h 365"/>
                <a:gd name="T44" fmla="*/ 640 w 737"/>
                <a:gd name="T45" fmla="*/ 165 h 365"/>
                <a:gd name="T46" fmla="*/ 545 w 737"/>
                <a:gd name="T47" fmla="*/ 256 h 365"/>
                <a:gd name="T48" fmla="*/ 483 w 737"/>
                <a:gd name="T49" fmla="*/ 324 h 365"/>
                <a:gd name="T50" fmla="*/ 550 w 737"/>
                <a:gd name="T51" fmla="*/ 299 h 365"/>
                <a:gd name="T52" fmla="*/ 641 w 737"/>
                <a:gd name="T53" fmla="*/ 221 h 365"/>
                <a:gd name="T54" fmla="*/ 700 w 737"/>
                <a:gd name="T55" fmla="*/ 114 h 365"/>
                <a:gd name="T56" fmla="*/ 567 w 737"/>
                <a:gd name="T57" fmla="*/ 97 h 365"/>
                <a:gd name="T58" fmla="*/ 462 w 737"/>
                <a:gd name="T59" fmla="*/ 220 h 365"/>
                <a:gd name="T60" fmla="*/ 569 w 737"/>
                <a:gd name="T61" fmla="*/ 171 h 365"/>
                <a:gd name="T62" fmla="*/ 551 w 737"/>
                <a:gd name="T63" fmla="*/ 213 h 365"/>
                <a:gd name="T64" fmla="*/ 441 w 737"/>
                <a:gd name="T65" fmla="*/ 293 h 365"/>
                <a:gd name="T66" fmla="*/ 424 w 737"/>
                <a:gd name="T67" fmla="*/ 339 h 365"/>
                <a:gd name="T68" fmla="*/ 505 w 737"/>
                <a:gd name="T69" fmla="*/ 282 h 365"/>
                <a:gd name="T70" fmla="*/ 465 w 737"/>
                <a:gd name="T71" fmla="*/ 112 h 365"/>
                <a:gd name="T72" fmla="*/ 277 w 737"/>
                <a:gd name="T73" fmla="*/ 152 h 365"/>
                <a:gd name="T74" fmla="*/ 407 w 737"/>
                <a:gd name="T75" fmla="*/ 227 h 365"/>
                <a:gd name="T76" fmla="*/ 441 w 737"/>
                <a:gd name="T77" fmla="*/ 240 h 365"/>
                <a:gd name="T78" fmla="*/ 302 w 737"/>
                <a:gd name="T79" fmla="*/ 263 h 365"/>
                <a:gd name="T80" fmla="*/ 350 w 737"/>
                <a:gd name="T81" fmla="*/ 342 h 365"/>
                <a:gd name="T82" fmla="*/ 387 w 737"/>
                <a:gd name="T83" fmla="*/ 342 h 365"/>
                <a:gd name="T84" fmla="*/ 425 w 737"/>
                <a:gd name="T85" fmla="*/ 285 h 365"/>
                <a:gd name="T86" fmla="*/ 296 w 737"/>
                <a:gd name="T87" fmla="*/ 293 h 365"/>
                <a:gd name="T88" fmla="*/ 186 w 737"/>
                <a:gd name="T89" fmla="*/ 213 h 365"/>
                <a:gd name="T90" fmla="*/ 263 w 737"/>
                <a:gd name="T91" fmla="*/ 311 h 365"/>
                <a:gd name="T92" fmla="*/ 326 w 737"/>
                <a:gd name="T93" fmla="*/ 344 h 365"/>
                <a:gd name="T94" fmla="*/ 212 w 737"/>
                <a:gd name="T95" fmla="*/ 105 h 365"/>
                <a:gd name="T96" fmla="*/ 160 w 737"/>
                <a:gd name="T97" fmla="*/ 153 h 365"/>
                <a:gd name="T98" fmla="*/ 252 w 737"/>
                <a:gd name="T99" fmla="*/ 216 h 365"/>
                <a:gd name="T100" fmla="*/ 231 w 737"/>
                <a:gd name="T101" fmla="*/ 304 h 365"/>
                <a:gd name="T102" fmla="*/ 163 w 737"/>
                <a:gd name="T103" fmla="*/ 203 h 365"/>
                <a:gd name="T104" fmla="*/ 73 w 737"/>
                <a:gd name="T105" fmla="*/ 146 h 365"/>
                <a:gd name="T106" fmla="*/ 43 w 737"/>
                <a:gd name="T107" fmla="*/ 132 h 365"/>
                <a:gd name="T108" fmla="*/ 108 w 737"/>
                <a:gd name="T109" fmla="*/ 233 h 365"/>
                <a:gd name="T110" fmla="*/ 203 w 737"/>
                <a:gd name="T111" fmla="*/ 307 h 365"/>
                <a:gd name="T112" fmla="*/ 143 w 737"/>
                <a:gd name="T113" fmla="*/ 175 h 365"/>
                <a:gd name="T114" fmla="*/ 101 w 737"/>
                <a:gd name="T115" fmla="*/ 79 h 365"/>
                <a:gd name="T116" fmla="*/ 22 w 737"/>
                <a:gd name="T117" fmla="*/ 39 h 365"/>
                <a:gd name="T118" fmla="*/ 63 w 737"/>
                <a:gd name="T119" fmla="*/ 113 h 3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37" h="365">
                  <a:moveTo>
                    <a:pt x="737" y="0"/>
                  </a:moveTo>
                  <a:lnTo>
                    <a:pt x="737" y="0"/>
                  </a:lnTo>
                  <a:lnTo>
                    <a:pt x="735" y="17"/>
                  </a:lnTo>
                  <a:lnTo>
                    <a:pt x="734" y="35"/>
                  </a:lnTo>
                  <a:lnTo>
                    <a:pt x="732" y="52"/>
                  </a:lnTo>
                  <a:lnTo>
                    <a:pt x="729" y="71"/>
                  </a:lnTo>
                  <a:lnTo>
                    <a:pt x="726" y="88"/>
                  </a:lnTo>
                  <a:lnTo>
                    <a:pt x="721" y="105"/>
                  </a:lnTo>
                  <a:lnTo>
                    <a:pt x="715" y="122"/>
                  </a:lnTo>
                  <a:lnTo>
                    <a:pt x="709" y="138"/>
                  </a:lnTo>
                  <a:lnTo>
                    <a:pt x="709" y="138"/>
                  </a:lnTo>
                  <a:lnTo>
                    <a:pt x="701" y="154"/>
                  </a:lnTo>
                  <a:lnTo>
                    <a:pt x="693" y="171"/>
                  </a:lnTo>
                  <a:lnTo>
                    <a:pt x="684" y="187"/>
                  </a:lnTo>
                  <a:lnTo>
                    <a:pt x="675" y="202"/>
                  </a:lnTo>
                  <a:lnTo>
                    <a:pt x="664" y="216"/>
                  </a:lnTo>
                  <a:lnTo>
                    <a:pt x="653" y="231"/>
                  </a:lnTo>
                  <a:lnTo>
                    <a:pt x="641" y="244"/>
                  </a:lnTo>
                  <a:lnTo>
                    <a:pt x="629" y="257"/>
                  </a:lnTo>
                  <a:lnTo>
                    <a:pt x="629" y="257"/>
                  </a:lnTo>
                  <a:lnTo>
                    <a:pt x="615" y="270"/>
                  </a:lnTo>
                  <a:lnTo>
                    <a:pt x="602" y="282"/>
                  </a:lnTo>
                  <a:lnTo>
                    <a:pt x="587" y="293"/>
                  </a:lnTo>
                  <a:lnTo>
                    <a:pt x="573" y="304"/>
                  </a:lnTo>
                  <a:lnTo>
                    <a:pt x="557" y="313"/>
                  </a:lnTo>
                  <a:lnTo>
                    <a:pt x="541" y="322"/>
                  </a:lnTo>
                  <a:lnTo>
                    <a:pt x="525" y="330"/>
                  </a:lnTo>
                  <a:lnTo>
                    <a:pt x="510" y="337"/>
                  </a:lnTo>
                  <a:lnTo>
                    <a:pt x="510" y="337"/>
                  </a:lnTo>
                  <a:lnTo>
                    <a:pt x="493" y="344"/>
                  </a:lnTo>
                  <a:lnTo>
                    <a:pt x="475" y="350"/>
                  </a:lnTo>
                  <a:lnTo>
                    <a:pt x="458" y="354"/>
                  </a:lnTo>
                  <a:lnTo>
                    <a:pt x="441" y="358"/>
                  </a:lnTo>
                  <a:lnTo>
                    <a:pt x="422" y="362"/>
                  </a:lnTo>
                  <a:lnTo>
                    <a:pt x="404" y="364"/>
                  </a:lnTo>
                  <a:lnTo>
                    <a:pt x="386" y="365"/>
                  </a:lnTo>
                  <a:lnTo>
                    <a:pt x="368" y="365"/>
                  </a:lnTo>
                  <a:lnTo>
                    <a:pt x="368" y="365"/>
                  </a:lnTo>
                  <a:lnTo>
                    <a:pt x="351" y="365"/>
                  </a:lnTo>
                  <a:lnTo>
                    <a:pt x="333" y="364"/>
                  </a:lnTo>
                  <a:lnTo>
                    <a:pt x="314" y="362"/>
                  </a:lnTo>
                  <a:lnTo>
                    <a:pt x="296" y="358"/>
                  </a:lnTo>
                  <a:lnTo>
                    <a:pt x="279" y="354"/>
                  </a:lnTo>
                  <a:lnTo>
                    <a:pt x="261" y="350"/>
                  </a:lnTo>
                  <a:lnTo>
                    <a:pt x="244" y="344"/>
                  </a:lnTo>
                  <a:lnTo>
                    <a:pt x="227" y="337"/>
                  </a:lnTo>
                  <a:lnTo>
                    <a:pt x="227" y="337"/>
                  </a:lnTo>
                  <a:lnTo>
                    <a:pt x="211" y="330"/>
                  </a:lnTo>
                  <a:lnTo>
                    <a:pt x="194" y="322"/>
                  </a:lnTo>
                  <a:lnTo>
                    <a:pt x="178" y="313"/>
                  </a:lnTo>
                  <a:lnTo>
                    <a:pt x="164" y="304"/>
                  </a:lnTo>
                  <a:lnTo>
                    <a:pt x="149" y="293"/>
                  </a:lnTo>
                  <a:lnTo>
                    <a:pt x="135" y="282"/>
                  </a:lnTo>
                  <a:lnTo>
                    <a:pt x="121" y="270"/>
                  </a:lnTo>
                  <a:lnTo>
                    <a:pt x="108" y="257"/>
                  </a:lnTo>
                  <a:lnTo>
                    <a:pt x="108" y="257"/>
                  </a:lnTo>
                  <a:lnTo>
                    <a:pt x="96" y="244"/>
                  </a:lnTo>
                  <a:lnTo>
                    <a:pt x="84" y="231"/>
                  </a:lnTo>
                  <a:lnTo>
                    <a:pt x="73" y="216"/>
                  </a:lnTo>
                  <a:lnTo>
                    <a:pt x="62" y="202"/>
                  </a:lnTo>
                  <a:lnTo>
                    <a:pt x="52" y="187"/>
                  </a:lnTo>
                  <a:lnTo>
                    <a:pt x="44" y="171"/>
                  </a:lnTo>
                  <a:lnTo>
                    <a:pt x="35" y="154"/>
                  </a:lnTo>
                  <a:lnTo>
                    <a:pt x="28" y="138"/>
                  </a:lnTo>
                  <a:lnTo>
                    <a:pt x="28" y="138"/>
                  </a:lnTo>
                  <a:lnTo>
                    <a:pt x="22" y="122"/>
                  </a:lnTo>
                  <a:lnTo>
                    <a:pt x="16" y="105"/>
                  </a:lnTo>
                  <a:lnTo>
                    <a:pt x="11" y="88"/>
                  </a:lnTo>
                  <a:lnTo>
                    <a:pt x="7" y="71"/>
                  </a:lnTo>
                  <a:lnTo>
                    <a:pt x="5" y="52"/>
                  </a:lnTo>
                  <a:lnTo>
                    <a:pt x="3" y="35"/>
                  </a:lnTo>
                  <a:lnTo>
                    <a:pt x="1" y="17"/>
                  </a:lnTo>
                  <a:lnTo>
                    <a:pt x="0" y="0"/>
                  </a:lnTo>
                  <a:lnTo>
                    <a:pt x="0" y="0"/>
                  </a:lnTo>
                  <a:lnTo>
                    <a:pt x="18" y="7"/>
                  </a:lnTo>
                  <a:lnTo>
                    <a:pt x="18" y="7"/>
                  </a:lnTo>
                  <a:lnTo>
                    <a:pt x="23" y="16"/>
                  </a:lnTo>
                  <a:lnTo>
                    <a:pt x="23" y="16"/>
                  </a:lnTo>
                  <a:lnTo>
                    <a:pt x="30" y="24"/>
                  </a:lnTo>
                  <a:lnTo>
                    <a:pt x="39" y="32"/>
                  </a:lnTo>
                  <a:lnTo>
                    <a:pt x="39" y="32"/>
                  </a:lnTo>
                  <a:lnTo>
                    <a:pt x="47" y="38"/>
                  </a:lnTo>
                  <a:lnTo>
                    <a:pt x="58" y="44"/>
                  </a:lnTo>
                  <a:lnTo>
                    <a:pt x="80" y="55"/>
                  </a:lnTo>
                  <a:lnTo>
                    <a:pt x="80" y="55"/>
                  </a:lnTo>
                  <a:lnTo>
                    <a:pt x="102" y="63"/>
                  </a:lnTo>
                  <a:lnTo>
                    <a:pt x="125" y="71"/>
                  </a:lnTo>
                  <a:lnTo>
                    <a:pt x="125" y="71"/>
                  </a:lnTo>
                  <a:lnTo>
                    <a:pt x="123" y="37"/>
                  </a:lnTo>
                  <a:lnTo>
                    <a:pt x="123" y="37"/>
                  </a:lnTo>
                  <a:lnTo>
                    <a:pt x="138" y="39"/>
                  </a:lnTo>
                  <a:lnTo>
                    <a:pt x="138" y="39"/>
                  </a:lnTo>
                  <a:lnTo>
                    <a:pt x="142" y="74"/>
                  </a:lnTo>
                  <a:lnTo>
                    <a:pt x="142" y="74"/>
                  </a:lnTo>
                  <a:lnTo>
                    <a:pt x="174" y="81"/>
                  </a:lnTo>
                  <a:lnTo>
                    <a:pt x="174" y="81"/>
                  </a:lnTo>
                  <a:lnTo>
                    <a:pt x="214" y="89"/>
                  </a:lnTo>
                  <a:lnTo>
                    <a:pt x="254" y="94"/>
                  </a:lnTo>
                  <a:lnTo>
                    <a:pt x="254" y="94"/>
                  </a:lnTo>
                  <a:lnTo>
                    <a:pt x="251" y="54"/>
                  </a:lnTo>
                  <a:lnTo>
                    <a:pt x="251" y="54"/>
                  </a:lnTo>
                  <a:lnTo>
                    <a:pt x="268" y="55"/>
                  </a:lnTo>
                  <a:lnTo>
                    <a:pt x="268" y="55"/>
                  </a:lnTo>
                  <a:lnTo>
                    <a:pt x="271" y="95"/>
                  </a:lnTo>
                  <a:lnTo>
                    <a:pt x="271" y="95"/>
                  </a:lnTo>
                  <a:lnTo>
                    <a:pt x="319" y="98"/>
                  </a:lnTo>
                  <a:lnTo>
                    <a:pt x="368" y="100"/>
                  </a:lnTo>
                  <a:lnTo>
                    <a:pt x="368" y="100"/>
                  </a:lnTo>
                  <a:lnTo>
                    <a:pt x="417" y="98"/>
                  </a:lnTo>
                  <a:lnTo>
                    <a:pt x="466" y="95"/>
                  </a:lnTo>
                  <a:lnTo>
                    <a:pt x="466" y="95"/>
                  </a:lnTo>
                  <a:lnTo>
                    <a:pt x="468" y="55"/>
                  </a:lnTo>
                  <a:lnTo>
                    <a:pt x="468" y="55"/>
                  </a:lnTo>
                  <a:lnTo>
                    <a:pt x="485" y="54"/>
                  </a:lnTo>
                  <a:lnTo>
                    <a:pt x="485" y="54"/>
                  </a:lnTo>
                  <a:lnTo>
                    <a:pt x="482" y="94"/>
                  </a:lnTo>
                  <a:lnTo>
                    <a:pt x="482" y="94"/>
                  </a:lnTo>
                  <a:lnTo>
                    <a:pt x="523" y="89"/>
                  </a:lnTo>
                  <a:lnTo>
                    <a:pt x="563" y="81"/>
                  </a:lnTo>
                  <a:lnTo>
                    <a:pt x="563" y="81"/>
                  </a:lnTo>
                  <a:lnTo>
                    <a:pt x="593" y="74"/>
                  </a:lnTo>
                  <a:lnTo>
                    <a:pt x="593" y="74"/>
                  </a:lnTo>
                  <a:lnTo>
                    <a:pt x="598" y="39"/>
                  </a:lnTo>
                  <a:lnTo>
                    <a:pt x="598" y="39"/>
                  </a:lnTo>
                  <a:lnTo>
                    <a:pt x="614" y="37"/>
                  </a:lnTo>
                  <a:lnTo>
                    <a:pt x="614" y="37"/>
                  </a:lnTo>
                  <a:lnTo>
                    <a:pt x="610" y="71"/>
                  </a:lnTo>
                  <a:lnTo>
                    <a:pt x="610" y="71"/>
                  </a:lnTo>
                  <a:lnTo>
                    <a:pt x="633" y="63"/>
                  </a:lnTo>
                  <a:lnTo>
                    <a:pt x="656" y="55"/>
                  </a:lnTo>
                  <a:lnTo>
                    <a:pt x="656" y="55"/>
                  </a:lnTo>
                  <a:lnTo>
                    <a:pt x="678" y="44"/>
                  </a:lnTo>
                  <a:lnTo>
                    <a:pt x="688" y="38"/>
                  </a:lnTo>
                  <a:lnTo>
                    <a:pt x="698" y="32"/>
                  </a:lnTo>
                  <a:lnTo>
                    <a:pt x="698" y="32"/>
                  </a:lnTo>
                  <a:lnTo>
                    <a:pt x="706" y="24"/>
                  </a:lnTo>
                  <a:lnTo>
                    <a:pt x="714" y="16"/>
                  </a:lnTo>
                  <a:lnTo>
                    <a:pt x="714" y="16"/>
                  </a:lnTo>
                  <a:lnTo>
                    <a:pt x="718" y="7"/>
                  </a:lnTo>
                  <a:lnTo>
                    <a:pt x="718" y="7"/>
                  </a:lnTo>
                  <a:lnTo>
                    <a:pt x="737" y="0"/>
                  </a:lnTo>
                  <a:lnTo>
                    <a:pt x="737" y="0"/>
                  </a:lnTo>
                  <a:close/>
                  <a:moveTo>
                    <a:pt x="715" y="39"/>
                  </a:moveTo>
                  <a:lnTo>
                    <a:pt x="715" y="39"/>
                  </a:lnTo>
                  <a:lnTo>
                    <a:pt x="707" y="44"/>
                  </a:lnTo>
                  <a:lnTo>
                    <a:pt x="707" y="44"/>
                  </a:lnTo>
                  <a:lnTo>
                    <a:pt x="697" y="52"/>
                  </a:lnTo>
                  <a:lnTo>
                    <a:pt x="686" y="58"/>
                  </a:lnTo>
                  <a:lnTo>
                    <a:pt x="663" y="69"/>
                  </a:lnTo>
                  <a:lnTo>
                    <a:pt x="663" y="69"/>
                  </a:lnTo>
                  <a:lnTo>
                    <a:pt x="636" y="79"/>
                  </a:lnTo>
                  <a:lnTo>
                    <a:pt x="608" y="88"/>
                  </a:lnTo>
                  <a:lnTo>
                    <a:pt x="608" y="88"/>
                  </a:lnTo>
                  <a:lnTo>
                    <a:pt x="602" y="117"/>
                  </a:lnTo>
                  <a:lnTo>
                    <a:pt x="602" y="117"/>
                  </a:lnTo>
                  <a:lnTo>
                    <a:pt x="593" y="149"/>
                  </a:lnTo>
                  <a:lnTo>
                    <a:pt x="582" y="180"/>
                  </a:lnTo>
                  <a:lnTo>
                    <a:pt x="582" y="180"/>
                  </a:lnTo>
                  <a:lnTo>
                    <a:pt x="593" y="175"/>
                  </a:lnTo>
                  <a:lnTo>
                    <a:pt x="593" y="175"/>
                  </a:lnTo>
                  <a:lnTo>
                    <a:pt x="618" y="160"/>
                  </a:lnTo>
                  <a:lnTo>
                    <a:pt x="642" y="143"/>
                  </a:lnTo>
                  <a:lnTo>
                    <a:pt x="653" y="134"/>
                  </a:lnTo>
                  <a:lnTo>
                    <a:pt x="663" y="124"/>
                  </a:lnTo>
                  <a:lnTo>
                    <a:pt x="672" y="113"/>
                  </a:lnTo>
                  <a:lnTo>
                    <a:pt x="682" y="102"/>
                  </a:lnTo>
                  <a:lnTo>
                    <a:pt x="682" y="102"/>
                  </a:lnTo>
                  <a:lnTo>
                    <a:pt x="690" y="90"/>
                  </a:lnTo>
                  <a:lnTo>
                    <a:pt x="698" y="78"/>
                  </a:lnTo>
                  <a:lnTo>
                    <a:pt x="704" y="66"/>
                  </a:lnTo>
                  <a:lnTo>
                    <a:pt x="710" y="52"/>
                  </a:lnTo>
                  <a:lnTo>
                    <a:pt x="710" y="52"/>
                  </a:lnTo>
                  <a:lnTo>
                    <a:pt x="715" y="39"/>
                  </a:lnTo>
                  <a:lnTo>
                    <a:pt x="715" y="39"/>
                  </a:lnTo>
                  <a:close/>
                  <a:moveTo>
                    <a:pt x="706" y="96"/>
                  </a:moveTo>
                  <a:lnTo>
                    <a:pt x="706" y="96"/>
                  </a:lnTo>
                  <a:lnTo>
                    <a:pt x="694" y="112"/>
                  </a:lnTo>
                  <a:lnTo>
                    <a:pt x="694" y="112"/>
                  </a:lnTo>
                  <a:lnTo>
                    <a:pt x="684" y="124"/>
                  </a:lnTo>
                  <a:lnTo>
                    <a:pt x="675" y="135"/>
                  </a:lnTo>
                  <a:lnTo>
                    <a:pt x="664" y="146"/>
                  </a:lnTo>
                  <a:lnTo>
                    <a:pt x="652" y="155"/>
                  </a:lnTo>
                  <a:lnTo>
                    <a:pt x="652" y="155"/>
                  </a:lnTo>
                  <a:lnTo>
                    <a:pt x="640" y="165"/>
                  </a:lnTo>
                  <a:lnTo>
                    <a:pt x="627" y="174"/>
                  </a:lnTo>
                  <a:lnTo>
                    <a:pt x="601" y="189"/>
                  </a:lnTo>
                  <a:lnTo>
                    <a:pt x="601" y="189"/>
                  </a:lnTo>
                  <a:lnTo>
                    <a:pt x="574" y="203"/>
                  </a:lnTo>
                  <a:lnTo>
                    <a:pt x="574" y="203"/>
                  </a:lnTo>
                  <a:lnTo>
                    <a:pt x="559" y="231"/>
                  </a:lnTo>
                  <a:lnTo>
                    <a:pt x="559" y="231"/>
                  </a:lnTo>
                  <a:lnTo>
                    <a:pt x="545" y="256"/>
                  </a:lnTo>
                  <a:lnTo>
                    <a:pt x="535" y="268"/>
                  </a:lnTo>
                  <a:lnTo>
                    <a:pt x="527" y="280"/>
                  </a:lnTo>
                  <a:lnTo>
                    <a:pt x="527" y="280"/>
                  </a:lnTo>
                  <a:lnTo>
                    <a:pt x="517" y="293"/>
                  </a:lnTo>
                  <a:lnTo>
                    <a:pt x="506" y="304"/>
                  </a:lnTo>
                  <a:lnTo>
                    <a:pt x="495" y="314"/>
                  </a:lnTo>
                  <a:lnTo>
                    <a:pt x="483" y="324"/>
                  </a:lnTo>
                  <a:lnTo>
                    <a:pt x="483" y="324"/>
                  </a:lnTo>
                  <a:lnTo>
                    <a:pt x="466" y="335"/>
                  </a:lnTo>
                  <a:lnTo>
                    <a:pt x="466" y="335"/>
                  </a:lnTo>
                  <a:lnTo>
                    <a:pt x="485" y="329"/>
                  </a:lnTo>
                  <a:lnTo>
                    <a:pt x="502" y="323"/>
                  </a:lnTo>
                  <a:lnTo>
                    <a:pt x="502" y="323"/>
                  </a:lnTo>
                  <a:lnTo>
                    <a:pt x="518" y="316"/>
                  </a:lnTo>
                  <a:lnTo>
                    <a:pt x="534" y="307"/>
                  </a:lnTo>
                  <a:lnTo>
                    <a:pt x="550" y="299"/>
                  </a:lnTo>
                  <a:lnTo>
                    <a:pt x="564" y="290"/>
                  </a:lnTo>
                  <a:lnTo>
                    <a:pt x="578" y="280"/>
                  </a:lnTo>
                  <a:lnTo>
                    <a:pt x="591" y="270"/>
                  </a:lnTo>
                  <a:lnTo>
                    <a:pt x="604" y="259"/>
                  </a:lnTo>
                  <a:lnTo>
                    <a:pt x="616" y="246"/>
                  </a:lnTo>
                  <a:lnTo>
                    <a:pt x="616" y="246"/>
                  </a:lnTo>
                  <a:lnTo>
                    <a:pt x="629" y="233"/>
                  </a:lnTo>
                  <a:lnTo>
                    <a:pt x="641" y="221"/>
                  </a:lnTo>
                  <a:lnTo>
                    <a:pt x="650" y="206"/>
                  </a:lnTo>
                  <a:lnTo>
                    <a:pt x="661" y="193"/>
                  </a:lnTo>
                  <a:lnTo>
                    <a:pt x="670" y="179"/>
                  </a:lnTo>
                  <a:lnTo>
                    <a:pt x="678" y="163"/>
                  </a:lnTo>
                  <a:lnTo>
                    <a:pt x="687" y="148"/>
                  </a:lnTo>
                  <a:lnTo>
                    <a:pt x="693" y="132"/>
                  </a:lnTo>
                  <a:lnTo>
                    <a:pt x="693" y="132"/>
                  </a:lnTo>
                  <a:lnTo>
                    <a:pt x="700" y="114"/>
                  </a:lnTo>
                  <a:lnTo>
                    <a:pt x="706" y="96"/>
                  </a:lnTo>
                  <a:lnTo>
                    <a:pt x="706" y="96"/>
                  </a:lnTo>
                  <a:close/>
                  <a:moveTo>
                    <a:pt x="586" y="113"/>
                  </a:moveTo>
                  <a:lnTo>
                    <a:pt x="586" y="113"/>
                  </a:lnTo>
                  <a:lnTo>
                    <a:pt x="591" y="92"/>
                  </a:lnTo>
                  <a:lnTo>
                    <a:pt x="591" y="92"/>
                  </a:lnTo>
                  <a:lnTo>
                    <a:pt x="567" y="97"/>
                  </a:lnTo>
                  <a:lnTo>
                    <a:pt x="567" y="97"/>
                  </a:lnTo>
                  <a:lnTo>
                    <a:pt x="524" y="105"/>
                  </a:lnTo>
                  <a:lnTo>
                    <a:pt x="481" y="109"/>
                  </a:lnTo>
                  <a:lnTo>
                    <a:pt x="481" y="109"/>
                  </a:lnTo>
                  <a:lnTo>
                    <a:pt x="476" y="153"/>
                  </a:lnTo>
                  <a:lnTo>
                    <a:pt x="468" y="196"/>
                  </a:lnTo>
                  <a:lnTo>
                    <a:pt x="468" y="196"/>
                  </a:lnTo>
                  <a:lnTo>
                    <a:pt x="462" y="220"/>
                  </a:lnTo>
                  <a:lnTo>
                    <a:pt x="462" y="220"/>
                  </a:lnTo>
                  <a:lnTo>
                    <a:pt x="484" y="216"/>
                  </a:lnTo>
                  <a:lnTo>
                    <a:pt x="484" y="216"/>
                  </a:lnTo>
                  <a:lnTo>
                    <a:pt x="504" y="210"/>
                  </a:lnTo>
                  <a:lnTo>
                    <a:pt x="523" y="205"/>
                  </a:lnTo>
                  <a:lnTo>
                    <a:pt x="542" y="198"/>
                  </a:lnTo>
                  <a:lnTo>
                    <a:pt x="562" y="191"/>
                  </a:lnTo>
                  <a:lnTo>
                    <a:pt x="562" y="191"/>
                  </a:lnTo>
                  <a:lnTo>
                    <a:pt x="569" y="171"/>
                  </a:lnTo>
                  <a:lnTo>
                    <a:pt x="575" y="153"/>
                  </a:lnTo>
                  <a:lnTo>
                    <a:pt x="581" y="134"/>
                  </a:lnTo>
                  <a:lnTo>
                    <a:pt x="586" y="113"/>
                  </a:lnTo>
                  <a:lnTo>
                    <a:pt x="586" y="113"/>
                  </a:lnTo>
                  <a:close/>
                  <a:moveTo>
                    <a:pt x="546" y="222"/>
                  </a:moveTo>
                  <a:lnTo>
                    <a:pt x="546" y="222"/>
                  </a:lnTo>
                  <a:lnTo>
                    <a:pt x="551" y="213"/>
                  </a:lnTo>
                  <a:lnTo>
                    <a:pt x="551" y="213"/>
                  </a:lnTo>
                  <a:lnTo>
                    <a:pt x="519" y="223"/>
                  </a:lnTo>
                  <a:lnTo>
                    <a:pt x="488" y="232"/>
                  </a:lnTo>
                  <a:lnTo>
                    <a:pt x="488" y="232"/>
                  </a:lnTo>
                  <a:lnTo>
                    <a:pt x="459" y="237"/>
                  </a:lnTo>
                  <a:lnTo>
                    <a:pt x="459" y="237"/>
                  </a:lnTo>
                  <a:lnTo>
                    <a:pt x="450" y="265"/>
                  </a:lnTo>
                  <a:lnTo>
                    <a:pt x="441" y="293"/>
                  </a:lnTo>
                  <a:lnTo>
                    <a:pt x="441" y="293"/>
                  </a:lnTo>
                  <a:lnTo>
                    <a:pt x="430" y="316"/>
                  </a:lnTo>
                  <a:lnTo>
                    <a:pt x="422" y="327"/>
                  </a:lnTo>
                  <a:lnTo>
                    <a:pt x="415" y="337"/>
                  </a:lnTo>
                  <a:lnTo>
                    <a:pt x="415" y="337"/>
                  </a:lnTo>
                  <a:lnTo>
                    <a:pt x="410" y="344"/>
                  </a:lnTo>
                  <a:lnTo>
                    <a:pt x="410" y="344"/>
                  </a:lnTo>
                  <a:lnTo>
                    <a:pt x="424" y="339"/>
                  </a:lnTo>
                  <a:lnTo>
                    <a:pt x="424" y="339"/>
                  </a:lnTo>
                  <a:lnTo>
                    <a:pt x="437" y="334"/>
                  </a:lnTo>
                  <a:lnTo>
                    <a:pt x="449" y="327"/>
                  </a:lnTo>
                  <a:lnTo>
                    <a:pt x="461" y="319"/>
                  </a:lnTo>
                  <a:lnTo>
                    <a:pt x="473" y="311"/>
                  </a:lnTo>
                  <a:lnTo>
                    <a:pt x="473" y="311"/>
                  </a:lnTo>
                  <a:lnTo>
                    <a:pt x="484" y="302"/>
                  </a:lnTo>
                  <a:lnTo>
                    <a:pt x="494" y="293"/>
                  </a:lnTo>
                  <a:lnTo>
                    <a:pt x="505" y="282"/>
                  </a:lnTo>
                  <a:lnTo>
                    <a:pt x="513" y="271"/>
                  </a:lnTo>
                  <a:lnTo>
                    <a:pt x="530" y="248"/>
                  </a:lnTo>
                  <a:lnTo>
                    <a:pt x="546" y="222"/>
                  </a:lnTo>
                  <a:lnTo>
                    <a:pt x="546" y="222"/>
                  </a:lnTo>
                  <a:close/>
                  <a:moveTo>
                    <a:pt x="453" y="193"/>
                  </a:moveTo>
                  <a:lnTo>
                    <a:pt x="453" y="193"/>
                  </a:lnTo>
                  <a:lnTo>
                    <a:pt x="460" y="152"/>
                  </a:lnTo>
                  <a:lnTo>
                    <a:pt x="465" y="112"/>
                  </a:lnTo>
                  <a:lnTo>
                    <a:pt x="465" y="112"/>
                  </a:lnTo>
                  <a:lnTo>
                    <a:pt x="416" y="114"/>
                  </a:lnTo>
                  <a:lnTo>
                    <a:pt x="368" y="115"/>
                  </a:lnTo>
                  <a:lnTo>
                    <a:pt x="368" y="115"/>
                  </a:lnTo>
                  <a:lnTo>
                    <a:pt x="320" y="114"/>
                  </a:lnTo>
                  <a:lnTo>
                    <a:pt x="272" y="112"/>
                  </a:lnTo>
                  <a:lnTo>
                    <a:pt x="272" y="112"/>
                  </a:lnTo>
                  <a:lnTo>
                    <a:pt x="277" y="152"/>
                  </a:lnTo>
                  <a:lnTo>
                    <a:pt x="284" y="193"/>
                  </a:lnTo>
                  <a:lnTo>
                    <a:pt x="284" y="193"/>
                  </a:lnTo>
                  <a:lnTo>
                    <a:pt x="291" y="223"/>
                  </a:lnTo>
                  <a:lnTo>
                    <a:pt x="291" y="223"/>
                  </a:lnTo>
                  <a:lnTo>
                    <a:pt x="329" y="227"/>
                  </a:lnTo>
                  <a:lnTo>
                    <a:pt x="368" y="228"/>
                  </a:lnTo>
                  <a:lnTo>
                    <a:pt x="368" y="228"/>
                  </a:lnTo>
                  <a:lnTo>
                    <a:pt x="407" y="22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53" y="193"/>
                  </a:lnTo>
                  <a:lnTo>
                    <a:pt x="453" y="193"/>
                  </a:lnTo>
                  <a:close/>
                  <a:moveTo>
                    <a:pt x="425" y="285"/>
                  </a:moveTo>
                  <a:lnTo>
                    <a:pt x="425" y="285"/>
                  </a:lnTo>
                  <a:lnTo>
                    <a:pt x="434" y="263"/>
                  </a:lnTo>
                  <a:lnTo>
                    <a:pt x="441" y="240"/>
                  </a:lnTo>
                  <a:lnTo>
                    <a:pt x="441" y="240"/>
                  </a:lnTo>
                  <a:lnTo>
                    <a:pt x="405" y="244"/>
                  </a:lnTo>
                  <a:lnTo>
                    <a:pt x="368" y="245"/>
                  </a:lnTo>
                  <a:lnTo>
                    <a:pt x="368" y="245"/>
                  </a:lnTo>
                  <a:lnTo>
                    <a:pt x="331" y="244"/>
                  </a:lnTo>
                  <a:lnTo>
                    <a:pt x="295" y="240"/>
                  </a:lnTo>
                  <a:lnTo>
                    <a:pt x="295" y="240"/>
                  </a:lnTo>
                  <a:lnTo>
                    <a:pt x="302" y="263"/>
                  </a:lnTo>
                  <a:lnTo>
                    <a:pt x="311" y="285"/>
                  </a:lnTo>
                  <a:lnTo>
                    <a:pt x="311" y="285"/>
                  </a:lnTo>
                  <a:lnTo>
                    <a:pt x="322" y="307"/>
                  </a:lnTo>
                  <a:lnTo>
                    <a:pt x="328" y="318"/>
                  </a:lnTo>
                  <a:lnTo>
                    <a:pt x="334" y="327"/>
                  </a:lnTo>
                  <a:lnTo>
                    <a:pt x="334" y="327"/>
                  </a:lnTo>
                  <a:lnTo>
                    <a:pt x="341" y="336"/>
                  </a:lnTo>
                  <a:lnTo>
                    <a:pt x="350" y="342"/>
                  </a:lnTo>
                  <a:lnTo>
                    <a:pt x="350" y="342"/>
                  </a:lnTo>
                  <a:lnTo>
                    <a:pt x="359" y="347"/>
                  </a:lnTo>
                  <a:lnTo>
                    <a:pt x="364" y="348"/>
                  </a:lnTo>
                  <a:lnTo>
                    <a:pt x="368" y="350"/>
                  </a:lnTo>
                  <a:lnTo>
                    <a:pt x="368" y="350"/>
                  </a:lnTo>
                  <a:lnTo>
                    <a:pt x="373" y="348"/>
                  </a:lnTo>
                  <a:lnTo>
                    <a:pt x="377" y="347"/>
                  </a:lnTo>
                  <a:lnTo>
                    <a:pt x="387" y="342"/>
                  </a:lnTo>
                  <a:lnTo>
                    <a:pt x="387" y="342"/>
                  </a:lnTo>
                  <a:lnTo>
                    <a:pt x="394" y="336"/>
                  </a:lnTo>
                  <a:lnTo>
                    <a:pt x="403" y="327"/>
                  </a:lnTo>
                  <a:lnTo>
                    <a:pt x="403" y="327"/>
                  </a:lnTo>
                  <a:lnTo>
                    <a:pt x="409" y="318"/>
                  </a:lnTo>
                  <a:lnTo>
                    <a:pt x="415" y="307"/>
                  </a:lnTo>
                  <a:lnTo>
                    <a:pt x="425" y="285"/>
                  </a:lnTo>
                  <a:lnTo>
                    <a:pt x="425" y="285"/>
                  </a:lnTo>
                  <a:close/>
                  <a:moveTo>
                    <a:pt x="326" y="344"/>
                  </a:moveTo>
                  <a:lnTo>
                    <a:pt x="326" y="344"/>
                  </a:lnTo>
                  <a:lnTo>
                    <a:pt x="322" y="337"/>
                  </a:lnTo>
                  <a:lnTo>
                    <a:pt x="322" y="337"/>
                  </a:lnTo>
                  <a:lnTo>
                    <a:pt x="314" y="327"/>
                  </a:lnTo>
                  <a:lnTo>
                    <a:pt x="307" y="316"/>
                  </a:lnTo>
                  <a:lnTo>
                    <a:pt x="296" y="293"/>
                  </a:lnTo>
                  <a:lnTo>
                    <a:pt x="296" y="293"/>
                  </a:lnTo>
                  <a:lnTo>
                    <a:pt x="286" y="265"/>
                  </a:lnTo>
                  <a:lnTo>
                    <a:pt x="278" y="237"/>
                  </a:lnTo>
                  <a:lnTo>
                    <a:pt x="278" y="237"/>
                  </a:lnTo>
                  <a:lnTo>
                    <a:pt x="249" y="232"/>
                  </a:lnTo>
                  <a:lnTo>
                    <a:pt x="249" y="232"/>
                  </a:lnTo>
                  <a:lnTo>
                    <a:pt x="216" y="223"/>
                  </a:lnTo>
                  <a:lnTo>
                    <a:pt x="186" y="213"/>
                  </a:lnTo>
                  <a:lnTo>
                    <a:pt x="186" y="213"/>
                  </a:lnTo>
                  <a:lnTo>
                    <a:pt x="191" y="222"/>
                  </a:lnTo>
                  <a:lnTo>
                    <a:pt x="191" y="222"/>
                  </a:lnTo>
                  <a:lnTo>
                    <a:pt x="205" y="248"/>
                  </a:lnTo>
                  <a:lnTo>
                    <a:pt x="222" y="271"/>
                  </a:lnTo>
                  <a:lnTo>
                    <a:pt x="232" y="282"/>
                  </a:lnTo>
                  <a:lnTo>
                    <a:pt x="242" y="293"/>
                  </a:lnTo>
                  <a:lnTo>
                    <a:pt x="252" y="302"/>
                  </a:lnTo>
                  <a:lnTo>
                    <a:pt x="263" y="311"/>
                  </a:lnTo>
                  <a:lnTo>
                    <a:pt x="263" y="311"/>
                  </a:lnTo>
                  <a:lnTo>
                    <a:pt x="276" y="319"/>
                  </a:lnTo>
                  <a:lnTo>
                    <a:pt x="288" y="327"/>
                  </a:lnTo>
                  <a:lnTo>
                    <a:pt x="300" y="334"/>
                  </a:lnTo>
                  <a:lnTo>
                    <a:pt x="313" y="339"/>
                  </a:lnTo>
                  <a:lnTo>
                    <a:pt x="313" y="339"/>
                  </a:lnTo>
                  <a:lnTo>
                    <a:pt x="326" y="344"/>
                  </a:lnTo>
                  <a:lnTo>
                    <a:pt x="326" y="344"/>
                  </a:lnTo>
                  <a:close/>
                  <a:moveTo>
                    <a:pt x="273" y="220"/>
                  </a:moveTo>
                  <a:lnTo>
                    <a:pt x="273" y="220"/>
                  </a:lnTo>
                  <a:lnTo>
                    <a:pt x="268" y="196"/>
                  </a:lnTo>
                  <a:lnTo>
                    <a:pt x="268" y="196"/>
                  </a:lnTo>
                  <a:lnTo>
                    <a:pt x="261" y="153"/>
                  </a:lnTo>
                  <a:lnTo>
                    <a:pt x="256" y="109"/>
                  </a:lnTo>
                  <a:lnTo>
                    <a:pt x="256" y="109"/>
                  </a:lnTo>
                  <a:lnTo>
                    <a:pt x="212" y="105"/>
                  </a:lnTo>
                  <a:lnTo>
                    <a:pt x="170" y="97"/>
                  </a:lnTo>
                  <a:lnTo>
                    <a:pt x="170" y="97"/>
                  </a:lnTo>
                  <a:lnTo>
                    <a:pt x="146" y="92"/>
                  </a:lnTo>
                  <a:lnTo>
                    <a:pt x="146" y="92"/>
                  </a:lnTo>
                  <a:lnTo>
                    <a:pt x="149" y="113"/>
                  </a:lnTo>
                  <a:lnTo>
                    <a:pt x="149" y="113"/>
                  </a:lnTo>
                  <a:lnTo>
                    <a:pt x="155" y="134"/>
                  </a:lnTo>
                  <a:lnTo>
                    <a:pt x="160" y="153"/>
                  </a:lnTo>
                  <a:lnTo>
                    <a:pt x="168" y="171"/>
                  </a:lnTo>
                  <a:lnTo>
                    <a:pt x="175" y="191"/>
                  </a:lnTo>
                  <a:lnTo>
                    <a:pt x="175" y="191"/>
                  </a:lnTo>
                  <a:lnTo>
                    <a:pt x="194" y="198"/>
                  </a:lnTo>
                  <a:lnTo>
                    <a:pt x="212" y="205"/>
                  </a:lnTo>
                  <a:lnTo>
                    <a:pt x="232" y="210"/>
                  </a:lnTo>
                  <a:lnTo>
                    <a:pt x="252" y="216"/>
                  </a:lnTo>
                  <a:lnTo>
                    <a:pt x="252" y="216"/>
                  </a:lnTo>
                  <a:lnTo>
                    <a:pt x="273" y="220"/>
                  </a:lnTo>
                  <a:lnTo>
                    <a:pt x="273" y="220"/>
                  </a:lnTo>
                  <a:close/>
                  <a:moveTo>
                    <a:pt x="269" y="335"/>
                  </a:moveTo>
                  <a:lnTo>
                    <a:pt x="269" y="335"/>
                  </a:lnTo>
                  <a:lnTo>
                    <a:pt x="254" y="324"/>
                  </a:lnTo>
                  <a:lnTo>
                    <a:pt x="254" y="324"/>
                  </a:lnTo>
                  <a:lnTo>
                    <a:pt x="242" y="314"/>
                  </a:lnTo>
                  <a:lnTo>
                    <a:pt x="231" y="304"/>
                  </a:lnTo>
                  <a:lnTo>
                    <a:pt x="220" y="293"/>
                  </a:lnTo>
                  <a:lnTo>
                    <a:pt x="210" y="280"/>
                  </a:lnTo>
                  <a:lnTo>
                    <a:pt x="210" y="280"/>
                  </a:lnTo>
                  <a:lnTo>
                    <a:pt x="200" y="268"/>
                  </a:lnTo>
                  <a:lnTo>
                    <a:pt x="192" y="256"/>
                  </a:lnTo>
                  <a:lnTo>
                    <a:pt x="176" y="231"/>
                  </a:lnTo>
                  <a:lnTo>
                    <a:pt x="176" y="231"/>
                  </a:lnTo>
                  <a:lnTo>
                    <a:pt x="163" y="203"/>
                  </a:lnTo>
                  <a:lnTo>
                    <a:pt x="163" y="203"/>
                  </a:lnTo>
                  <a:lnTo>
                    <a:pt x="136" y="189"/>
                  </a:lnTo>
                  <a:lnTo>
                    <a:pt x="136" y="189"/>
                  </a:lnTo>
                  <a:lnTo>
                    <a:pt x="109" y="174"/>
                  </a:lnTo>
                  <a:lnTo>
                    <a:pt x="97" y="165"/>
                  </a:lnTo>
                  <a:lnTo>
                    <a:pt x="85" y="155"/>
                  </a:lnTo>
                  <a:lnTo>
                    <a:pt x="85" y="155"/>
                  </a:lnTo>
                  <a:lnTo>
                    <a:pt x="73" y="146"/>
                  </a:lnTo>
                  <a:lnTo>
                    <a:pt x="62" y="135"/>
                  </a:lnTo>
                  <a:lnTo>
                    <a:pt x="51" y="124"/>
                  </a:lnTo>
                  <a:lnTo>
                    <a:pt x="41" y="112"/>
                  </a:lnTo>
                  <a:lnTo>
                    <a:pt x="41" y="112"/>
                  </a:lnTo>
                  <a:lnTo>
                    <a:pt x="30" y="96"/>
                  </a:lnTo>
                  <a:lnTo>
                    <a:pt x="30" y="96"/>
                  </a:lnTo>
                  <a:lnTo>
                    <a:pt x="37" y="114"/>
                  </a:lnTo>
                  <a:lnTo>
                    <a:pt x="43" y="132"/>
                  </a:lnTo>
                  <a:lnTo>
                    <a:pt x="43" y="132"/>
                  </a:lnTo>
                  <a:lnTo>
                    <a:pt x="50" y="148"/>
                  </a:lnTo>
                  <a:lnTo>
                    <a:pt x="58" y="163"/>
                  </a:lnTo>
                  <a:lnTo>
                    <a:pt x="67" y="179"/>
                  </a:lnTo>
                  <a:lnTo>
                    <a:pt x="75" y="193"/>
                  </a:lnTo>
                  <a:lnTo>
                    <a:pt x="85" y="206"/>
                  </a:lnTo>
                  <a:lnTo>
                    <a:pt x="96" y="221"/>
                  </a:lnTo>
                  <a:lnTo>
                    <a:pt x="108" y="233"/>
                  </a:lnTo>
                  <a:lnTo>
                    <a:pt x="119" y="246"/>
                  </a:lnTo>
                  <a:lnTo>
                    <a:pt x="119" y="246"/>
                  </a:lnTo>
                  <a:lnTo>
                    <a:pt x="132" y="259"/>
                  </a:lnTo>
                  <a:lnTo>
                    <a:pt x="145" y="270"/>
                  </a:lnTo>
                  <a:lnTo>
                    <a:pt x="159" y="280"/>
                  </a:lnTo>
                  <a:lnTo>
                    <a:pt x="172" y="290"/>
                  </a:lnTo>
                  <a:lnTo>
                    <a:pt x="187" y="299"/>
                  </a:lnTo>
                  <a:lnTo>
                    <a:pt x="203" y="307"/>
                  </a:lnTo>
                  <a:lnTo>
                    <a:pt x="217" y="316"/>
                  </a:lnTo>
                  <a:lnTo>
                    <a:pt x="233" y="323"/>
                  </a:lnTo>
                  <a:lnTo>
                    <a:pt x="233" y="323"/>
                  </a:lnTo>
                  <a:lnTo>
                    <a:pt x="251" y="329"/>
                  </a:lnTo>
                  <a:lnTo>
                    <a:pt x="269" y="335"/>
                  </a:lnTo>
                  <a:lnTo>
                    <a:pt x="269" y="335"/>
                  </a:lnTo>
                  <a:close/>
                  <a:moveTo>
                    <a:pt x="143" y="175"/>
                  </a:moveTo>
                  <a:lnTo>
                    <a:pt x="143" y="175"/>
                  </a:lnTo>
                  <a:lnTo>
                    <a:pt x="153" y="180"/>
                  </a:lnTo>
                  <a:lnTo>
                    <a:pt x="153" y="180"/>
                  </a:lnTo>
                  <a:lnTo>
                    <a:pt x="143" y="149"/>
                  </a:lnTo>
                  <a:lnTo>
                    <a:pt x="134" y="117"/>
                  </a:lnTo>
                  <a:lnTo>
                    <a:pt x="134" y="117"/>
                  </a:lnTo>
                  <a:lnTo>
                    <a:pt x="129" y="88"/>
                  </a:lnTo>
                  <a:lnTo>
                    <a:pt x="129" y="88"/>
                  </a:lnTo>
                  <a:lnTo>
                    <a:pt x="101" y="79"/>
                  </a:lnTo>
                  <a:lnTo>
                    <a:pt x="74" y="69"/>
                  </a:lnTo>
                  <a:lnTo>
                    <a:pt x="74" y="69"/>
                  </a:lnTo>
                  <a:lnTo>
                    <a:pt x="51" y="58"/>
                  </a:lnTo>
                  <a:lnTo>
                    <a:pt x="39" y="52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2" y="39"/>
                  </a:lnTo>
                  <a:lnTo>
                    <a:pt x="22" y="39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2" y="66"/>
                  </a:lnTo>
                  <a:lnTo>
                    <a:pt x="39" y="78"/>
                  </a:lnTo>
                  <a:lnTo>
                    <a:pt x="46" y="90"/>
                  </a:lnTo>
                  <a:lnTo>
                    <a:pt x="55" y="102"/>
                  </a:lnTo>
                  <a:lnTo>
                    <a:pt x="55" y="102"/>
                  </a:lnTo>
                  <a:lnTo>
                    <a:pt x="63" y="113"/>
                  </a:lnTo>
                  <a:lnTo>
                    <a:pt x="74" y="124"/>
                  </a:lnTo>
                  <a:lnTo>
                    <a:pt x="84" y="134"/>
                  </a:lnTo>
                  <a:lnTo>
                    <a:pt x="95" y="143"/>
                  </a:lnTo>
                  <a:lnTo>
                    <a:pt x="118" y="160"/>
                  </a:lnTo>
                  <a:lnTo>
                    <a:pt x="143" y="175"/>
                  </a:lnTo>
                  <a:lnTo>
                    <a:pt x="143" y="17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1" name="Freeform 244"/>
            <p:cNvSpPr/>
            <p:nvPr/>
          </p:nvSpPr>
          <p:spPr bwMode="auto">
            <a:xfrm>
              <a:off x="6473825" y="1419225"/>
              <a:ext cx="396875" cy="101600"/>
            </a:xfrm>
            <a:custGeom>
              <a:avLst/>
              <a:gdLst>
                <a:gd name="T0" fmla="*/ 637 w 749"/>
                <a:gd name="T1" fmla="*/ 0 h 192"/>
                <a:gd name="T2" fmla="*/ 684 w 749"/>
                <a:gd name="T3" fmla="*/ 16 h 192"/>
                <a:gd name="T4" fmla="*/ 720 w 749"/>
                <a:gd name="T5" fmla="*/ 36 h 192"/>
                <a:gd name="T6" fmla="*/ 737 w 749"/>
                <a:gd name="T7" fmla="*/ 51 h 192"/>
                <a:gd name="T8" fmla="*/ 745 w 749"/>
                <a:gd name="T9" fmla="*/ 62 h 192"/>
                <a:gd name="T10" fmla="*/ 749 w 749"/>
                <a:gd name="T11" fmla="*/ 74 h 192"/>
                <a:gd name="T12" fmla="*/ 749 w 749"/>
                <a:gd name="T13" fmla="*/ 79 h 192"/>
                <a:gd name="T14" fmla="*/ 747 w 749"/>
                <a:gd name="T15" fmla="*/ 91 h 192"/>
                <a:gd name="T16" fmla="*/ 741 w 749"/>
                <a:gd name="T17" fmla="*/ 102 h 192"/>
                <a:gd name="T18" fmla="*/ 732 w 749"/>
                <a:gd name="T19" fmla="*/ 113 h 192"/>
                <a:gd name="T20" fmla="*/ 704 w 749"/>
                <a:gd name="T21" fmla="*/ 134 h 192"/>
                <a:gd name="T22" fmla="*/ 664 w 749"/>
                <a:gd name="T23" fmla="*/ 151 h 192"/>
                <a:gd name="T24" fmla="*/ 613 w 749"/>
                <a:gd name="T25" fmla="*/ 167 h 192"/>
                <a:gd name="T26" fmla="*/ 553 w 749"/>
                <a:gd name="T27" fmla="*/ 179 h 192"/>
                <a:gd name="T28" fmla="*/ 485 w 749"/>
                <a:gd name="T29" fmla="*/ 187 h 192"/>
                <a:gd name="T30" fmla="*/ 413 w 749"/>
                <a:gd name="T31" fmla="*/ 191 h 192"/>
                <a:gd name="T32" fmla="*/ 374 w 749"/>
                <a:gd name="T33" fmla="*/ 192 h 192"/>
                <a:gd name="T34" fmla="*/ 299 w 749"/>
                <a:gd name="T35" fmla="*/ 190 h 192"/>
                <a:gd name="T36" fmla="*/ 228 w 749"/>
                <a:gd name="T37" fmla="*/ 184 h 192"/>
                <a:gd name="T38" fmla="*/ 165 w 749"/>
                <a:gd name="T39" fmla="*/ 173 h 192"/>
                <a:gd name="T40" fmla="*/ 109 w 749"/>
                <a:gd name="T41" fmla="*/ 159 h 192"/>
                <a:gd name="T42" fmla="*/ 63 w 749"/>
                <a:gd name="T43" fmla="*/ 142 h 192"/>
                <a:gd name="T44" fmla="*/ 29 w 749"/>
                <a:gd name="T45" fmla="*/ 123 h 192"/>
                <a:gd name="T46" fmla="*/ 11 w 749"/>
                <a:gd name="T47" fmla="*/ 108 h 192"/>
                <a:gd name="T48" fmla="*/ 4 w 749"/>
                <a:gd name="T49" fmla="*/ 97 h 192"/>
                <a:gd name="T50" fmla="*/ 0 w 749"/>
                <a:gd name="T51" fmla="*/ 85 h 192"/>
                <a:gd name="T52" fmla="*/ 0 w 749"/>
                <a:gd name="T53" fmla="*/ 79 h 192"/>
                <a:gd name="T54" fmla="*/ 1 w 749"/>
                <a:gd name="T55" fmla="*/ 68 h 192"/>
                <a:gd name="T56" fmla="*/ 7 w 749"/>
                <a:gd name="T57" fmla="*/ 57 h 192"/>
                <a:gd name="T58" fmla="*/ 17 w 749"/>
                <a:gd name="T59" fmla="*/ 47 h 192"/>
                <a:gd name="T60" fmla="*/ 46 w 749"/>
                <a:gd name="T61" fmla="*/ 26 h 192"/>
                <a:gd name="T62" fmla="*/ 86 w 749"/>
                <a:gd name="T63" fmla="*/ 8 h 192"/>
                <a:gd name="T64" fmla="*/ 112 w 749"/>
                <a:gd name="T65" fmla="*/ 15 h 192"/>
                <a:gd name="T66" fmla="*/ 100 w 749"/>
                <a:gd name="T67" fmla="*/ 21 h 192"/>
                <a:gd name="T68" fmla="*/ 80 w 749"/>
                <a:gd name="T69" fmla="*/ 33 h 192"/>
                <a:gd name="T70" fmla="*/ 67 w 749"/>
                <a:gd name="T71" fmla="*/ 45 h 192"/>
                <a:gd name="T72" fmla="*/ 61 w 749"/>
                <a:gd name="T73" fmla="*/ 60 h 192"/>
                <a:gd name="T74" fmla="*/ 60 w 749"/>
                <a:gd name="T75" fmla="*/ 67 h 192"/>
                <a:gd name="T76" fmla="*/ 61 w 749"/>
                <a:gd name="T77" fmla="*/ 77 h 192"/>
                <a:gd name="T78" fmla="*/ 74 w 749"/>
                <a:gd name="T79" fmla="*/ 95 h 192"/>
                <a:gd name="T80" fmla="*/ 97 w 749"/>
                <a:gd name="T81" fmla="*/ 112 h 192"/>
                <a:gd name="T82" fmla="*/ 131 w 749"/>
                <a:gd name="T83" fmla="*/ 127 h 192"/>
                <a:gd name="T84" fmla="*/ 174 w 749"/>
                <a:gd name="T85" fmla="*/ 139 h 192"/>
                <a:gd name="T86" fmla="*/ 225 w 749"/>
                <a:gd name="T87" fmla="*/ 150 h 192"/>
                <a:gd name="T88" fmla="*/ 280 w 749"/>
                <a:gd name="T89" fmla="*/ 157 h 192"/>
                <a:gd name="T90" fmla="*/ 342 w 749"/>
                <a:gd name="T91" fmla="*/ 161 h 192"/>
                <a:gd name="T92" fmla="*/ 374 w 749"/>
                <a:gd name="T93" fmla="*/ 161 h 192"/>
                <a:gd name="T94" fmla="*/ 438 w 749"/>
                <a:gd name="T95" fmla="*/ 159 h 192"/>
                <a:gd name="T96" fmla="*/ 496 w 749"/>
                <a:gd name="T97" fmla="*/ 153 h 192"/>
                <a:gd name="T98" fmla="*/ 550 w 749"/>
                <a:gd name="T99" fmla="*/ 145 h 192"/>
                <a:gd name="T100" fmla="*/ 597 w 749"/>
                <a:gd name="T101" fmla="*/ 133 h 192"/>
                <a:gd name="T102" fmla="*/ 636 w 749"/>
                <a:gd name="T103" fmla="*/ 119 h 192"/>
                <a:gd name="T104" fmla="*/ 664 w 749"/>
                <a:gd name="T105" fmla="*/ 104 h 192"/>
                <a:gd name="T106" fmla="*/ 683 w 749"/>
                <a:gd name="T107" fmla="*/ 85 h 192"/>
                <a:gd name="T108" fmla="*/ 689 w 749"/>
                <a:gd name="T109" fmla="*/ 72 h 192"/>
                <a:gd name="T110" fmla="*/ 689 w 749"/>
                <a:gd name="T111" fmla="*/ 67 h 192"/>
                <a:gd name="T112" fmla="*/ 686 w 749"/>
                <a:gd name="T113" fmla="*/ 53 h 192"/>
                <a:gd name="T114" fmla="*/ 676 w 749"/>
                <a:gd name="T115" fmla="*/ 39 h 192"/>
                <a:gd name="T116" fmla="*/ 659 w 749"/>
                <a:gd name="T117" fmla="*/ 26 h 192"/>
                <a:gd name="T118" fmla="*/ 637 w 749"/>
                <a:gd name="T119" fmla="*/ 15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9" h="192">
                  <a:moveTo>
                    <a:pt x="637" y="0"/>
                  </a:moveTo>
                  <a:lnTo>
                    <a:pt x="637" y="0"/>
                  </a:lnTo>
                  <a:lnTo>
                    <a:pt x="661" y="8"/>
                  </a:lnTo>
                  <a:lnTo>
                    <a:pt x="684" y="16"/>
                  </a:lnTo>
                  <a:lnTo>
                    <a:pt x="703" y="26"/>
                  </a:lnTo>
                  <a:lnTo>
                    <a:pt x="720" y="36"/>
                  </a:lnTo>
                  <a:lnTo>
                    <a:pt x="732" y="47"/>
                  </a:lnTo>
                  <a:lnTo>
                    <a:pt x="737" y="51"/>
                  </a:lnTo>
                  <a:lnTo>
                    <a:pt x="741" y="57"/>
                  </a:lnTo>
                  <a:lnTo>
                    <a:pt x="745" y="62"/>
                  </a:lnTo>
                  <a:lnTo>
                    <a:pt x="747" y="68"/>
                  </a:lnTo>
                  <a:lnTo>
                    <a:pt x="749" y="74"/>
                  </a:lnTo>
                  <a:lnTo>
                    <a:pt x="749" y="79"/>
                  </a:lnTo>
                  <a:lnTo>
                    <a:pt x="749" y="79"/>
                  </a:lnTo>
                  <a:lnTo>
                    <a:pt x="749" y="85"/>
                  </a:lnTo>
                  <a:lnTo>
                    <a:pt x="747" y="91"/>
                  </a:lnTo>
                  <a:lnTo>
                    <a:pt x="745" y="97"/>
                  </a:lnTo>
                  <a:lnTo>
                    <a:pt x="741" y="102"/>
                  </a:lnTo>
                  <a:lnTo>
                    <a:pt x="738" y="108"/>
                  </a:lnTo>
                  <a:lnTo>
                    <a:pt x="732" y="113"/>
                  </a:lnTo>
                  <a:lnTo>
                    <a:pt x="720" y="123"/>
                  </a:lnTo>
                  <a:lnTo>
                    <a:pt x="704" y="134"/>
                  </a:lnTo>
                  <a:lnTo>
                    <a:pt x="686" y="142"/>
                  </a:lnTo>
                  <a:lnTo>
                    <a:pt x="664" y="151"/>
                  </a:lnTo>
                  <a:lnTo>
                    <a:pt x="639" y="159"/>
                  </a:lnTo>
                  <a:lnTo>
                    <a:pt x="613" y="167"/>
                  </a:lnTo>
                  <a:lnTo>
                    <a:pt x="584" y="173"/>
                  </a:lnTo>
                  <a:lnTo>
                    <a:pt x="553" y="179"/>
                  </a:lnTo>
                  <a:lnTo>
                    <a:pt x="521" y="184"/>
                  </a:lnTo>
                  <a:lnTo>
                    <a:pt x="485" y="187"/>
                  </a:lnTo>
                  <a:lnTo>
                    <a:pt x="450" y="190"/>
                  </a:lnTo>
                  <a:lnTo>
                    <a:pt x="413" y="191"/>
                  </a:lnTo>
                  <a:lnTo>
                    <a:pt x="374" y="192"/>
                  </a:lnTo>
                  <a:lnTo>
                    <a:pt x="374" y="192"/>
                  </a:lnTo>
                  <a:lnTo>
                    <a:pt x="336" y="191"/>
                  </a:lnTo>
                  <a:lnTo>
                    <a:pt x="299" y="190"/>
                  </a:lnTo>
                  <a:lnTo>
                    <a:pt x="263" y="187"/>
                  </a:lnTo>
                  <a:lnTo>
                    <a:pt x="228" y="184"/>
                  </a:lnTo>
                  <a:lnTo>
                    <a:pt x="195" y="179"/>
                  </a:lnTo>
                  <a:lnTo>
                    <a:pt x="165" y="173"/>
                  </a:lnTo>
                  <a:lnTo>
                    <a:pt x="136" y="167"/>
                  </a:lnTo>
                  <a:lnTo>
                    <a:pt x="109" y="159"/>
                  </a:lnTo>
                  <a:lnTo>
                    <a:pt x="85" y="151"/>
                  </a:lnTo>
                  <a:lnTo>
                    <a:pt x="63" y="142"/>
                  </a:lnTo>
                  <a:lnTo>
                    <a:pt x="45" y="134"/>
                  </a:lnTo>
                  <a:lnTo>
                    <a:pt x="29" y="123"/>
                  </a:lnTo>
                  <a:lnTo>
                    <a:pt x="16" y="113"/>
                  </a:lnTo>
                  <a:lnTo>
                    <a:pt x="11" y="108"/>
                  </a:lnTo>
                  <a:lnTo>
                    <a:pt x="7" y="102"/>
                  </a:lnTo>
                  <a:lnTo>
                    <a:pt x="4" y="97"/>
                  </a:lnTo>
                  <a:lnTo>
                    <a:pt x="1" y="91"/>
                  </a:lnTo>
                  <a:lnTo>
                    <a:pt x="0" y="85"/>
                  </a:lnTo>
                  <a:lnTo>
                    <a:pt x="0" y="79"/>
                  </a:lnTo>
                  <a:lnTo>
                    <a:pt x="0" y="79"/>
                  </a:lnTo>
                  <a:lnTo>
                    <a:pt x="0" y="74"/>
                  </a:lnTo>
                  <a:lnTo>
                    <a:pt x="1" y="68"/>
                  </a:lnTo>
                  <a:lnTo>
                    <a:pt x="4" y="62"/>
                  </a:lnTo>
                  <a:lnTo>
                    <a:pt x="7" y="57"/>
                  </a:lnTo>
                  <a:lnTo>
                    <a:pt x="11" y="51"/>
                  </a:lnTo>
                  <a:lnTo>
                    <a:pt x="17" y="47"/>
                  </a:lnTo>
                  <a:lnTo>
                    <a:pt x="29" y="36"/>
                  </a:lnTo>
                  <a:lnTo>
                    <a:pt x="46" y="26"/>
                  </a:lnTo>
                  <a:lnTo>
                    <a:pt x="64" y="16"/>
                  </a:lnTo>
                  <a:lnTo>
                    <a:pt x="86" y="8"/>
                  </a:lnTo>
                  <a:lnTo>
                    <a:pt x="112" y="0"/>
                  </a:lnTo>
                  <a:lnTo>
                    <a:pt x="112" y="15"/>
                  </a:lnTo>
                  <a:lnTo>
                    <a:pt x="112" y="15"/>
                  </a:lnTo>
                  <a:lnTo>
                    <a:pt x="100" y="21"/>
                  </a:lnTo>
                  <a:lnTo>
                    <a:pt x="90" y="26"/>
                  </a:lnTo>
                  <a:lnTo>
                    <a:pt x="80" y="33"/>
                  </a:lnTo>
                  <a:lnTo>
                    <a:pt x="73" y="39"/>
                  </a:lnTo>
                  <a:lnTo>
                    <a:pt x="67" y="45"/>
                  </a:lnTo>
                  <a:lnTo>
                    <a:pt x="63" y="53"/>
                  </a:lnTo>
                  <a:lnTo>
                    <a:pt x="61" y="60"/>
                  </a:lnTo>
                  <a:lnTo>
                    <a:pt x="60" y="67"/>
                  </a:lnTo>
                  <a:lnTo>
                    <a:pt x="60" y="67"/>
                  </a:lnTo>
                  <a:lnTo>
                    <a:pt x="60" y="72"/>
                  </a:lnTo>
                  <a:lnTo>
                    <a:pt x="61" y="77"/>
                  </a:lnTo>
                  <a:lnTo>
                    <a:pt x="66" y="85"/>
                  </a:lnTo>
                  <a:lnTo>
                    <a:pt x="74" y="95"/>
                  </a:lnTo>
                  <a:lnTo>
                    <a:pt x="84" y="104"/>
                  </a:lnTo>
                  <a:lnTo>
                    <a:pt x="97" y="112"/>
                  </a:lnTo>
                  <a:lnTo>
                    <a:pt x="113" y="119"/>
                  </a:lnTo>
                  <a:lnTo>
                    <a:pt x="131" y="127"/>
                  </a:lnTo>
                  <a:lnTo>
                    <a:pt x="152" y="133"/>
                  </a:lnTo>
                  <a:lnTo>
                    <a:pt x="174" y="139"/>
                  </a:lnTo>
                  <a:lnTo>
                    <a:pt x="198" y="145"/>
                  </a:lnTo>
                  <a:lnTo>
                    <a:pt x="225" y="150"/>
                  </a:lnTo>
                  <a:lnTo>
                    <a:pt x="251" y="153"/>
                  </a:lnTo>
                  <a:lnTo>
                    <a:pt x="280" y="157"/>
                  </a:lnTo>
                  <a:lnTo>
                    <a:pt x="311" y="159"/>
                  </a:lnTo>
                  <a:lnTo>
                    <a:pt x="342" y="161"/>
                  </a:lnTo>
                  <a:lnTo>
                    <a:pt x="374" y="161"/>
                  </a:lnTo>
                  <a:lnTo>
                    <a:pt x="374" y="161"/>
                  </a:lnTo>
                  <a:lnTo>
                    <a:pt x="407" y="161"/>
                  </a:lnTo>
                  <a:lnTo>
                    <a:pt x="438" y="159"/>
                  </a:lnTo>
                  <a:lnTo>
                    <a:pt x="468" y="157"/>
                  </a:lnTo>
                  <a:lnTo>
                    <a:pt x="496" y="153"/>
                  </a:lnTo>
                  <a:lnTo>
                    <a:pt x="524" y="150"/>
                  </a:lnTo>
                  <a:lnTo>
                    <a:pt x="550" y="145"/>
                  </a:lnTo>
                  <a:lnTo>
                    <a:pt x="574" y="139"/>
                  </a:lnTo>
                  <a:lnTo>
                    <a:pt x="597" y="133"/>
                  </a:lnTo>
                  <a:lnTo>
                    <a:pt x="618" y="127"/>
                  </a:lnTo>
                  <a:lnTo>
                    <a:pt x="636" y="119"/>
                  </a:lnTo>
                  <a:lnTo>
                    <a:pt x="652" y="112"/>
                  </a:lnTo>
                  <a:lnTo>
                    <a:pt x="664" y="104"/>
                  </a:lnTo>
                  <a:lnTo>
                    <a:pt x="675" y="95"/>
                  </a:lnTo>
                  <a:lnTo>
                    <a:pt x="683" y="85"/>
                  </a:lnTo>
                  <a:lnTo>
                    <a:pt x="688" y="77"/>
                  </a:lnTo>
                  <a:lnTo>
                    <a:pt x="689" y="72"/>
                  </a:lnTo>
                  <a:lnTo>
                    <a:pt x="689" y="67"/>
                  </a:lnTo>
                  <a:lnTo>
                    <a:pt x="689" y="67"/>
                  </a:lnTo>
                  <a:lnTo>
                    <a:pt x="688" y="60"/>
                  </a:lnTo>
                  <a:lnTo>
                    <a:pt x="686" y="53"/>
                  </a:lnTo>
                  <a:lnTo>
                    <a:pt x="681" y="45"/>
                  </a:lnTo>
                  <a:lnTo>
                    <a:pt x="676" y="39"/>
                  </a:lnTo>
                  <a:lnTo>
                    <a:pt x="669" y="33"/>
                  </a:lnTo>
                  <a:lnTo>
                    <a:pt x="659" y="26"/>
                  </a:lnTo>
                  <a:lnTo>
                    <a:pt x="649" y="21"/>
                  </a:lnTo>
                  <a:lnTo>
                    <a:pt x="637" y="15"/>
                  </a:lnTo>
                  <a:lnTo>
                    <a:pt x="63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2" name="Freeform 245"/>
            <p:cNvSpPr/>
            <p:nvPr/>
          </p:nvSpPr>
          <p:spPr bwMode="auto">
            <a:xfrm>
              <a:off x="6726237" y="1389062"/>
              <a:ext cx="80963" cy="60325"/>
            </a:xfrm>
            <a:custGeom>
              <a:avLst/>
              <a:gdLst>
                <a:gd name="T0" fmla="*/ 153 w 153"/>
                <a:gd name="T1" fmla="*/ 104 h 114"/>
                <a:gd name="T2" fmla="*/ 153 w 153"/>
                <a:gd name="T3" fmla="*/ 104 h 114"/>
                <a:gd name="T4" fmla="*/ 151 w 153"/>
                <a:gd name="T5" fmla="*/ 114 h 114"/>
                <a:gd name="T6" fmla="*/ 29 w 153"/>
                <a:gd name="T7" fmla="*/ 114 h 114"/>
                <a:gd name="T8" fmla="*/ 29 w 153"/>
                <a:gd name="T9" fmla="*/ 114 h 114"/>
                <a:gd name="T10" fmla="*/ 28 w 153"/>
                <a:gd name="T11" fmla="*/ 102 h 114"/>
                <a:gd name="T12" fmla="*/ 26 w 153"/>
                <a:gd name="T13" fmla="*/ 90 h 114"/>
                <a:gd name="T14" fmla="*/ 24 w 153"/>
                <a:gd name="T15" fmla="*/ 78 h 114"/>
                <a:gd name="T16" fmla="*/ 20 w 153"/>
                <a:gd name="T17" fmla="*/ 67 h 114"/>
                <a:gd name="T18" fmla="*/ 17 w 153"/>
                <a:gd name="T19" fmla="*/ 55 h 114"/>
                <a:gd name="T20" fmla="*/ 12 w 153"/>
                <a:gd name="T21" fmla="*/ 45 h 114"/>
                <a:gd name="T22" fmla="*/ 6 w 153"/>
                <a:gd name="T23" fmla="*/ 34 h 114"/>
                <a:gd name="T24" fmla="*/ 0 w 153"/>
                <a:gd name="T25" fmla="*/ 25 h 114"/>
                <a:gd name="T26" fmla="*/ 0 w 153"/>
                <a:gd name="T27" fmla="*/ 25 h 114"/>
                <a:gd name="T28" fmla="*/ 11 w 153"/>
                <a:gd name="T29" fmla="*/ 16 h 114"/>
                <a:gd name="T30" fmla="*/ 23 w 153"/>
                <a:gd name="T31" fmla="*/ 9 h 114"/>
                <a:gd name="T32" fmla="*/ 35 w 153"/>
                <a:gd name="T33" fmla="*/ 4 h 114"/>
                <a:gd name="T34" fmla="*/ 48 w 153"/>
                <a:gd name="T35" fmla="*/ 0 h 114"/>
                <a:gd name="T36" fmla="*/ 59 w 153"/>
                <a:gd name="T37" fmla="*/ 16 h 114"/>
                <a:gd name="T38" fmla="*/ 37 w 153"/>
                <a:gd name="T39" fmla="*/ 68 h 114"/>
                <a:gd name="T40" fmla="*/ 60 w 153"/>
                <a:gd name="T41" fmla="*/ 104 h 114"/>
                <a:gd name="T42" fmla="*/ 82 w 153"/>
                <a:gd name="T43" fmla="*/ 68 h 114"/>
                <a:gd name="T44" fmla="*/ 60 w 153"/>
                <a:gd name="T45" fmla="*/ 16 h 114"/>
                <a:gd name="T46" fmla="*/ 72 w 153"/>
                <a:gd name="T47" fmla="*/ 0 h 114"/>
                <a:gd name="T48" fmla="*/ 72 w 153"/>
                <a:gd name="T49" fmla="*/ 0 h 114"/>
                <a:gd name="T50" fmla="*/ 80 w 153"/>
                <a:gd name="T51" fmla="*/ 3 h 114"/>
                <a:gd name="T52" fmla="*/ 88 w 153"/>
                <a:gd name="T53" fmla="*/ 5 h 114"/>
                <a:gd name="T54" fmla="*/ 97 w 153"/>
                <a:gd name="T55" fmla="*/ 8 h 114"/>
                <a:gd name="T56" fmla="*/ 104 w 153"/>
                <a:gd name="T57" fmla="*/ 13 h 114"/>
                <a:gd name="T58" fmla="*/ 110 w 153"/>
                <a:gd name="T59" fmla="*/ 17 h 114"/>
                <a:gd name="T60" fmla="*/ 117 w 153"/>
                <a:gd name="T61" fmla="*/ 22 h 114"/>
                <a:gd name="T62" fmla="*/ 123 w 153"/>
                <a:gd name="T63" fmla="*/ 28 h 114"/>
                <a:gd name="T64" fmla="*/ 129 w 153"/>
                <a:gd name="T65" fmla="*/ 34 h 114"/>
                <a:gd name="T66" fmla="*/ 134 w 153"/>
                <a:gd name="T67" fmla="*/ 42 h 114"/>
                <a:gd name="T68" fmla="*/ 139 w 153"/>
                <a:gd name="T69" fmla="*/ 49 h 114"/>
                <a:gd name="T70" fmla="*/ 143 w 153"/>
                <a:gd name="T71" fmla="*/ 57 h 114"/>
                <a:gd name="T72" fmla="*/ 146 w 153"/>
                <a:gd name="T73" fmla="*/ 66 h 114"/>
                <a:gd name="T74" fmla="*/ 149 w 153"/>
                <a:gd name="T75" fmla="*/ 74 h 114"/>
                <a:gd name="T76" fmla="*/ 151 w 153"/>
                <a:gd name="T77" fmla="*/ 84 h 114"/>
                <a:gd name="T78" fmla="*/ 151 w 153"/>
                <a:gd name="T79" fmla="*/ 94 h 114"/>
                <a:gd name="T80" fmla="*/ 153 w 153"/>
                <a:gd name="T81" fmla="*/ 104 h 114"/>
                <a:gd name="T82" fmla="*/ 153 w 153"/>
                <a:gd name="T83" fmla="*/ 104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3" h="114">
                  <a:moveTo>
                    <a:pt x="153" y="104"/>
                  </a:moveTo>
                  <a:lnTo>
                    <a:pt x="153" y="104"/>
                  </a:lnTo>
                  <a:lnTo>
                    <a:pt x="151" y="114"/>
                  </a:lnTo>
                  <a:lnTo>
                    <a:pt x="29" y="114"/>
                  </a:lnTo>
                  <a:lnTo>
                    <a:pt x="29" y="114"/>
                  </a:lnTo>
                  <a:lnTo>
                    <a:pt x="28" y="102"/>
                  </a:lnTo>
                  <a:lnTo>
                    <a:pt x="26" y="90"/>
                  </a:lnTo>
                  <a:lnTo>
                    <a:pt x="24" y="78"/>
                  </a:lnTo>
                  <a:lnTo>
                    <a:pt x="20" y="67"/>
                  </a:lnTo>
                  <a:lnTo>
                    <a:pt x="17" y="55"/>
                  </a:lnTo>
                  <a:lnTo>
                    <a:pt x="12" y="45"/>
                  </a:lnTo>
                  <a:lnTo>
                    <a:pt x="6" y="34"/>
                  </a:lnTo>
                  <a:lnTo>
                    <a:pt x="0" y="25"/>
                  </a:lnTo>
                  <a:lnTo>
                    <a:pt x="0" y="25"/>
                  </a:lnTo>
                  <a:lnTo>
                    <a:pt x="11" y="16"/>
                  </a:lnTo>
                  <a:lnTo>
                    <a:pt x="23" y="9"/>
                  </a:lnTo>
                  <a:lnTo>
                    <a:pt x="35" y="4"/>
                  </a:lnTo>
                  <a:lnTo>
                    <a:pt x="48" y="0"/>
                  </a:lnTo>
                  <a:lnTo>
                    <a:pt x="59" y="16"/>
                  </a:lnTo>
                  <a:lnTo>
                    <a:pt x="37" y="68"/>
                  </a:lnTo>
                  <a:lnTo>
                    <a:pt x="60" y="104"/>
                  </a:lnTo>
                  <a:lnTo>
                    <a:pt x="82" y="68"/>
                  </a:lnTo>
                  <a:lnTo>
                    <a:pt x="60" y="16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80" y="3"/>
                  </a:lnTo>
                  <a:lnTo>
                    <a:pt x="88" y="5"/>
                  </a:lnTo>
                  <a:lnTo>
                    <a:pt x="97" y="8"/>
                  </a:lnTo>
                  <a:lnTo>
                    <a:pt x="104" y="13"/>
                  </a:lnTo>
                  <a:lnTo>
                    <a:pt x="110" y="17"/>
                  </a:lnTo>
                  <a:lnTo>
                    <a:pt x="117" y="22"/>
                  </a:lnTo>
                  <a:lnTo>
                    <a:pt x="123" y="28"/>
                  </a:lnTo>
                  <a:lnTo>
                    <a:pt x="129" y="34"/>
                  </a:lnTo>
                  <a:lnTo>
                    <a:pt x="134" y="42"/>
                  </a:lnTo>
                  <a:lnTo>
                    <a:pt x="139" y="49"/>
                  </a:lnTo>
                  <a:lnTo>
                    <a:pt x="143" y="57"/>
                  </a:lnTo>
                  <a:lnTo>
                    <a:pt x="146" y="66"/>
                  </a:lnTo>
                  <a:lnTo>
                    <a:pt x="149" y="74"/>
                  </a:lnTo>
                  <a:lnTo>
                    <a:pt x="151" y="84"/>
                  </a:lnTo>
                  <a:lnTo>
                    <a:pt x="151" y="94"/>
                  </a:lnTo>
                  <a:lnTo>
                    <a:pt x="153" y="104"/>
                  </a:lnTo>
                  <a:lnTo>
                    <a:pt x="153" y="10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3" name="Freeform 246"/>
            <p:cNvSpPr>
              <a:spLocks noEditPoints="1"/>
            </p:cNvSpPr>
            <p:nvPr/>
          </p:nvSpPr>
          <p:spPr bwMode="auto">
            <a:xfrm>
              <a:off x="6727825" y="1325562"/>
              <a:ext cx="60325" cy="61912"/>
            </a:xfrm>
            <a:custGeom>
              <a:avLst/>
              <a:gdLst>
                <a:gd name="T0" fmla="*/ 112 w 115"/>
                <a:gd name="T1" fmla="*/ 37 h 117"/>
                <a:gd name="T2" fmla="*/ 115 w 115"/>
                <a:gd name="T3" fmla="*/ 59 h 117"/>
                <a:gd name="T4" fmla="*/ 115 w 115"/>
                <a:gd name="T5" fmla="*/ 69 h 117"/>
                <a:gd name="T6" fmla="*/ 112 w 115"/>
                <a:gd name="T7" fmla="*/ 80 h 117"/>
                <a:gd name="T8" fmla="*/ 98 w 115"/>
                <a:gd name="T9" fmla="*/ 100 h 117"/>
                <a:gd name="T10" fmla="*/ 90 w 115"/>
                <a:gd name="T11" fmla="*/ 106 h 117"/>
                <a:gd name="T12" fmla="*/ 80 w 115"/>
                <a:gd name="T13" fmla="*/ 112 h 117"/>
                <a:gd name="T14" fmla="*/ 58 w 115"/>
                <a:gd name="T15" fmla="*/ 117 h 117"/>
                <a:gd name="T16" fmla="*/ 46 w 115"/>
                <a:gd name="T17" fmla="*/ 116 h 117"/>
                <a:gd name="T18" fmla="*/ 35 w 115"/>
                <a:gd name="T19" fmla="*/ 112 h 117"/>
                <a:gd name="T20" fmla="*/ 17 w 115"/>
                <a:gd name="T21" fmla="*/ 100 h 117"/>
                <a:gd name="T22" fmla="*/ 10 w 115"/>
                <a:gd name="T23" fmla="*/ 90 h 117"/>
                <a:gd name="T24" fmla="*/ 5 w 115"/>
                <a:gd name="T25" fmla="*/ 80 h 117"/>
                <a:gd name="T26" fmla="*/ 0 w 115"/>
                <a:gd name="T27" fmla="*/ 59 h 117"/>
                <a:gd name="T28" fmla="*/ 1 w 115"/>
                <a:gd name="T29" fmla="*/ 48 h 117"/>
                <a:gd name="T30" fmla="*/ 5 w 115"/>
                <a:gd name="T31" fmla="*/ 37 h 117"/>
                <a:gd name="T32" fmla="*/ 17 w 115"/>
                <a:gd name="T33" fmla="*/ 17 h 117"/>
                <a:gd name="T34" fmla="*/ 26 w 115"/>
                <a:gd name="T35" fmla="*/ 10 h 117"/>
                <a:gd name="T36" fmla="*/ 35 w 115"/>
                <a:gd name="T37" fmla="*/ 5 h 117"/>
                <a:gd name="T38" fmla="*/ 58 w 115"/>
                <a:gd name="T39" fmla="*/ 0 h 117"/>
                <a:gd name="T40" fmla="*/ 69 w 115"/>
                <a:gd name="T41" fmla="*/ 1 h 117"/>
                <a:gd name="T42" fmla="*/ 80 w 115"/>
                <a:gd name="T43" fmla="*/ 5 h 117"/>
                <a:gd name="T44" fmla="*/ 98 w 115"/>
                <a:gd name="T45" fmla="*/ 17 h 117"/>
                <a:gd name="T46" fmla="*/ 106 w 115"/>
                <a:gd name="T47" fmla="*/ 26 h 117"/>
                <a:gd name="T48" fmla="*/ 112 w 115"/>
                <a:gd name="T49" fmla="*/ 37 h 117"/>
                <a:gd name="T50" fmla="*/ 107 w 115"/>
                <a:gd name="T51" fmla="*/ 59 h 117"/>
                <a:gd name="T52" fmla="*/ 102 w 115"/>
                <a:gd name="T53" fmla="*/ 40 h 117"/>
                <a:gd name="T54" fmla="*/ 98 w 115"/>
                <a:gd name="T55" fmla="*/ 32 h 117"/>
                <a:gd name="T56" fmla="*/ 92 w 115"/>
                <a:gd name="T57" fmla="*/ 25 h 117"/>
                <a:gd name="T58" fmla="*/ 77 w 115"/>
                <a:gd name="T59" fmla="*/ 14 h 117"/>
                <a:gd name="T60" fmla="*/ 68 w 115"/>
                <a:gd name="T61" fmla="*/ 11 h 117"/>
                <a:gd name="T62" fmla="*/ 58 w 115"/>
                <a:gd name="T63" fmla="*/ 10 h 117"/>
                <a:gd name="T64" fmla="*/ 40 w 115"/>
                <a:gd name="T65" fmla="*/ 14 h 117"/>
                <a:gd name="T66" fmla="*/ 32 w 115"/>
                <a:gd name="T67" fmla="*/ 18 h 117"/>
                <a:gd name="T68" fmla="*/ 24 w 115"/>
                <a:gd name="T69" fmla="*/ 25 h 117"/>
                <a:gd name="T70" fmla="*/ 13 w 115"/>
                <a:gd name="T71" fmla="*/ 40 h 117"/>
                <a:gd name="T72" fmla="*/ 11 w 115"/>
                <a:gd name="T73" fmla="*/ 49 h 117"/>
                <a:gd name="T74" fmla="*/ 10 w 115"/>
                <a:gd name="T75" fmla="*/ 59 h 117"/>
                <a:gd name="T76" fmla="*/ 13 w 115"/>
                <a:gd name="T77" fmla="*/ 77 h 117"/>
                <a:gd name="T78" fmla="*/ 18 w 115"/>
                <a:gd name="T79" fmla="*/ 85 h 117"/>
                <a:gd name="T80" fmla="*/ 24 w 115"/>
                <a:gd name="T81" fmla="*/ 92 h 117"/>
                <a:gd name="T82" fmla="*/ 40 w 115"/>
                <a:gd name="T83" fmla="*/ 103 h 117"/>
                <a:gd name="T84" fmla="*/ 49 w 115"/>
                <a:gd name="T85" fmla="*/ 106 h 117"/>
                <a:gd name="T86" fmla="*/ 58 w 115"/>
                <a:gd name="T87" fmla="*/ 107 h 117"/>
                <a:gd name="T88" fmla="*/ 77 w 115"/>
                <a:gd name="T89" fmla="*/ 103 h 117"/>
                <a:gd name="T90" fmla="*/ 85 w 115"/>
                <a:gd name="T91" fmla="*/ 99 h 117"/>
                <a:gd name="T92" fmla="*/ 92 w 115"/>
                <a:gd name="T93" fmla="*/ 92 h 117"/>
                <a:gd name="T94" fmla="*/ 102 w 115"/>
                <a:gd name="T95" fmla="*/ 77 h 117"/>
                <a:gd name="T96" fmla="*/ 106 w 115"/>
                <a:gd name="T97" fmla="*/ 68 h 117"/>
                <a:gd name="T98" fmla="*/ 107 w 115"/>
                <a:gd name="T99" fmla="*/ 59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5" h="117">
                  <a:moveTo>
                    <a:pt x="112" y="37"/>
                  </a:moveTo>
                  <a:lnTo>
                    <a:pt x="112" y="37"/>
                  </a:lnTo>
                  <a:lnTo>
                    <a:pt x="115" y="48"/>
                  </a:lnTo>
                  <a:lnTo>
                    <a:pt x="115" y="59"/>
                  </a:lnTo>
                  <a:lnTo>
                    <a:pt x="115" y="59"/>
                  </a:lnTo>
                  <a:lnTo>
                    <a:pt x="115" y="69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6" y="90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90" y="106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69" y="116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46" y="116"/>
                  </a:lnTo>
                  <a:lnTo>
                    <a:pt x="35" y="112"/>
                  </a:lnTo>
                  <a:lnTo>
                    <a:pt x="35" y="112"/>
                  </a:lnTo>
                  <a:lnTo>
                    <a:pt x="26" y="106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0" y="90"/>
                  </a:lnTo>
                  <a:lnTo>
                    <a:pt x="5" y="80"/>
                  </a:lnTo>
                  <a:lnTo>
                    <a:pt x="5" y="80"/>
                  </a:lnTo>
                  <a:lnTo>
                    <a:pt x="1" y="69"/>
                  </a:lnTo>
                  <a:lnTo>
                    <a:pt x="0" y="59"/>
                  </a:lnTo>
                  <a:lnTo>
                    <a:pt x="0" y="59"/>
                  </a:lnTo>
                  <a:lnTo>
                    <a:pt x="1" y="48"/>
                  </a:lnTo>
                  <a:lnTo>
                    <a:pt x="5" y="37"/>
                  </a:lnTo>
                  <a:lnTo>
                    <a:pt x="5" y="37"/>
                  </a:lnTo>
                  <a:lnTo>
                    <a:pt x="10" y="26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6" y="10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90" y="10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106" y="26"/>
                  </a:lnTo>
                  <a:lnTo>
                    <a:pt x="112" y="37"/>
                  </a:lnTo>
                  <a:lnTo>
                    <a:pt x="112" y="37"/>
                  </a:lnTo>
                  <a:close/>
                  <a:moveTo>
                    <a:pt x="107" y="59"/>
                  </a:moveTo>
                  <a:lnTo>
                    <a:pt x="107" y="59"/>
                  </a:lnTo>
                  <a:lnTo>
                    <a:pt x="106" y="49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98" y="32"/>
                  </a:lnTo>
                  <a:lnTo>
                    <a:pt x="92" y="25"/>
                  </a:lnTo>
                  <a:lnTo>
                    <a:pt x="92" y="25"/>
                  </a:lnTo>
                  <a:lnTo>
                    <a:pt x="85" y="18"/>
                  </a:lnTo>
                  <a:lnTo>
                    <a:pt x="77" y="14"/>
                  </a:lnTo>
                  <a:lnTo>
                    <a:pt x="77" y="14"/>
                  </a:lnTo>
                  <a:lnTo>
                    <a:pt x="68" y="11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49" y="11"/>
                  </a:lnTo>
                  <a:lnTo>
                    <a:pt x="40" y="14"/>
                  </a:lnTo>
                  <a:lnTo>
                    <a:pt x="40" y="14"/>
                  </a:lnTo>
                  <a:lnTo>
                    <a:pt x="32" y="18"/>
                  </a:lnTo>
                  <a:lnTo>
                    <a:pt x="24" y="25"/>
                  </a:lnTo>
                  <a:lnTo>
                    <a:pt x="24" y="25"/>
                  </a:lnTo>
                  <a:lnTo>
                    <a:pt x="18" y="32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49"/>
                  </a:lnTo>
                  <a:lnTo>
                    <a:pt x="10" y="59"/>
                  </a:lnTo>
                  <a:lnTo>
                    <a:pt x="10" y="59"/>
                  </a:lnTo>
                  <a:lnTo>
                    <a:pt x="11" y="68"/>
                  </a:lnTo>
                  <a:lnTo>
                    <a:pt x="13" y="77"/>
                  </a:lnTo>
                  <a:lnTo>
                    <a:pt x="13" y="77"/>
                  </a:lnTo>
                  <a:lnTo>
                    <a:pt x="18" y="85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32" y="99"/>
                  </a:lnTo>
                  <a:lnTo>
                    <a:pt x="40" y="103"/>
                  </a:lnTo>
                  <a:lnTo>
                    <a:pt x="40" y="103"/>
                  </a:lnTo>
                  <a:lnTo>
                    <a:pt x="49" y="106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68" y="106"/>
                  </a:lnTo>
                  <a:lnTo>
                    <a:pt x="77" y="103"/>
                  </a:lnTo>
                  <a:lnTo>
                    <a:pt x="77" y="103"/>
                  </a:lnTo>
                  <a:lnTo>
                    <a:pt x="85" y="99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8" y="85"/>
                  </a:lnTo>
                  <a:lnTo>
                    <a:pt x="102" y="77"/>
                  </a:lnTo>
                  <a:lnTo>
                    <a:pt x="102" y="77"/>
                  </a:lnTo>
                  <a:lnTo>
                    <a:pt x="106" y="68"/>
                  </a:lnTo>
                  <a:lnTo>
                    <a:pt x="107" y="59"/>
                  </a:lnTo>
                  <a:lnTo>
                    <a:pt x="107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4" name="Freeform 247"/>
            <p:cNvSpPr/>
            <p:nvPr/>
          </p:nvSpPr>
          <p:spPr bwMode="auto">
            <a:xfrm>
              <a:off x="6610350" y="1377950"/>
              <a:ext cx="125413" cy="77787"/>
            </a:xfrm>
            <a:custGeom>
              <a:avLst/>
              <a:gdLst>
                <a:gd name="T0" fmla="*/ 236 w 236"/>
                <a:gd name="T1" fmla="*/ 130 h 146"/>
                <a:gd name="T2" fmla="*/ 236 w 236"/>
                <a:gd name="T3" fmla="*/ 130 h 146"/>
                <a:gd name="T4" fmla="*/ 235 w 236"/>
                <a:gd name="T5" fmla="*/ 146 h 146"/>
                <a:gd name="T6" fmla="*/ 2 w 236"/>
                <a:gd name="T7" fmla="*/ 146 h 146"/>
                <a:gd name="T8" fmla="*/ 2 w 236"/>
                <a:gd name="T9" fmla="*/ 146 h 146"/>
                <a:gd name="T10" fmla="*/ 0 w 236"/>
                <a:gd name="T11" fmla="*/ 130 h 146"/>
                <a:gd name="T12" fmla="*/ 0 w 236"/>
                <a:gd name="T13" fmla="*/ 130 h 146"/>
                <a:gd name="T14" fmla="*/ 0 w 236"/>
                <a:gd name="T15" fmla="*/ 118 h 146"/>
                <a:gd name="T16" fmla="*/ 3 w 236"/>
                <a:gd name="T17" fmla="*/ 106 h 146"/>
                <a:gd name="T18" fmla="*/ 5 w 236"/>
                <a:gd name="T19" fmla="*/ 95 h 146"/>
                <a:gd name="T20" fmla="*/ 8 w 236"/>
                <a:gd name="T21" fmla="*/ 82 h 146"/>
                <a:gd name="T22" fmla="*/ 13 w 236"/>
                <a:gd name="T23" fmla="*/ 72 h 146"/>
                <a:gd name="T24" fmla="*/ 17 w 236"/>
                <a:gd name="T25" fmla="*/ 62 h 146"/>
                <a:gd name="T26" fmla="*/ 24 w 236"/>
                <a:gd name="T27" fmla="*/ 52 h 146"/>
                <a:gd name="T28" fmla="*/ 30 w 236"/>
                <a:gd name="T29" fmla="*/ 42 h 146"/>
                <a:gd name="T30" fmla="*/ 37 w 236"/>
                <a:gd name="T31" fmla="*/ 35 h 146"/>
                <a:gd name="T32" fmla="*/ 45 w 236"/>
                <a:gd name="T33" fmla="*/ 27 h 146"/>
                <a:gd name="T34" fmla="*/ 54 w 236"/>
                <a:gd name="T35" fmla="*/ 21 h 146"/>
                <a:gd name="T36" fmla="*/ 62 w 236"/>
                <a:gd name="T37" fmla="*/ 15 h 146"/>
                <a:gd name="T38" fmla="*/ 72 w 236"/>
                <a:gd name="T39" fmla="*/ 8 h 146"/>
                <a:gd name="T40" fmla="*/ 82 w 236"/>
                <a:gd name="T41" fmla="*/ 5 h 146"/>
                <a:gd name="T42" fmla="*/ 93 w 236"/>
                <a:gd name="T43" fmla="*/ 1 h 146"/>
                <a:gd name="T44" fmla="*/ 102 w 236"/>
                <a:gd name="T45" fmla="*/ 0 h 146"/>
                <a:gd name="T46" fmla="*/ 117 w 236"/>
                <a:gd name="T47" fmla="*/ 19 h 146"/>
                <a:gd name="T48" fmla="*/ 89 w 236"/>
                <a:gd name="T49" fmla="*/ 86 h 146"/>
                <a:gd name="T50" fmla="*/ 118 w 236"/>
                <a:gd name="T51" fmla="*/ 131 h 146"/>
                <a:gd name="T52" fmla="*/ 147 w 236"/>
                <a:gd name="T53" fmla="*/ 86 h 146"/>
                <a:gd name="T54" fmla="*/ 119 w 236"/>
                <a:gd name="T55" fmla="*/ 19 h 146"/>
                <a:gd name="T56" fmla="*/ 133 w 236"/>
                <a:gd name="T57" fmla="*/ 0 h 146"/>
                <a:gd name="T58" fmla="*/ 133 w 236"/>
                <a:gd name="T59" fmla="*/ 0 h 146"/>
                <a:gd name="T60" fmla="*/ 144 w 236"/>
                <a:gd name="T61" fmla="*/ 1 h 146"/>
                <a:gd name="T62" fmla="*/ 155 w 236"/>
                <a:gd name="T63" fmla="*/ 5 h 146"/>
                <a:gd name="T64" fmla="*/ 164 w 236"/>
                <a:gd name="T65" fmla="*/ 10 h 146"/>
                <a:gd name="T66" fmla="*/ 174 w 236"/>
                <a:gd name="T67" fmla="*/ 15 h 146"/>
                <a:gd name="T68" fmla="*/ 182 w 236"/>
                <a:gd name="T69" fmla="*/ 21 h 146"/>
                <a:gd name="T70" fmla="*/ 191 w 236"/>
                <a:gd name="T71" fmla="*/ 27 h 146"/>
                <a:gd name="T72" fmla="*/ 198 w 236"/>
                <a:gd name="T73" fmla="*/ 35 h 146"/>
                <a:gd name="T74" fmla="*/ 206 w 236"/>
                <a:gd name="T75" fmla="*/ 42 h 146"/>
                <a:gd name="T76" fmla="*/ 213 w 236"/>
                <a:gd name="T77" fmla="*/ 52 h 146"/>
                <a:gd name="T78" fmla="*/ 219 w 236"/>
                <a:gd name="T79" fmla="*/ 62 h 146"/>
                <a:gd name="T80" fmla="*/ 224 w 236"/>
                <a:gd name="T81" fmla="*/ 72 h 146"/>
                <a:gd name="T82" fmla="*/ 227 w 236"/>
                <a:gd name="T83" fmla="*/ 82 h 146"/>
                <a:gd name="T84" fmla="*/ 231 w 236"/>
                <a:gd name="T85" fmla="*/ 95 h 146"/>
                <a:gd name="T86" fmla="*/ 233 w 236"/>
                <a:gd name="T87" fmla="*/ 106 h 146"/>
                <a:gd name="T88" fmla="*/ 235 w 236"/>
                <a:gd name="T89" fmla="*/ 118 h 146"/>
                <a:gd name="T90" fmla="*/ 236 w 236"/>
                <a:gd name="T91" fmla="*/ 130 h 146"/>
                <a:gd name="T92" fmla="*/ 236 w 236"/>
                <a:gd name="T93" fmla="*/ 13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236" h="146">
                  <a:moveTo>
                    <a:pt x="236" y="130"/>
                  </a:moveTo>
                  <a:lnTo>
                    <a:pt x="236" y="130"/>
                  </a:lnTo>
                  <a:lnTo>
                    <a:pt x="235" y="146"/>
                  </a:lnTo>
                  <a:lnTo>
                    <a:pt x="2" y="146"/>
                  </a:lnTo>
                  <a:lnTo>
                    <a:pt x="2" y="146"/>
                  </a:lnTo>
                  <a:lnTo>
                    <a:pt x="0" y="130"/>
                  </a:lnTo>
                  <a:lnTo>
                    <a:pt x="0" y="130"/>
                  </a:lnTo>
                  <a:lnTo>
                    <a:pt x="0" y="118"/>
                  </a:lnTo>
                  <a:lnTo>
                    <a:pt x="3" y="106"/>
                  </a:lnTo>
                  <a:lnTo>
                    <a:pt x="5" y="95"/>
                  </a:lnTo>
                  <a:lnTo>
                    <a:pt x="8" y="82"/>
                  </a:lnTo>
                  <a:lnTo>
                    <a:pt x="13" y="72"/>
                  </a:lnTo>
                  <a:lnTo>
                    <a:pt x="17" y="62"/>
                  </a:lnTo>
                  <a:lnTo>
                    <a:pt x="24" y="52"/>
                  </a:lnTo>
                  <a:lnTo>
                    <a:pt x="30" y="42"/>
                  </a:lnTo>
                  <a:lnTo>
                    <a:pt x="37" y="35"/>
                  </a:lnTo>
                  <a:lnTo>
                    <a:pt x="45" y="27"/>
                  </a:lnTo>
                  <a:lnTo>
                    <a:pt x="54" y="21"/>
                  </a:lnTo>
                  <a:lnTo>
                    <a:pt x="62" y="15"/>
                  </a:lnTo>
                  <a:lnTo>
                    <a:pt x="72" y="8"/>
                  </a:lnTo>
                  <a:lnTo>
                    <a:pt x="82" y="5"/>
                  </a:lnTo>
                  <a:lnTo>
                    <a:pt x="93" y="1"/>
                  </a:lnTo>
                  <a:lnTo>
                    <a:pt x="102" y="0"/>
                  </a:lnTo>
                  <a:lnTo>
                    <a:pt x="117" y="19"/>
                  </a:lnTo>
                  <a:lnTo>
                    <a:pt x="89" y="86"/>
                  </a:lnTo>
                  <a:lnTo>
                    <a:pt x="118" y="131"/>
                  </a:lnTo>
                  <a:lnTo>
                    <a:pt x="147" y="86"/>
                  </a:lnTo>
                  <a:lnTo>
                    <a:pt x="119" y="19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44" y="1"/>
                  </a:lnTo>
                  <a:lnTo>
                    <a:pt x="155" y="5"/>
                  </a:lnTo>
                  <a:lnTo>
                    <a:pt x="164" y="10"/>
                  </a:lnTo>
                  <a:lnTo>
                    <a:pt x="174" y="15"/>
                  </a:lnTo>
                  <a:lnTo>
                    <a:pt x="182" y="21"/>
                  </a:lnTo>
                  <a:lnTo>
                    <a:pt x="191" y="27"/>
                  </a:lnTo>
                  <a:lnTo>
                    <a:pt x="198" y="35"/>
                  </a:lnTo>
                  <a:lnTo>
                    <a:pt x="206" y="42"/>
                  </a:lnTo>
                  <a:lnTo>
                    <a:pt x="213" y="52"/>
                  </a:lnTo>
                  <a:lnTo>
                    <a:pt x="219" y="62"/>
                  </a:lnTo>
                  <a:lnTo>
                    <a:pt x="224" y="72"/>
                  </a:lnTo>
                  <a:lnTo>
                    <a:pt x="227" y="82"/>
                  </a:lnTo>
                  <a:lnTo>
                    <a:pt x="231" y="95"/>
                  </a:lnTo>
                  <a:lnTo>
                    <a:pt x="233" y="106"/>
                  </a:lnTo>
                  <a:lnTo>
                    <a:pt x="235" y="118"/>
                  </a:lnTo>
                  <a:lnTo>
                    <a:pt x="236" y="130"/>
                  </a:lnTo>
                  <a:lnTo>
                    <a:pt x="236" y="1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5" name="Freeform 248"/>
            <p:cNvSpPr>
              <a:spLocks noEditPoints="1"/>
            </p:cNvSpPr>
            <p:nvPr/>
          </p:nvSpPr>
          <p:spPr bwMode="auto">
            <a:xfrm>
              <a:off x="6634162" y="1296987"/>
              <a:ext cx="77788" cy="77787"/>
            </a:xfrm>
            <a:custGeom>
              <a:avLst/>
              <a:gdLst>
                <a:gd name="T0" fmla="*/ 142 w 148"/>
                <a:gd name="T1" fmla="*/ 46 h 148"/>
                <a:gd name="T2" fmla="*/ 148 w 148"/>
                <a:gd name="T3" fmla="*/ 74 h 148"/>
                <a:gd name="T4" fmla="*/ 146 w 148"/>
                <a:gd name="T5" fmla="*/ 88 h 148"/>
                <a:gd name="T6" fmla="*/ 142 w 148"/>
                <a:gd name="T7" fmla="*/ 102 h 148"/>
                <a:gd name="T8" fmla="*/ 135 w 148"/>
                <a:gd name="T9" fmla="*/ 115 h 148"/>
                <a:gd name="T10" fmla="*/ 126 w 148"/>
                <a:gd name="T11" fmla="*/ 126 h 148"/>
                <a:gd name="T12" fmla="*/ 102 w 148"/>
                <a:gd name="T13" fmla="*/ 142 h 148"/>
                <a:gd name="T14" fmla="*/ 95 w 148"/>
                <a:gd name="T15" fmla="*/ 144 h 148"/>
                <a:gd name="T16" fmla="*/ 74 w 148"/>
                <a:gd name="T17" fmla="*/ 148 h 148"/>
                <a:gd name="T18" fmla="*/ 60 w 148"/>
                <a:gd name="T19" fmla="*/ 147 h 148"/>
                <a:gd name="T20" fmla="*/ 46 w 148"/>
                <a:gd name="T21" fmla="*/ 142 h 148"/>
                <a:gd name="T22" fmla="*/ 33 w 148"/>
                <a:gd name="T23" fmla="*/ 136 h 148"/>
                <a:gd name="T24" fmla="*/ 22 w 148"/>
                <a:gd name="T25" fmla="*/ 126 h 148"/>
                <a:gd name="T26" fmla="*/ 6 w 148"/>
                <a:gd name="T27" fmla="*/ 102 h 148"/>
                <a:gd name="T28" fmla="*/ 4 w 148"/>
                <a:gd name="T29" fmla="*/ 96 h 148"/>
                <a:gd name="T30" fmla="*/ 0 w 148"/>
                <a:gd name="T31" fmla="*/ 74 h 148"/>
                <a:gd name="T32" fmla="*/ 1 w 148"/>
                <a:gd name="T33" fmla="*/ 59 h 148"/>
                <a:gd name="T34" fmla="*/ 6 w 148"/>
                <a:gd name="T35" fmla="*/ 46 h 148"/>
                <a:gd name="T36" fmla="*/ 22 w 148"/>
                <a:gd name="T37" fmla="*/ 22 h 148"/>
                <a:gd name="T38" fmla="*/ 33 w 148"/>
                <a:gd name="T39" fmla="*/ 13 h 148"/>
                <a:gd name="T40" fmla="*/ 46 w 148"/>
                <a:gd name="T41" fmla="*/ 6 h 148"/>
                <a:gd name="T42" fmla="*/ 60 w 148"/>
                <a:gd name="T43" fmla="*/ 2 h 148"/>
                <a:gd name="T44" fmla="*/ 74 w 148"/>
                <a:gd name="T45" fmla="*/ 0 h 148"/>
                <a:gd name="T46" fmla="*/ 102 w 148"/>
                <a:gd name="T47" fmla="*/ 6 h 148"/>
                <a:gd name="T48" fmla="*/ 115 w 148"/>
                <a:gd name="T49" fmla="*/ 13 h 148"/>
                <a:gd name="T50" fmla="*/ 126 w 148"/>
                <a:gd name="T51" fmla="*/ 22 h 148"/>
                <a:gd name="T52" fmla="*/ 142 w 148"/>
                <a:gd name="T53" fmla="*/ 46 h 148"/>
                <a:gd name="T54" fmla="*/ 135 w 148"/>
                <a:gd name="T55" fmla="*/ 74 h 148"/>
                <a:gd name="T56" fmla="*/ 135 w 148"/>
                <a:gd name="T57" fmla="*/ 62 h 148"/>
                <a:gd name="T58" fmla="*/ 131 w 148"/>
                <a:gd name="T59" fmla="*/ 51 h 148"/>
                <a:gd name="T60" fmla="*/ 118 w 148"/>
                <a:gd name="T61" fmla="*/ 30 h 148"/>
                <a:gd name="T62" fmla="*/ 108 w 148"/>
                <a:gd name="T63" fmla="*/ 23 h 148"/>
                <a:gd name="T64" fmla="*/ 97 w 148"/>
                <a:gd name="T65" fmla="*/ 17 h 148"/>
                <a:gd name="T66" fmla="*/ 74 w 148"/>
                <a:gd name="T67" fmla="*/ 12 h 148"/>
                <a:gd name="T68" fmla="*/ 62 w 148"/>
                <a:gd name="T69" fmla="*/ 13 h 148"/>
                <a:gd name="T70" fmla="*/ 50 w 148"/>
                <a:gd name="T71" fmla="*/ 17 h 148"/>
                <a:gd name="T72" fmla="*/ 30 w 148"/>
                <a:gd name="T73" fmla="*/ 30 h 148"/>
                <a:gd name="T74" fmla="*/ 23 w 148"/>
                <a:gd name="T75" fmla="*/ 40 h 148"/>
                <a:gd name="T76" fmla="*/ 17 w 148"/>
                <a:gd name="T77" fmla="*/ 51 h 148"/>
                <a:gd name="T78" fmla="*/ 12 w 148"/>
                <a:gd name="T79" fmla="*/ 74 h 148"/>
                <a:gd name="T80" fmla="*/ 14 w 148"/>
                <a:gd name="T81" fmla="*/ 86 h 148"/>
                <a:gd name="T82" fmla="*/ 17 w 148"/>
                <a:gd name="T83" fmla="*/ 98 h 148"/>
                <a:gd name="T84" fmla="*/ 30 w 148"/>
                <a:gd name="T85" fmla="*/ 118 h 148"/>
                <a:gd name="T86" fmla="*/ 40 w 148"/>
                <a:gd name="T87" fmla="*/ 125 h 148"/>
                <a:gd name="T88" fmla="*/ 50 w 148"/>
                <a:gd name="T89" fmla="*/ 131 h 148"/>
                <a:gd name="T90" fmla="*/ 74 w 148"/>
                <a:gd name="T91" fmla="*/ 136 h 148"/>
                <a:gd name="T92" fmla="*/ 86 w 148"/>
                <a:gd name="T93" fmla="*/ 135 h 148"/>
                <a:gd name="T94" fmla="*/ 97 w 148"/>
                <a:gd name="T95" fmla="*/ 131 h 148"/>
                <a:gd name="T96" fmla="*/ 118 w 148"/>
                <a:gd name="T97" fmla="*/ 118 h 148"/>
                <a:gd name="T98" fmla="*/ 125 w 148"/>
                <a:gd name="T99" fmla="*/ 108 h 148"/>
                <a:gd name="T100" fmla="*/ 131 w 148"/>
                <a:gd name="T101" fmla="*/ 98 h 148"/>
                <a:gd name="T102" fmla="*/ 135 w 148"/>
                <a:gd name="T103" fmla="*/ 74 h 1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8" h="148">
                  <a:moveTo>
                    <a:pt x="142" y="46"/>
                  </a:moveTo>
                  <a:lnTo>
                    <a:pt x="142" y="46"/>
                  </a:lnTo>
                  <a:lnTo>
                    <a:pt x="146" y="59"/>
                  </a:lnTo>
                  <a:lnTo>
                    <a:pt x="148" y="74"/>
                  </a:lnTo>
                  <a:lnTo>
                    <a:pt x="148" y="74"/>
                  </a:lnTo>
                  <a:lnTo>
                    <a:pt x="146" y="88"/>
                  </a:lnTo>
                  <a:lnTo>
                    <a:pt x="145" y="96"/>
                  </a:lnTo>
                  <a:lnTo>
                    <a:pt x="142" y="102"/>
                  </a:lnTo>
                  <a:lnTo>
                    <a:pt x="142" y="102"/>
                  </a:lnTo>
                  <a:lnTo>
                    <a:pt x="135" y="115"/>
                  </a:lnTo>
                  <a:lnTo>
                    <a:pt x="126" y="126"/>
                  </a:lnTo>
                  <a:lnTo>
                    <a:pt x="126" y="126"/>
                  </a:lnTo>
                  <a:lnTo>
                    <a:pt x="115" y="136"/>
                  </a:lnTo>
                  <a:lnTo>
                    <a:pt x="102" y="142"/>
                  </a:lnTo>
                  <a:lnTo>
                    <a:pt x="102" y="142"/>
                  </a:lnTo>
                  <a:lnTo>
                    <a:pt x="95" y="144"/>
                  </a:lnTo>
                  <a:lnTo>
                    <a:pt x="89" y="147"/>
                  </a:lnTo>
                  <a:lnTo>
                    <a:pt x="74" y="148"/>
                  </a:lnTo>
                  <a:lnTo>
                    <a:pt x="74" y="148"/>
                  </a:lnTo>
                  <a:lnTo>
                    <a:pt x="60" y="147"/>
                  </a:lnTo>
                  <a:lnTo>
                    <a:pt x="52" y="144"/>
                  </a:lnTo>
                  <a:lnTo>
                    <a:pt x="46" y="142"/>
                  </a:lnTo>
                  <a:lnTo>
                    <a:pt x="46" y="142"/>
                  </a:lnTo>
                  <a:lnTo>
                    <a:pt x="33" y="136"/>
                  </a:lnTo>
                  <a:lnTo>
                    <a:pt x="22" y="126"/>
                  </a:lnTo>
                  <a:lnTo>
                    <a:pt x="22" y="126"/>
                  </a:lnTo>
                  <a:lnTo>
                    <a:pt x="12" y="115"/>
                  </a:lnTo>
                  <a:lnTo>
                    <a:pt x="6" y="102"/>
                  </a:lnTo>
                  <a:lnTo>
                    <a:pt x="6" y="102"/>
                  </a:lnTo>
                  <a:lnTo>
                    <a:pt x="4" y="96"/>
                  </a:lnTo>
                  <a:lnTo>
                    <a:pt x="1" y="88"/>
                  </a:lnTo>
                  <a:lnTo>
                    <a:pt x="0" y="74"/>
                  </a:lnTo>
                  <a:lnTo>
                    <a:pt x="0" y="74"/>
                  </a:lnTo>
                  <a:lnTo>
                    <a:pt x="1" y="59"/>
                  </a:lnTo>
                  <a:lnTo>
                    <a:pt x="6" y="46"/>
                  </a:lnTo>
                  <a:lnTo>
                    <a:pt x="6" y="46"/>
                  </a:lnTo>
                  <a:lnTo>
                    <a:pt x="12" y="33"/>
                  </a:lnTo>
                  <a:lnTo>
                    <a:pt x="22" y="22"/>
                  </a:lnTo>
                  <a:lnTo>
                    <a:pt x="22" y="22"/>
                  </a:lnTo>
                  <a:lnTo>
                    <a:pt x="33" y="13"/>
                  </a:lnTo>
                  <a:lnTo>
                    <a:pt x="46" y="6"/>
                  </a:lnTo>
                  <a:lnTo>
                    <a:pt x="46" y="6"/>
                  </a:lnTo>
                  <a:lnTo>
                    <a:pt x="52" y="4"/>
                  </a:lnTo>
                  <a:lnTo>
                    <a:pt x="60" y="2"/>
                  </a:lnTo>
                  <a:lnTo>
                    <a:pt x="74" y="0"/>
                  </a:lnTo>
                  <a:lnTo>
                    <a:pt x="74" y="0"/>
                  </a:lnTo>
                  <a:lnTo>
                    <a:pt x="89" y="2"/>
                  </a:lnTo>
                  <a:lnTo>
                    <a:pt x="102" y="6"/>
                  </a:lnTo>
                  <a:lnTo>
                    <a:pt x="102" y="6"/>
                  </a:lnTo>
                  <a:lnTo>
                    <a:pt x="115" y="13"/>
                  </a:lnTo>
                  <a:lnTo>
                    <a:pt x="126" y="22"/>
                  </a:lnTo>
                  <a:lnTo>
                    <a:pt x="126" y="22"/>
                  </a:lnTo>
                  <a:lnTo>
                    <a:pt x="135" y="33"/>
                  </a:lnTo>
                  <a:lnTo>
                    <a:pt x="142" y="46"/>
                  </a:lnTo>
                  <a:lnTo>
                    <a:pt x="142" y="46"/>
                  </a:lnTo>
                  <a:close/>
                  <a:moveTo>
                    <a:pt x="135" y="74"/>
                  </a:moveTo>
                  <a:lnTo>
                    <a:pt x="135" y="74"/>
                  </a:lnTo>
                  <a:lnTo>
                    <a:pt x="135" y="62"/>
                  </a:lnTo>
                  <a:lnTo>
                    <a:pt x="131" y="51"/>
                  </a:lnTo>
                  <a:lnTo>
                    <a:pt x="131" y="51"/>
                  </a:lnTo>
                  <a:lnTo>
                    <a:pt x="125" y="40"/>
                  </a:lnTo>
                  <a:lnTo>
                    <a:pt x="118" y="30"/>
                  </a:lnTo>
                  <a:lnTo>
                    <a:pt x="118" y="30"/>
                  </a:lnTo>
                  <a:lnTo>
                    <a:pt x="108" y="23"/>
                  </a:lnTo>
                  <a:lnTo>
                    <a:pt x="97" y="17"/>
                  </a:lnTo>
                  <a:lnTo>
                    <a:pt x="97" y="17"/>
                  </a:lnTo>
                  <a:lnTo>
                    <a:pt x="86" y="13"/>
                  </a:lnTo>
                  <a:lnTo>
                    <a:pt x="74" y="12"/>
                  </a:lnTo>
                  <a:lnTo>
                    <a:pt x="74" y="12"/>
                  </a:lnTo>
                  <a:lnTo>
                    <a:pt x="62" y="13"/>
                  </a:lnTo>
                  <a:lnTo>
                    <a:pt x="50" y="17"/>
                  </a:lnTo>
                  <a:lnTo>
                    <a:pt x="50" y="17"/>
                  </a:lnTo>
                  <a:lnTo>
                    <a:pt x="40" y="23"/>
                  </a:lnTo>
                  <a:lnTo>
                    <a:pt x="30" y="30"/>
                  </a:lnTo>
                  <a:lnTo>
                    <a:pt x="30" y="30"/>
                  </a:lnTo>
                  <a:lnTo>
                    <a:pt x="23" y="40"/>
                  </a:lnTo>
                  <a:lnTo>
                    <a:pt x="17" y="51"/>
                  </a:lnTo>
                  <a:lnTo>
                    <a:pt x="17" y="51"/>
                  </a:lnTo>
                  <a:lnTo>
                    <a:pt x="14" y="62"/>
                  </a:lnTo>
                  <a:lnTo>
                    <a:pt x="12" y="74"/>
                  </a:lnTo>
                  <a:lnTo>
                    <a:pt x="12" y="74"/>
                  </a:lnTo>
                  <a:lnTo>
                    <a:pt x="14" y="86"/>
                  </a:lnTo>
                  <a:lnTo>
                    <a:pt x="17" y="98"/>
                  </a:lnTo>
                  <a:lnTo>
                    <a:pt x="17" y="98"/>
                  </a:lnTo>
                  <a:lnTo>
                    <a:pt x="23" y="108"/>
                  </a:lnTo>
                  <a:lnTo>
                    <a:pt x="30" y="118"/>
                  </a:lnTo>
                  <a:lnTo>
                    <a:pt x="30" y="118"/>
                  </a:lnTo>
                  <a:lnTo>
                    <a:pt x="40" y="125"/>
                  </a:lnTo>
                  <a:lnTo>
                    <a:pt x="50" y="131"/>
                  </a:lnTo>
                  <a:lnTo>
                    <a:pt x="50" y="131"/>
                  </a:lnTo>
                  <a:lnTo>
                    <a:pt x="62" y="135"/>
                  </a:lnTo>
                  <a:lnTo>
                    <a:pt x="74" y="136"/>
                  </a:lnTo>
                  <a:lnTo>
                    <a:pt x="74" y="136"/>
                  </a:lnTo>
                  <a:lnTo>
                    <a:pt x="86" y="135"/>
                  </a:lnTo>
                  <a:lnTo>
                    <a:pt x="97" y="131"/>
                  </a:lnTo>
                  <a:lnTo>
                    <a:pt x="97" y="131"/>
                  </a:lnTo>
                  <a:lnTo>
                    <a:pt x="108" y="125"/>
                  </a:lnTo>
                  <a:lnTo>
                    <a:pt x="118" y="118"/>
                  </a:lnTo>
                  <a:lnTo>
                    <a:pt x="118" y="118"/>
                  </a:lnTo>
                  <a:lnTo>
                    <a:pt x="125" y="108"/>
                  </a:lnTo>
                  <a:lnTo>
                    <a:pt x="131" y="98"/>
                  </a:lnTo>
                  <a:lnTo>
                    <a:pt x="131" y="98"/>
                  </a:lnTo>
                  <a:lnTo>
                    <a:pt x="135" y="86"/>
                  </a:lnTo>
                  <a:lnTo>
                    <a:pt x="135" y="74"/>
                  </a:lnTo>
                  <a:lnTo>
                    <a:pt x="135" y="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6" name="Freeform 249"/>
            <p:cNvSpPr>
              <a:spLocks noEditPoints="1"/>
            </p:cNvSpPr>
            <p:nvPr/>
          </p:nvSpPr>
          <p:spPr bwMode="auto">
            <a:xfrm>
              <a:off x="6557962" y="1323975"/>
              <a:ext cx="61913" cy="61912"/>
            </a:xfrm>
            <a:custGeom>
              <a:avLst/>
              <a:gdLst>
                <a:gd name="T0" fmla="*/ 112 w 115"/>
                <a:gd name="T1" fmla="*/ 36 h 117"/>
                <a:gd name="T2" fmla="*/ 115 w 115"/>
                <a:gd name="T3" fmla="*/ 58 h 117"/>
                <a:gd name="T4" fmla="*/ 114 w 115"/>
                <a:gd name="T5" fmla="*/ 69 h 117"/>
                <a:gd name="T6" fmla="*/ 112 w 115"/>
                <a:gd name="T7" fmla="*/ 80 h 117"/>
                <a:gd name="T8" fmla="*/ 98 w 115"/>
                <a:gd name="T9" fmla="*/ 100 h 117"/>
                <a:gd name="T10" fmla="*/ 90 w 115"/>
                <a:gd name="T11" fmla="*/ 107 h 117"/>
                <a:gd name="T12" fmla="*/ 80 w 115"/>
                <a:gd name="T13" fmla="*/ 112 h 117"/>
                <a:gd name="T14" fmla="*/ 58 w 115"/>
                <a:gd name="T15" fmla="*/ 117 h 117"/>
                <a:gd name="T16" fmla="*/ 46 w 115"/>
                <a:gd name="T17" fmla="*/ 115 h 117"/>
                <a:gd name="T18" fmla="*/ 35 w 115"/>
                <a:gd name="T19" fmla="*/ 112 h 117"/>
                <a:gd name="T20" fmla="*/ 17 w 115"/>
                <a:gd name="T21" fmla="*/ 100 h 117"/>
                <a:gd name="T22" fmla="*/ 10 w 115"/>
                <a:gd name="T23" fmla="*/ 91 h 117"/>
                <a:gd name="T24" fmla="*/ 4 w 115"/>
                <a:gd name="T25" fmla="*/ 80 h 117"/>
                <a:gd name="T26" fmla="*/ 0 w 115"/>
                <a:gd name="T27" fmla="*/ 58 h 117"/>
                <a:gd name="T28" fmla="*/ 1 w 115"/>
                <a:gd name="T29" fmla="*/ 47 h 117"/>
                <a:gd name="T30" fmla="*/ 4 w 115"/>
                <a:gd name="T31" fmla="*/ 36 h 117"/>
                <a:gd name="T32" fmla="*/ 17 w 115"/>
                <a:gd name="T33" fmla="*/ 17 h 117"/>
                <a:gd name="T34" fmla="*/ 25 w 115"/>
                <a:gd name="T35" fmla="*/ 10 h 117"/>
                <a:gd name="T36" fmla="*/ 35 w 115"/>
                <a:gd name="T37" fmla="*/ 5 h 117"/>
                <a:gd name="T38" fmla="*/ 58 w 115"/>
                <a:gd name="T39" fmla="*/ 0 h 117"/>
                <a:gd name="T40" fmla="*/ 69 w 115"/>
                <a:gd name="T41" fmla="*/ 1 h 117"/>
                <a:gd name="T42" fmla="*/ 80 w 115"/>
                <a:gd name="T43" fmla="*/ 5 h 117"/>
                <a:gd name="T44" fmla="*/ 98 w 115"/>
                <a:gd name="T45" fmla="*/ 17 h 117"/>
                <a:gd name="T46" fmla="*/ 106 w 115"/>
                <a:gd name="T47" fmla="*/ 27 h 117"/>
                <a:gd name="T48" fmla="*/ 112 w 115"/>
                <a:gd name="T49" fmla="*/ 36 h 117"/>
                <a:gd name="T50" fmla="*/ 106 w 115"/>
                <a:gd name="T51" fmla="*/ 58 h 117"/>
                <a:gd name="T52" fmla="*/ 102 w 115"/>
                <a:gd name="T53" fmla="*/ 40 h 117"/>
                <a:gd name="T54" fmla="*/ 98 w 115"/>
                <a:gd name="T55" fmla="*/ 32 h 117"/>
                <a:gd name="T56" fmla="*/ 92 w 115"/>
                <a:gd name="T57" fmla="*/ 24 h 117"/>
                <a:gd name="T58" fmla="*/ 76 w 115"/>
                <a:gd name="T59" fmla="*/ 13 h 117"/>
                <a:gd name="T60" fmla="*/ 67 w 115"/>
                <a:gd name="T61" fmla="*/ 11 h 117"/>
                <a:gd name="T62" fmla="*/ 58 w 115"/>
                <a:gd name="T63" fmla="*/ 10 h 117"/>
                <a:gd name="T64" fmla="*/ 39 w 115"/>
                <a:gd name="T65" fmla="*/ 13 h 117"/>
                <a:gd name="T66" fmla="*/ 30 w 115"/>
                <a:gd name="T67" fmla="*/ 18 h 117"/>
                <a:gd name="T68" fmla="*/ 23 w 115"/>
                <a:gd name="T69" fmla="*/ 24 h 117"/>
                <a:gd name="T70" fmla="*/ 13 w 115"/>
                <a:gd name="T71" fmla="*/ 40 h 117"/>
                <a:gd name="T72" fmla="*/ 11 w 115"/>
                <a:gd name="T73" fmla="*/ 49 h 117"/>
                <a:gd name="T74" fmla="*/ 10 w 115"/>
                <a:gd name="T75" fmla="*/ 58 h 117"/>
                <a:gd name="T76" fmla="*/ 13 w 115"/>
                <a:gd name="T77" fmla="*/ 76 h 117"/>
                <a:gd name="T78" fmla="*/ 17 w 115"/>
                <a:gd name="T79" fmla="*/ 85 h 117"/>
                <a:gd name="T80" fmla="*/ 23 w 115"/>
                <a:gd name="T81" fmla="*/ 92 h 117"/>
                <a:gd name="T82" fmla="*/ 39 w 115"/>
                <a:gd name="T83" fmla="*/ 103 h 117"/>
                <a:gd name="T84" fmla="*/ 49 w 115"/>
                <a:gd name="T85" fmla="*/ 106 h 117"/>
                <a:gd name="T86" fmla="*/ 58 w 115"/>
                <a:gd name="T87" fmla="*/ 107 h 117"/>
                <a:gd name="T88" fmla="*/ 76 w 115"/>
                <a:gd name="T89" fmla="*/ 103 h 117"/>
                <a:gd name="T90" fmla="*/ 85 w 115"/>
                <a:gd name="T91" fmla="*/ 98 h 117"/>
                <a:gd name="T92" fmla="*/ 92 w 115"/>
                <a:gd name="T93" fmla="*/ 92 h 117"/>
                <a:gd name="T94" fmla="*/ 102 w 115"/>
                <a:gd name="T95" fmla="*/ 76 h 117"/>
                <a:gd name="T96" fmla="*/ 106 w 115"/>
                <a:gd name="T97" fmla="*/ 68 h 117"/>
                <a:gd name="T98" fmla="*/ 106 w 115"/>
                <a:gd name="T99" fmla="*/ 58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15" h="117">
                  <a:moveTo>
                    <a:pt x="112" y="36"/>
                  </a:moveTo>
                  <a:lnTo>
                    <a:pt x="112" y="36"/>
                  </a:lnTo>
                  <a:lnTo>
                    <a:pt x="114" y="47"/>
                  </a:lnTo>
                  <a:lnTo>
                    <a:pt x="115" y="58"/>
                  </a:lnTo>
                  <a:lnTo>
                    <a:pt x="115" y="58"/>
                  </a:lnTo>
                  <a:lnTo>
                    <a:pt x="114" y="69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6" y="91"/>
                  </a:lnTo>
                  <a:lnTo>
                    <a:pt x="98" y="100"/>
                  </a:lnTo>
                  <a:lnTo>
                    <a:pt x="98" y="100"/>
                  </a:lnTo>
                  <a:lnTo>
                    <a:pt x="90" y="107"/>
                  </a:lnTo>
                  <a:lnTo>
                    <a:pt x="80" y="112"/>
                  </a:lnTo>
                  <a:lnTo>
                    <a:pt x="80" y="112"/>
                  </a:lnTo>
                  <a:lnTo>
                    <a:pt x="69" y="115"/>
                  </a:lnTo>
                  <a:lnTo>
                    <a:pt x="58" y="117"/>
                  </a:lnTo>
                  <a:lnTo>
                    <a:pt x="58" y="117"/>
                  </a:lnTo>
                  <a:lnTo>
                    <a:pt x="46" y="115"/>
                  </a:lnTo>
                  <a:lnTo>
                    <a:pt x="35" y="112"/>
                  </a:lnTo>
                  <a:lnTo>
                    <a:pt x="35" y="112"/>
                  </a:lnTo>
                  <a:lnTo>
                    <a:pt x="25" y="107"/>
                  </a:lnTo>
                  <a:lnTo>
                    <a:pt x="17" y="100"/>
                  </a:lnTo>
                  <a:lnTo>
                    <a:pt x="17" y="100"/>
                  </a:lnTo>
                  <a:lnTo>
                    <a:pt x="10" y="91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1" y="69"/>
                  </a:lnTo>
                  <a:lnTo>
                    <a:pt x="0" y="58"/>
                  </a:lnTo>
                  <a:lnTo>
                    <a:pt x="0" y="58"/>
                  </a:lnTo>
                  <a:lnTo>
                    <a:pt x="1" y="47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10" y="27"/>
                  </a:lnTo>
                  <a:lnTo>
                    <a:pt x="17" y="17"/>
                  </a:lnTo>
                  <a:lnTo>
                    <a:pt x="17" y="17"/>
                  </a:lnTo>
                  <a:lnTo>
                    <a:pt x="25" y="10"/>
                  </a:lnTo>
                  <a:lnTo>
                    <a:pt x="35" y="5"/>
                  </a:lnTo>
                  <a:lnTo>
                    <a:pt x="35" y="5"/>
                  </a:lnTo>
                  <a:lnTo>
                    <a:pt x="46" y="1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69" y="1"/>
                  </a:lnTo>
                  <a:lnTo>
                    <a:pt x="80" y="5"/>
                  </a:lnTo>
                  <a:lnTo>
                    <a:pt x="80" y="5"/>
                  </a:lnTo>
                  <a:lnTo>
                    <a:pt x="90" y="10"/>
                  </a:lnTo>
                  <a:lnTo>
                    <a:pt x="98" y="17"/>
                  </a:lnTo>
                  <a:lnTo>
                    <a:pt x="98" y="17"/>
                  </a:lnTo>
                  <a:lnTo>
                    <a:pt x="106" y="27"/>
                  </a:lnTo>
                  <a:lnTo>
                    <a:pt x="112" y="36"/>
                  </a:lnTo>
                  <a:lnTo>
                    <a:pt x="112" y="36"/>
                  </a:lnTo>
                  <a:close/>
                  <a:moveTo>
                    <a:pt x="106" y="58"/>
                  </a:moveTo>
                  <a:lnTo>
                    <a:pt x="106" y="58"/>
                  </a:lnTo>
                  <a:lnTo>
                    <a:pt x="106" y="49"/>
                  </a:lnTo>
                  <a:lnTo>
                    <a:pt x="102" y="40"/>
                  </a:lnTo>
                  <a:lnTo>
                    <a:pt x="102" y="40"/>
                  </a:lnTo>
                  <a:lnTo>
                    <a:pt x="98" y="32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85" y="18"/>
                  </a:lnTo>
                  <a:lnTo>
                    <a:pt x="76" y="13"/>
                  </a:lnTo>
                  <a:lnTo>
                    <a:pt x="76" y="13"/>
                  </a:lnTo>
                  <a:lnTo>
                    <a:pt x="67" y="11"/>
                  </a:lnTo>
                  <a:lnTo>
                    <a:pt x="58" y="10"/>
                  </a:lnTo>
                  <a:lnTo>
                    <a:pt x="58" y="10"/>
                  </a:lnTo>
                  <a:lnTo>
                    <a:pt x="49" y="11"/>
                  </a:lnTo>
                  <a:lnTo>
                    <a:pt x="39" y="13"/>
                  </a:lnTo>
                  <a:lnTo>
                    <a:pt x="39" y="13"/>
                  </a:lnTo>
                  <a:lnTo>
                    <a:pt x="30" y="18"/>
                  </a:lnTo>
                  <a:lnTo>
                    <a:pt x="23" y="24"/>
                  </a:lnTo>
                  <a:lnTo>
                    <a:pt x="23" y="24"/>
                  </a:lnTo>
                  <a:lnTo>
                    <a:pt x="17" y="32"/>
                  </a:lnTo>
                  <a:lnTo>
                    <a:pt x="13" y="40"/>
                  </a:lnTo>
                  <a:lnTo>
                    <a:pt x="13" y="40"/>
                  </a:lnTo>
                  <a:lnTo>
                    <a:pt x="11" y="49"/>
                  </a:lnTo>
                  <a:lnTo>
                    <a:pt x="10" y="58"/>
                  </a:lnTo>
                  <a:lnTo>
                    <a:pt x="10" y="58"/>
                  </a:lnTo>
                  <a:lnTo>
                    <a:pt x="11" y="68"/>
                  </a:lnTo>
                  <a:lnTo>
                    <a:pt x="13" y="76"/>
                  </a:lnTo>
                  <a:lnTo>
                    <a:pt x="13" y="76"/>
                  </a:lnTo>
                  <a:lnTo>
                    <a:pt x="17" y="85"/>
                  </a:lnTo>
                  <a:lnTo>
                    <a:pt x="23" y="92"/>
                  </a:lnTo>
                  <a:lnTo>
                    <a:pt x="23" y="92"/>
                  </a:lnTo>
                  <a:lnTo>
                    <a:pt x="30" y="98"/>
                  </a:lnTo>
                  <a:lnTo>
                    <a:pt x="39" y="103"/>
                  </a:lnTo>
                  <a:lnTo>
                    <a:pt x="39" y="103"/>
                  </a:lnTo>
                  <a:lnTo>
                    <a:pt x="49" y="106"/>
                  </a:lnTo>
                  <a:lnTo>
                    <a:pt x="58" y="107"/>
                  </a:lnTo>
                  <a:lnTo>
                    <a:pt x="58" y="107"/>
                  </a:lnTo>
                  <a:lnTo>
                    <a:pt x="67" y="106"/>
                  </a:lnTo>
                  <a:lnTo>
                    <a:pt x="76" y="103"/>
                  </a:lnTo>
                  <a:lnTo>
                    <a:pt x="76" y="103"/>
                  </a:lnTo>
                  <a:lnTo>
                    <a:pt x="85" y="9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8" y="85"/>
                  </a:lnTo>
                  <a:lnTo>
                    <a:pt x="102" y="76"/>
                  </a:lnTo>
                  <a:lnTo>
                    <a:pt x="102" y="76"/>
                  </a:lnTo>
                  <a:lnTo>
                    <a:pt x="106" y="68"/>
                  </a:lnTo>
                  <a:lnTo>
                    <a:pt x="106" y="58"/>
                  </a:lnTo>
                  <a:lnTo>
                    <a:pt x="10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87" name="Freeform 250"/>
            <p:cNvSpPr/>
            <p:nvPr/>
          </p:nvSpPr>
          <p:spPr bwMode="auto">
            <a:xfrm>
              <a:off x="6540500" y="1389062"/>
              <a:ext cx="80963" cy="60325"/>
            </a:xfrm>
            <a:custGeom>
              <a:avLst/>
              <a:gdLst>
                <a:gd name="T0" fmla="*/ 104 w 153"/>
                <a:gd name="T1" fmla="*/ 0 h 114"/>
                <a:gd name="T2" fmla="*/ 104 w 153"/>
                <a:gd name="T3" fmla="*/ 0 h 114"/>
                <a:gd name="T4" fmla="*/ 118 w 153"/>
                <a:gd name="T5" fmla="*/ 3 h 114"/>
                <a:gd name="T6" fmla="*/ 131 w 153"/>
                <a:gd name="T7" fmla="*/ 8 h 114"/>
                <a:gd name="T8" fmla="*/ 142 w 153"/>
                <a:gd name="T9" fmla="*/ 15 h 114"/>
                <a:gd name="T10" fmla="*/ 153 w 153"/>
                <a:gd name="T11" fmla="*/ 23 h 114"/>
                <a:gd name="T12" fmla="*/ 153 w 153"/>
                <a:gd name="T13" fmla="*/ 23 h 114"/>
                <a:gd name="T14" fmla="*/ 147 w 153"/>
                <a:gd name="T15" fmla="*/ 33 h 114"/>
                <a:gd name="T16" fmla="*/ 141 w 153"/>
                <a:gd name="T17" fmla="*/ 44 h 114"/>
                <a:gd name="T18" fmla="*/ 137 w 153"/>
                <a:gd name="T19" fmla="*/ 55 h 114"/>
                <a:gd name="T20" fmla="*/ 132 w 153"/>
                <a:gd name="T21" fmla="*/ 66 h 114"/>
                <a:gd name="T22" fmla="*/ 130 w 153"/>
                <a:gd name="T23" fmla="*/ 77 h 114"/>
                <a:gd name="T24" fmla="*/ 127 w 153"/>
                <a:gd name="T25" fmla="*/ 89 h 114"/>
                <a:gd name="T26" fmla="*/ 125 w 153"/>
                <a:gd name="T27" fmla="*/ 101 h 114"/>
                <a:gd name="T28" fmla="*/ 125 w 153"/>
                <a:gd name="T29" fmla="*/ 114 h 114"/>
                <a:gd name="T30" fmla="*/ 1 w 153"/>
                <a:gd name="T31" fmla="*/ 114 h 114"/>
                <a:gd name="T32" fmla="*/ 1 w 153"/>
                <a:gd name="T33" fmla="*/ 114 h 114"/>
                <a:gd name="T34" fmla="*/ 0 w 153"/>
                <a:gd name="T35" fmla="*/ 102 h 114"/>
                <a:gd name="T36" fmla="*/ 0 w 153"/>
                <a:gd name="T37" fmla="*/ 102 h 114"/>
                <a:gd name="T38" fmla="*/ 1 w 153"/>
                <a:gd name="T39" fmla="*/ 93 h 114"/>
                <a:gd name="T40" fmla="*/ 2 w 153"/>
                <a:gd name="T41" fmla="*/ 83 h 114"/>
                <a:gd name="T42" fmla="*/ 3 w 153"/>
                <a:gd name="T43" fmla="*/ 74 h 114"/>
                <a:gd name="T44" fmla="*/ 7 w 153"/>
                <a:gd name="T45" fmla="*/ 65 h 114"/>
                <a:gd name="T46" fmla="*/ 10 w 153"/>
                <a:gd name="T47" fmla="*/ 56 h 114"/>
                <a:gd name="T48" fmla="*/ 14 w 153"/>
                <a:gd name="T49" fmla="*/ 49 h 114"/>
                <a:gd name="T50" fmla="*/ 18 w 153"/>
                <a:gd name="T51" fmla="*/ 40 h 114"/>
                <a:gd name="T52" fmla="*/ 24 w 153"/>
                <a:gd name="T53" fmla="*/ 34 h 114"/>
                <a:gd name="T54" fmla="*/ 29 w 153"/>
                <a:gd name="T55" fmla="*/ 27 h 114"/>
                <a:gd name="T56" fmla="*/ 35 w 153"/>
                <a:gd name="T57" fmla="*/ 21 h 114"/>
                <a:gd name="T58" fmla="*/ 42 w 153"/>
                <a:gd name="T59" fmla="*/ 16 h 114"/>
                <a:gd name="T60" fmla="*/ 50 w 153"/>
                <a:gd name="T61" fmla="*/ 11 h 114"/>
                <a:gd name="T62" fmla="*/ 57 w 153"/>
                <a:gd name="T63" fmla="*/ 8 h 114"/>
                <a:gd name="T64" fmla="*/ 64 w 153"/>
                <a:gd name="T65" fmla="*/ 4 h 114"/>
                <a:gd name="T66" fmla="*/ 73 w 153"/>
                <a:gd name="T67" fmla="*/ 2 h 114"/>
                <a:gd name="T68" fmla="*/ 81 w 153"/>
                <a:gd name="T69" fmla="*/ 0 h 114"/>
                <a:gd name="T70" fmla="*/ 92 w 153"/>
                <a:gd name="T71" fmla="*/ 15 h 114"/>
                <a:gd name="T72" fmla="*/ 70 w 153"/>
                <a:gd name="T73" fmla="*/ 67 h 114"/>
                <a:gd name="T74" fmla="*/ 93 w 153"/>
                <a:gd name="T75" fmla="*/ 102 h 114"/>
                <a:gd name="T76" fmla="*/ 115 w 153"/>
                <a:gd name="T77" fmla="*/ 67 h 114"/>
                <a:gd name="T78" fmla="*/ 93 w 153"/>
                <a:gd name="T79" fmla="*/ 15 h 114"/>
                <a:gd name="T80" fmla="*/ 104 w 153"/>
                <a:gd name="T81" fmla="*/ 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3" h="114">
                  <a:moveTo>
                    <a:pt x="104" y="0"/>
                  </a:moveTo>
                  <a:lnTo>
                    <a:pt x="104" y="0"/>
                  </a:lnTo>
                  <a:lnTo>
                    <a:pt x="118" y="3"/>
                  </a:lnTo>
                  <a:lnTo>
                    <a:pt x="131" y="8"/>
                  </a:lnTo>
                  <a:lnTo>
                    <a:pt x="142" y="15"/>
                  </a:lnTo>
                  <a:lnTo>
                    <a:pt x="153" y="23"/>
                  </a:lnTo>
                  <a:lnTo>
                    <a:pt x="153" y="23"/>
                  </a:lnTo>
                  <a:lnTo>
                    <a:pt x="147" y="33"/>
                  </a:lnTo>
                  <a:lnTo>
                    <a:pt x="141" y="44"/>
                  </a:lnTo>
                  <a:lnTo>
                    <a:pt x="137" y="55"/>
                  </a:lnTo>
                  <a:lnTo>
                    <a:pt x="132" y="66"/>
                  </a:lnTo>
                  <a:lnTo>
                    <a:pt x="130" y="77"/>
                  </a:lnTo>
                  <a:lnTo>
                    <a:pt x="127" y="89"/>
                  </a:lnTo>
                  <a:lnTo>
                    <a:pt x="125" y="101"/>
                  </a:lnTo>
                  <a:lnTo>
                    <a:pt x="125" y="114"/>
                  </a:lnTo>
                  <a:lnTo>
                    <a:pt x="1" y="114"/>
                  </a:lnTo>
                  <a:lnTo>
                    <a:pt x="1" y="11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1" y="93"/>
                  </a:lnTo>
                  <a:lnTo>
                    <a:pt x="2" y="83"/>
                  </a:lnTo>
                  <a:lnTo>
                    <a:pt x="3" y="74"/>
                  </a:lnTo>
                  <a:lnTo>
                    <a:pt x="7" y="65"/>
                  </a:lnTo>
                  <a:lnTo>
                    <a:pt x="10" y="56"/>
                  </a:lnTo>
                  <a:lnTo>
                    <a:pt x="14" y="49"/>
                  </a:lnTo>
                  <a:lnTo>
                    <a:pt x="18" y="40"/>
                  </a:lnTo>
                  <a:lnTo>
                    <a:pt x="24" y="34"/>
                  </a:lnTo>
                  <a:lnTo>
                    <a:pt x="29" y="27"/>
                  </a:lnTo>
                  <a:lnTo>
                    <a:pt x="35" y="21"/>
                  </a:lnTo>
                  <a:lnTo>
                    <a:pt x="42" y="16"/>
                  </a:lnTo>
                  <a:lnTo>
                    <a:pt x="50" y="11"/>
                  </a:lnTo>
                  <a:lnTo>
                    <a:pt x="57" y="8"/>
                  </a:lnTo>
                  <a:lnTo>
                    <a:pt x="64" y="4"/>
                  </a:lnTo>
                  <a:lnTo>
                    <a:pt x="73" y="2"/>
                  </a:lnTo>
                  <a:lnTo>
                    <a:pt x="81" y="0"/>
                  </a:lnTo>
                  <a:lnTo>
                    <a:pt x="92" y="15"/>
                  </a:lnTo>
                  <a:lnTo>
                    <a:pt x="70" y="67"/>
                  </a:lnTo>
                  <a:lnTo>
                    <a:pt x="93" y="102"/>
                  </a:lnTo>
                  <a:lnTo>
                    <a:pt x="115" y="67"/>
                  </a:lnTo>
                  <a:lnTo>
                    <a:pt x="93" y="15"/>
                  </a:lnTo>
                  <a:lnTo>
                    <a:pt x="10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cxnSp>
        <p:nvCxnSpPr>
          <p:cNvPr id="88" name="Straight Connector 105"/>
          <p:cNvCxnSpPr/>
          <p:nvPr/>
        </p:nvCxnSpPr>
        <p:spPr>
          <a:xfrm flipH="1">
            <a:off x="7328240" y="4309280"/>
            <a:ext cx="3380398" cy="0"/>
          </a:xfrm>
          <a:prstGeom prst="line">
            <a:avLst/>
          </a:prstGeom>
          <a:ln>
            <a:solidFill>
              <a:schemeClr val="lt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108"/>
          <p:cNvCxnSpPr/>
          <p:nvPr/>
        </p:nvCxnSpPr>
        <p:spPr>
          <a:xfrm flipH="1">
            <a:off x="6668717" y="2205804"/>
            <a:ext cx="4039921" cy="0"/>
          </a:xfrm>
          <a:prstGeom prst="line">
            <a:avLst/>
          </a:prstGeom>
          <a:ln>
            <a:solidFill>
              <a:schemeClr val="lt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0" name="Group 17"/>
          <p:cNvGrpSpPr/>
          <p:nvPr/>
        </p:nvGrpSpPr>
        <p:grpSpPr>
          <a:xfrm>
            <a:off x="4225601" y="3486257"/>
            <a:ext cx="1814088" cy="1817696"/>
            <a:chOff x="4183544" y="3812459"/>
            <a:chExt cx="1810014" cy="1813613"/>
          </a:xfrm>
        </p:grpSpPr>
        <p:grpSp>
          <p:nvGrpSpPr>
            <p:cNvPr id="91" name="Group 13"/>
            <p:cNvGrpSpPr/>
            <p:nvPr/>
          </p:nvGrpSpPr>
          <p:grpSpPr>
            <a:xfrm>
              <a:off x="4183544" y="3812459"/>
              <a:ext cx="1810014" cy="1813613"/>
              <a:chOff x="4183544" y="3812459"/>
              <a:chExt cx="1810014" cy="1813613"/>
            </a:xfrm>
          </p:grpSpPr>
          <p:sp>
            <p:nvSpPr>
              <p:cNvPr id="93" name="Freeform 6"/>
              <p:cNvSpPr/>
              <p:nvPr/>
            </p:nvSpPr>
            <p:spPr bwMode="auto">
              <a:xfrm>
                <a:off x="4183544" y="3812459"/>
                <a:ext cx="1810013" cy="482190"/>
              </a:xfrm>
              <a:custGeom>
                <a:avLst/>
                <a:gdLst/>
                <a:ahLst/>
                <a:cxnLst>
                  <a:cxn ang="0">
                    <a:pos x="424" y="1"/>
                  </a:cxn>
                  <a:cxn ang="0">
                    <a:pos x="312" y="113"/>
                  </a:cxn>
                  <a:cxn ang="0">
                    <a:pos x="107" y="97"/>
                  </a:cxn>
                  <a:cxn ang="0">
                    <a:pos x="0" y="60"/>
                  </a:cxn>
                  <a:cxn ang="0">
                    <a:pos x="0" y="58"/>
                  </a:cxn>
                  <a:cxn ang="0">
                    <a:pos x="0" y="57"/>
                  </a:cxn>
                  <a:cxn ang="0">
                    <a:pos x="0" y="54"/>
                  </a:cxn>
                  <a:cxn ang="0">
                    <a:pos x="107" y="17"/>
                  </a:cxn>
                  <a:cxn ang="0">
                    <a:pos x="312" y="1"/>
                  </a:cxn>
                  <a:cxn ang="0">
                    <a:pos x="368" y="0"/>
                  </a:cxn>
                  <a:cxn ang="0">
                    <a:pos x="424" y="1"/>
                  </a:cxn>
                </a:cxnLst>
                <a:rect l="0" t="0" r="r" b="b"/>
                <a:pathLst>
                  <a:path w="424" h="113">
                    <a:moveTo>
                      <a:pt x="424" y="1"/>
                    </a:moveTo>
                    <a:cubicBezTo>
                      <a:pt x="312" y="113"/>
                      <a:pt x="312" y="113"/>
                      <a:pt x="312" y="113"/>
                    </a:cubicBezTo>
                    <a:cubicBezTo>
                      <a:pt x="234" y="111"/>
                      <a:pt x="165" y="106"/>
                      <a:pt x="107" y="97"/>
                    </a:cubicBezTo>
                    <a:cubicBezTo>
                      <a:pt x="40" y="87"/>
                      <a:pt x="4" y="74"/>
                      <a:pt x="0" y="60"/>
                    </a:cubicBezTo>
                    <a:cubicBezTo>
                      <a:pt x="0" y="59"/>
                      <a:pt x="0" y="59"/>
                      <a:pt x="0" y="58"/>
                    </a:cubicBezTo>
                    <a:cubicBezTo>
                      <a:pt x="0" y="58"/>
                      <a:pt x="0" y="57"/>
                      <a:pt x="0" y="57"/>
                    </a:cubicBezTo>
                    <a:cubicBezTo>
                      <a:pt x="0" y="56"/>
                      <a:pt x="0" y="55"/>
                      <a:pt x="0" y="54"/>
                    </a:cubicBezTo>
                    <a:cubicBezTo>
                      <a:pt x="4" y="40"/>
                      <a:pt x="40" y="27"/>
                      <a:pt x="107" y="17"/>
                    </a:cubicBezTo>
                    <a:cubicBezTo>
                      <a:pt x="165" y="8"/>
                      <a:pt x="234" y="3"/>
                      <a:pt x="312" y="1"/>
                    </a:cubicBezTo>
                    <a:cubicBezTo>
                      <a:pt x="330" y="1"/>
                      <a:pt x="348" y="0"/>
                      <a:pt x="368" y="0"/>
                    </a:cubicBezTo>
                    <a:cubicBezTo>
                      <a:pt x="387" y="0"/>
                      <a:pt x="406" y="1"/>
                      <a:pt x="424" y="1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ED7D3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94" name="Freeform 5"/>
              <p:cNvSpPr/>
              <p:nvPr/>
            </p:nvSpPr>
            <p:spPr bwMode="auto">
              <a:xfrm>
                <a:off x="5514966" y="3817857"/>
                <a:ext cx="478592" cy="1808215"/>
              </a:xfrm>
              <a:custGeom>
                <a:avLst/>
                <a:gdLst/>
                <a:ahLst/>
                <a:cxnLst>
                  <a:cxn ang="0">
                    <a:pos x="0" y="112"/>
                  </a:cxn>
                  <a:cxn ang="0">
                    <a:pos x="112" y="0"/>
                  </a:cxn>
                  <a:cxn ang="0">
                    <a:pos x="112" y="56"/>
                  </a:cxn>
                  <a:cxn ang="0">
                    <a:pos x="112" y="112"/>
                  </a:cxn>
                  <a:cxn ang="0">
                    <a:pos x="96" y="317"/>
                  </a:cxn>
                  <a:cxn ang="0">
                    <a:pos x="59" y="424"/>
                  </a:cxn>
                  <a:cxn ang="0">
                    <a:pos x="56" y="424"/>
                  </a:cxn>
                  <a:cxn ang="0">
                    <a:pos x="52" y="424"/>
                  </a:cxn>
                  <a:cxn ang="0">
                    <a:pos x="16" y="317"/>
                  </a:cxn>
                  <a:cxn ang="0">
                    <a:pos x="0" y="112"/>
                  </a:cxn>
                </a:cxnLst>
                <a:rect l="0" t="0" r="r" b="b"/>
                <a:pathLst>
                  <a:path w="112" h="424">
                    <a:moveTo>
                      <a:pt x="0" y="112"/>
                    </a:moveTo>
                    <a:cubicBezTo>
                      <a:pt x="112" y="0"/>
                      <a:pt x="112" y="0"/>
                      <a:pt x="112" y="0"/>
                    </a:cubicBezTo>
                    <a:cubicBezTo>
                      <a:pt x="112" y="18"/>
                      <a:pt x="112" y="37"/>
                      <a:pt x="112" y="56"/>
                    </a:cubicBezTo>
                    <a:cubicBezTo>
                      <a:pt x="112" y="75"/>
                      <a:pt x="112" y="94"/>
                      <a:pt x="112" y="112"/>
                    </a:cubicBezTo>
                    <a:cubicBezTo>
                      <a:pt x="110" y="190"/>
                      <a:pt x="105" y="258"/>
                      <a:pt x="96" y="317"/>
                    </a:cubicBezTo>
                    <a:cubicBezTo>
                      <a:pt x="86" y="383"/>
                      <a:pt x="73" y="419"/>
                      <a:pt x="59" y="424"/>
                    </a:cubicBezTo>
                    <a:cubicBezTo>
                      <a:pt x="58" y="424"/>
                      <a:pt x="57" y="424"/>
                      <a:pt x="56" y="424"/>
                    </a:cubicBezTo>
                    <a:cubicBezTo>
                      <a:pt x="54" y="424"/>
                      <a:pt x="53" y="424"/>
                      <a:pt x="52" y="424"/>
                    </a:cubicBezTo>
                    <a:cubicBezTo>
                      <a:pt x="38" y="419"/>
                      <a:pt x="26" y="383"/>
                      <a:pt x="16" y="317"/>
                    </a:cubicBezTo>
                    <a:cubicBezTo>
                      <a:pt x="7" y="258"/>
                      <a:pt x="1" y="190"/>
                      <a:pt x="0" y="112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ED7D3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95" name="Freeform 7"/>
              <p:cNvSpPr/>
              <p:nvPr/>
            </p:nvSpPr>
            <p:spPr bwMode="auto">
              <a:xfrm>
                <a:off x="4183545" y="4069748"/>
                <a:ext cx="1552725" cy="1556324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07" y="37"/>
                  </a:cxn>
                  <a:cxn ang="0">
                    <a:pos x="312" y="53"/>
                  </a:cxn>
                  <a:cxn ang="0">
                    <a:pos x="328" y="258"/>
                  </a:cxn>
                  <a:cxn ang="0">
                    <a:pos x="364" y="365"/>
                  </a:cxn>
                  <a:cxn ang="0">
                    <a:pos x="107" y="257"/>
                  </a:cxn>
                  <a:cxn ang="0">
                    <a:pos x="0" y="0"/>
                  </a:cxn>
                </a:cxnLst>
                <a:rect l="0" t="0" r="r" b="b"/>
                <a:pathLst>
                  <a:path w="364" h="365">
                    <a:moveTo>
                      <a:pt x="0" y="0"/>
                    </a:moveTo>
                    <a:cubicBezTo>
                      <a:pt x="4" y="14"/>
                      <a:pt x="40" y="27"/>
                      <a:pt x="107" y="37"/>
                    </a:cubicBezTo>
                    <a:cubicBezTo>
                      <a:pt x="165" y="46"/>
                      <a:pt x="234" y="51"/>
                      <a:pt x="312" y="53"/>
                    </a:cubicBezTo>
                    <a:cubicBezTo>
                      <a:pt x="313" y="131"/>
                      <a:pt x="319" y="199"/>
                      <a:pt x="328" y="258"/>
                    </a:cubicBezTo>
                    <a:cubicBezTo>
                      <a:pt x="338" y="324"/>
                      <a:pt x="350" y="360"/>
                      <a:pt x="364" y="365"/>
                    </a:cubicBezTo>
                    <a:cubicBezTo>
                      <a:pt x="264" y="364"/>
                      <a:pt x="178" y="328"/>
                      <a:pt x="107" y="257"/>
                    </a:cubicBezTo>
                    <a:cubicBezTo>
                      <a:pt x="36" y="186"/>
                      <a:pt x="0" y="100"/>
                      <a:pt x="0" y="0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ED7D3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  <p:sp>
          <p:nvSpPr>
            <p:cNvPr id="92" name="Rectangle 81"/>
            <p:cNvSpPr/>
            <p:nvPr>
              <p:custDataLst>
                <p:tags r:id="rId4"/>
              </p:custDataLst>
            </p:nvPr>
          </p:nvSpPr>
          <p:spPr>
            <a:xfrm>
              <a:off x="4654185" y="4420164"/>
              <a:ext cx="791908" cy="87823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828800" rtl="0"/>
              <a:r>
                <a:rPr lang="en-US" sz="5000" b="1" kern="1200" spc="-10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Open Sans Semibold" panose="020B0706030804020204" pitchFamily="34" charset="0"/>
                  <a:sym typeface="思源宋体 CN Medium" panose="02020500000000000000" pitchFamily="18" charset="-122"/>
                </a:rPr>
                <a:t>T</a:t>
              </a:r>
            </a:p>
          </p:txBody>
        </p:sp>
      </p:grpSp>
      <p:grpSp>
        <p:nvGrpSpPr>
          <p:cNvPr id="96" name="Group 15"/>
          <p:cNvGrpSpPr/>
          <p:nvPr/>
        </p:nvGrpSpPr>
        <p:grpSpPr>
          <a:xfrm>
            <a:off x="4225606" y="1886004"/>
            <a:ext cx="1814082" cy="1812285"/>
            <a:chOff x="4183549" y="2227350"/>
            <a:chExt cx="1810008" cy="1808214"/>
          </a:xfrm>
        </p:grpSpPr>
        <p:grpSp>
          <p:nvGrpSpPr>
            <p:cNvPr id="97" name="Group 11"/>
            <p:cNvGrpSpPr/>
            <p:nvPr/>
          </p:nvGrpSpPr>
          <p:grpSpPr>
            <a:xfrm>
              <a:off x="4183549" y="2227350"/>
              <a:ext cx="1810008" cy="1808214"/>
              <a:chOff x="4183549" y="2227350"/>
              <a:chExt cx="1810008" cy="1808214"/>
            </a:xfrm>
          </p:grpSpPr>
          <p:sp>
            <p:nvSpPr>
              <p:cNvPr id="99" name="Freeform 11"/>
              <p:cNvSpPr/>
              <p:nvPr/>
            </p:nvSpPr>
            <p:spPr bwMode="auto">
              <a:xfrm>
                <a:off x="5511367" y="2227350"/>
                <a:ext cx="482190" cy="1808214"/>
              </a:xfrm>
              <a:custGeom>
                <a:avLst/>
                <a:gdLst/>
                <a:ahLst/>
                <a:cxnLst>
                  <a:cxn ang="0">
                    <a:pos x="1" y="424"/>
                  </a:cxn>
                  <a:cxn ang="0">
                    <a:pos x="0" y="368"/>
                  </a:cxn>
                  <a:cxn ang="0">
                    <a:pos x="1" y="312"/>
                  </a:cxn>
                  <a:cxn ang="0">
                    <a:pos x="17" y="108"/>
                  </a:cxn>
                  <a:cxn ang="0">
                    <a:pos x="55" y="0"/>
                  </a:cxn>
                  <a:cxn ang="0">
                    <a:pos x="57" y="0"/>
                  </a:cxn>
                  <a:cxn ang="0">
                    <a:pos x="59" y="0"/>
                  </a:cxn>
                  <a:cxn ang="0">
                    <a:pos x="97" y="108"/>
                  </a:cxn>
                  <a:cxn ang="0">
                    <a:pos x="113" y="312"/>
                  </a:cxn>
                  <a:cxn ang="0">
                    <a:pos x="1" y="424"/>
                  </a:cxn>
                </a:cxnLst>
                <a:rect l="0" t="0" r="r" b="b"/>
                <a:pathLst>
                  <a:path w="113" h="424">
                    <a:moveTo>
                      <a:pt x="1" y="424"/>
                    </a:moveTo>
                    <a:cubicBezTo>
                      <a:pt x="0" y="406"/>
                      <a:pt x="0" y="387"/>
                      <a:pt x="0" y="368"/>
                    </a:cubicBezTo>
                    <a:cubicBezTo>
                      <a:pt x="0" y="349"/>
                      <a:pt x="0" y="330"/>
                      <a:pt x="1" y="312"/>
                    </a:cubicBezTo>
                    <a:cubicBezTo>
                      <a:pt x="2" y="234"/>
                      <a:pt x="8" y="166"/>
                      <a:pt x="17" y="108"/>
                    </a:cubicBezTo>
                    <a:cubicBezTo>
                      <a:pt x="27" y="39"/>
                      <a:pt x="40" y="3"/>
                      <a:pt x="55" y="0"/>
                    </a:cubicBezTo>
                    <a:cubicBezTo>
                      <a:pt x="55" y="0"/>
                      <a:pt x="56" y="0"/>
                      <a:pt x="57" y="0"/>
                    </a:cubicBezTo>
                    <a:cubicBezTo>
                      <a:pt x="57" y="0"/>
                      <a:pt x="58" y="0"/>
                      <a:pt x="59" y="0"/>
                    </a:cubicBezTo>
                    <a:cubicBezTo>
                      <a:pt x="74" y="3"/>
                      <a:pt x="86" y="39"/>
                      <a:pt x="97" y="108"/>
                    </a:cubicBezTo>
                    <a:cubicBezTo>
                      <a:pt x="106" y="166"/>
                      <a:pt x="111" y="234"/>
                      <a:pt x="113" y="312"/>
                    </a:cubicBezTo>
                    <a:lnTo>
                      <a:pt x="1" y="424"/>
                    </a:ln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ED7D3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100" name="Freeform 10"/>
              <p:cNvSpPr/>
              <p:nvPr/>
            </p:nvSpPr>
            <p:spPr bwMode="auto">
              <a:xfrm>
                <a:off x="4183549" y="2227350"/>
                <a:ext cx="1561720" cy="1808214"/>
              </a:xfrm>
              <a:custGeom>
                <a:avLst/>
                <a:gdLst/>
                <a:ahLst/>
                <a:cxnLst>
                  <a:cxn ang="0">
                    <a:pos x="366" y="0"/>
                  </a:cxn>
                  <a:cxn ang="0">
                    <a:pos x="328" y="108"/>
                  </a:cxn>
                  <a:cxn ang="0">
                    <a:pos x="312" y="312"/>
                  </a:cxn>
                  <a:cxn ang="0">
                    <a:pos x="311" y="368"/>
                  </a:cxn>
                  <a:cxn ang="0">
                    <a:pos x="312" y="424"/>
                  </a:cxn>
                  <a:cxn ang="0">
                    <a:pos x="107" y="408"/>
                  </a:cxn>
                  <a:cxn ang="0">
                    <a:pos x="0" y="371"/>
                  </a:cxn>
                  <a:cxn ang="0">
                    <a:pos x="0" y="369"/>
                  </a:cxn>
                  <a:cxn ang="0">
                    <a:pos x="0" y="368"/>
                  </a:cxn>
                  <a:cxn ang="0">
                    <a:pos x="0" y="365"/>
                  </a:cxn>
                  <a:cxn ang="0">
                    <a:pos x="107" y="108"/>
                  </a:cxn>
                  <a:cxn ang="0">
                    <a:pos x="366" y="0"/>
                  </a:cxn>
                </a:cxnLst>
                <a:rect l="0" t="0" r="r" b="b"/>
                <a:pathLst>
                  <a:path w="366" h="424">
                    <a:moveTo>
                      <a:pt x="366" y="0"/>
                    </a:moveTo>
                    <a:cubicBezTo>
                      <a:pt x="351" y="3"/>
                      <a:pt x="338" y="39"/>
                      <a:pt x="328" y="108"/>
                    </a:cubicBezTo>
                    <a:cubicBezTo>
                      <a:pt x="319" y="166"/>
                      <a:pt x="313" y="234"/>
                      <a:pt x="312" y="312"/>
                    </a:cubicBezTo>
                    <a:cubicBezTo>
                      <a:pt x="311" y="330"/>
                      <a:pt x="311" y="349"/>
                      <a:pt x="311" y="368"/>
                    </a:cubicBezTo>
                    <a:cubicBezTo>
                      <a:pt x="311" y="387"/>
                      <a:pt x="311" y="406"/>
                      <a:pt x="312" y="424"/>
                    </a:cubicBezTo>
                    <a:cubicBezTo>
                      <a:pt x="234" y="422"/>
                      <a:pt x="165" y="417"/>
                      <a:pt x="107" y="408"/>
                    </a:cubicBezTo>
                    <a:cubicBezTo>
                      <a:pt x="40" y="398"/>
                      <a:pt x="4" y="385"/>
                      <a:pt x="0" y="371"/>
                    </a:cubicBezTo>
                    <a:cubicBezTo>
                      <a:pt x="0" y="370"/>
                      <a:pt x="0" y="370"/>
                      <a:pt x="0" y="369"/>
                    </a:cubicBezTo>
                    <a:cubicBezTo>
                      <a:pt x="0" y="369"/>
                      <a:pt x="0" y="368"/>
                      <a:pt x="0" y="368"/>
                    </a:cubicBezTo>
                    <a:cubicBezTo>
                      <a:pt x="0" y="367"/>
                      <a:pt x="0" y="366"/>
                      <a:pt x="0" y="365"/>
                    </a:cubicBezTo>
                    <a:cubicBezTo>
                      <a:pt x="0" y="265"/>
                      <a:pt x="36" y="179"/>
                      <a:pt x="107" y="108"/>
                    </a:cubicBezTo>
                    <a:cubicBezTo>
                      <a:pt x="179" y="36"/>
                      <a:pt x="265" y="0"/>
                      <a:pt x="366" y="0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ED7D3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  <p:sp>
          <p:nvSpPr>
            <p:cNvPr id="98" name="Rectangle 88"/>
            <p:cNvSpPr/>
            <p:nvPr>
              <p:custDataLst>
                <p:tags r:id="rId3"/>
              </p:custDataLst>
            </p:nvPr>
          </p:nvSpPr>
          <p:spPr>
            <a:xfrm>
              <a:off x="4654185" y="2737379"/>
              <a:ext cx="791908" cy="87823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828800" rtl="0"/>
              <a:r>
                <a:rPr lang="en-US" sz="5000" b="1" kern="1200" spc="-10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Open Sans Semibold" panose="020B0706030804020204" pitchFamily="34" charset="0"/>
                  <a:sym typeface="思源宋体 CN Medium" panose="02020500000000000000" pitchFamily="18" charset="-122"/>
                </a:rPr>
                <a:t>s</a:t>
              </a:r>
            </a:p>
          </p:txBody>
        </p:sp>
      </p:grpSp>
      <p:grpSp>
        <p:nvGrpSpPr>
          <p:cNvPr id="101" name="Group 19"/>
          <p:cNvGrpSpPr/>
          <p:nvPr/>
        </p:nvGrpSpPr>
        <p:grpSpPr>
          <a:xfrm>
            <a:off x="5803462" y="3480093"/>
            <a:ext cx="1814087" cy="1812285"/>
            <a:chOff x="5757861" y="3817858"/>
            <a:chExt cx="1810013" cy="1808214"/>
          </a:xfrm>
        </p:grpSpPr>
        <p:grpSp>
          <p:nvGrpSpPr>
            <p:cNvPr id="102" name="Group 14"/>
            <p:cNvGrpSpPr/>
            <p:nvPr/>
          </p:nvGrpSpPr>
          <p:grpSpPr>
            <a:xfrm>
              <a:off x="5757861" y="3817858"/>
              <a:ext cx="1810013" cy="1808214"/>
              <a:chOff x="5757861" y="3817858"/>
              <a:chExt cx="1810013" cy="1808214"/>
            </a:xfrm>
          </p:grpSpPr>
          <p:sp>
            <p:nvSpPr>
              <p:cNvPr id="104" name="Freeform 8"/>
              <p:cNvSpPr/>
              <p:nvPr/>
            </p:nvSpPr>
            <p:spPr bwMode="auto">
              <a:xfrm>
                <a:off x="5757861" y="3817858"/>
                <a:ext cx="1810013" cy="482190"/>
              </a:xfrm>
              <a:custGeom>
                <a:avLst/>
                <a:gdLst/>
                <a:ahLst/>
                <a:cxnLst>
                  <a:cxn ang="0">
                    <a:pos x="424" y="59"/>
                  </a:cxn>
                  <a:cxn ang="0">
                    <a:pos x="316" y="96"/>
                  </a:cxn>
                  <a:cxn ang="0">
                    <a:pos x="112" y="112"/>
                  </a:cxn>
                  <a:cxn ang="0">
                    <a:pos x="56" y="113"/>
                  </a:cxn>
                  <a:cxn ang="0">
                    <a:pos x="0" y="112"/>
                  </a:cxn>
                  <a:cxn ang="0">
                    <a:pos x="112" y="0"/>
                  </a:cxn>
                  <a:cxn ang="0">
                    <a:pos x="316" y="16"/>
                  </a:cxn>
                  <a:cxn ang="0">
                    <a:pos x="424" y="53"/>
                  </a:cxn>
                  <a:cxn ang="0">
                    <a:pos x="424" y="56"/>
                  </a:cxn>
                  <a:cxn ang="0">
                    <a:pos x="424" y="57"/>
                  </a:cxn>
                  <a:cxn ang="0">
                    <a:pos x="424" y="59"/>
                  </a:cxn>
                </a:cxnLst>
                <a:rect l="0" t="0" r="r" b="b"/>
                <a:pathLst>
                  <a:path w="424" h="113">
                    <a:moveTo>
                      <a:pt x="424" y="59"/>
                    </a:moveTo>
                    <a:cubicBezTo>
                      <a:pt x="419" y="73"/>
                      <a:pt x="384" y="86"/>
                      <a:pt x="316" y="96"/>
                    </a:cubicBezTo>
                    <a:cubicBezTo>
                      <a:pt x="258" y="105"/>
                      <a:pt x="190" y="110"/>
                      <a:pt x="112" y="112"/>
                    </a:cubicBezTo>
                    <a:cubicBezTo>
                      <a:pt x="94" y="113"/>
                      <a:pt x="75" y="113"/>
                      <a:pt x="56" y="113"/>
                    </a:cubicBezTo>
                    <a:cubicBezTo>
                      <a:pt x="36" y="113"/>
                      <a:pt x="18" y="113"/>
                      <a:pt x="0" y="112"/>
                    </a:cubicBezTo>
                    <a:cubicBezTo>
                      <a:pt x="112" y="0"/>
                      <a:pt x="112" y="0"/>
                      <a:pt x="112" y="0"/>
                    </a:cubicBezTo>
                    <a:cubicBezTo>
                      <a:pt x="190" y="2"/>
                      <a:pt x="258" y="7"/>
                      <a:pt x="316" y="16"/>
                    </a:cubicBezTo>
                    <a:cubicBezTo>
                      <a:pt x="384" y="26"/>
                      <a:pt x="419" y="39"/>
                      <a:pt x="424" y="53"/>
                    </a:cubicBezTo>
                    <a:cubicBezTo>
                      <a:pt x="424" y="54"/>
                      <a:pt x="424" y="55"/>
                      <a:pt x="424" y="56"/>
                    </a:cubicBezTo>
                    <a:cubicBezTo>
                      <a:pt x="424" y="56"/>
                      <a:pt x="424" y="57"/>
                      <a:pt x="424" y="57"/>
                    </a:cubicBezTo>
                    <a:cubicBezTo>
                      <a:pt x="424" y="58"/>
                      <a:pt x="424" y="58"/>
                      <a:pt x="424" y="59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ED7D3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  <p:sp>
            <p:nvSpPr>
              <p:cNvPr id="105" name="Freeform 9"/>
              <p:cNvSpPr/>
              <p:nvPr/>
            </p:nvSpPr>
            <p:spPr bwMode="auto">
              <a:xfrm>
                <a:off x="5757861" y="4069748"/>
                <a:ext cx="1810013" cy="1556324"/>
              </a:xfrm>
              <a:custGeom>
                <a:avLst/>
                <a:gdLst/>
                <a:ahLst/>
                <a:cxnLst>
                  <a:cxn ang="0">
                    <a:pos x="0" y="53"/>
                  </a:cxn>
                  <a:cxn ang="0">
                    <a:pos x="56" y="54"/>
                  </a:cxn>
                  <a:cxn ang="0">
                    <a:pos x="112" y="53"/>
                  </a:cxn>
                  <a:cxn ang="0">
                    <a:pos x="316" y="37"/>
                  </a:cxn>
                  <a:cxn ang="0">
                    <a:pos x="424" y="0"/>
                  </a:cxn>
                  <a:cxn ang="0">
                    <a:pos x="316" y="257"/>
                  </a:cxn>
                  <a:cxn ang="0">
                    <a:pos x="59" y="365"/>
                  </a:cxn>
                  <a:cxn ang="0">
                    <a:pos x="56" y="365"/>
                  </a:cxn>
                  <a:cxn ang="0">
                    <a:pos x="52" y="365"/>
                  </a:cxn>
                  <a:cxn ang="0">
                    <a:pos x="16" y="258"/>
                  </a:cxn>
                  <a:cxn ang="0">
                    <a:pos x="0" y="53"/>
                  </a:cxn>
                </a:cxnLst>
                <a:rect l="0" t="0" r="r" b="b"/>
                <a:pathLst>
                  <a:path w="424" h="365">
                    <a:moveTo>
                      <a:pt x="0" y="53"/>
                    </a:moveTo>
                    <a:cubicBezTo>
                      <a:pt x="18" y="54"/>
                      <a:pt x="36" y="54"/>
                      <a:pt x="56" y="54"/>
                    </a:cubicBezTo>
                    <a:cubicBezTo>
                      <a:pt x="75" y="54"/>
                      <a:pt x="94" y="54"/>
                      <a:pt x="112" y="53"/>
                    </a:cubicBezTo>
                    <a:cubicBezTo>
                      <a:pt x="190" y="51"/>
                      <a:pt x="258" y="46"/>
                      <a:pt x="316" y="37"/>
                    </a:cubicBezTo>
                    <a:cubicBezTo>
                      <a:pt x="384" y="27"/>
                      <a:pt x="419" y="14"/>
                      <a:pt x="424" y="0"/>
                    </a:cubicBezTo>
                    <a:cubicBezTo>
                      <a:pt x="423" y="100"/>
                      <a:pt x="387" y="186"/>
                      <a:pt x="316" y="257"/>
                    </a:cubicBezTo>
                    <a:cubicBezTo>
                      <a:pt x="245" y="328"/>
                      <a:pt x="159" y="364"/>
                      <a:pt x="59" y="365"/>
                    </a:cubicBezTo>
                    <a:cubicBezTo>
                      <a:pt x="58" y="365"/>
                      <a:pt x="57" y="365"/>
                      <a:pt x="56" y="365"/>
                    </a:cubicBezTo>
                    <a:cubicBezTo>
                      <a:pt x="54" y="365"/>
                      <a:pt x="53" y="365"/>
                      <a:pt x="52" y="365"/>
                    </a:cubicBezTo>
                    <a:cubicBezTo>
                      <a:pt x="38" y="360"/>
                      <a:pt x="26" y="324"/>
                      <a:pt x="16" y="258"/>
                    </a:cubicBezTo>
                    <a:cubicBezTo>
                      <a:pt x="7" y="199"/>
                      <a:pt x="1" y="131"/>
                      <a:pt x="0" y="53"/>
                    </a:cubicBezTo>
                    <a:close/>
                  </a:path>
                </a:pathLst>
              </a:custGeom>
              <a:solidFill>
                <a:schemeClr val="lt1">
                  <a:lumMod val="100000"/>
                </a:schemeClr>
              </a:solidFill>
              <a:ln w="12700">
                <a:solidFill>
                  <a:schemeClr val="lt1">
                    <a:lumMod val="75000"/>
                  </a:schemeClr>
                </a:solidFill>
                <a:headEnd type="none" w="med" len="med"/>
                <a:tailEnd type="none" w="med" len="med"/>
              </a:ln>
              <a:effectLst>
                <a:outerShdw blurRad="76200" dir="18900000" sy="23000" kx="-1200000" algn="bl" rotWithShape="0">
                  <a:schemeClr val="lt1">
                    <a:alpha val="20000"/>
                  </a:scheme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defTabSz="1828800" rtl="0"/>
                <a:endParaRPr lang="en-US" sz="3600" kern="1200">
                  <a:solidFill>
                    <a:srgbClr val="ED7D31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endParaRPr>
              </a:p>
            </p:txBody>
          </p:sp>
        </p:grpSp>
        <p:sp>
          <p:nvSpPr>
            <p:cNvPr id="103" name="Rectangle 95"/>
            <p:cNvSpPr/>
            <p:nvPr>
              <p:custDataLst>
                <p:tags r:id="rId2"/>
              </p:custDataLst>
            </p:nvPr>
          </p:nvSpPr>
          <p:spPr>
            <a:xfrm>
              <a:off x="6174201" y="4420162"/>
              <a:ext cx="791908" cy="87823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828800" rtl="0"/>
              <a:r>
                <a:rPr lang="en-US" sz="5000" b="1" kern="1200" spc="-10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Open Sans Semibold" panose="020B0706030804020204" pitchFamily="34" charset="0"/>
                  <a:sym typeface="思源宋体 CN Medium" panose="02020500000000000000" pitchFamily="18" charset="-122"/>
                </a:rPr>
                <a:t>O</a:t>
              </a:r>
            </a:p>
          </p:txBody>
        </p:sp>
      </p:grpSp>
      <p:grpSp>
        <p:nvGrpSpPr>
          <p:cNvPr id="106" name="Group 33"/>
          <p:cNvGrpSpPr/>
          <p:nvPr/>
        </p:nvGrpSpPr>
        <p:grpSpPr>
          <a:xfrm>
            <a:off x="10834645" y="3974381"/>
            <a:ext cx="637066" cy="854090"/>
            <a:chOff x="-2235200" y="598488"/>
            <a:chExt cx="577850" cy="774701"/>
          </a:xfrm>
          <a:solidFill>
            <a:schemeClr val="bg1"/>
          </a:solidFill>
        </p:grpSpPr>
        <p:sp>
          <p:nvSpPr>
            <p:cNvPr id="107" name="Freeform 39"/>
            <p:cNvSpPr>
              <a:spLocks noEditPoints="1"/>
            </p:cNvSpPr>
            <p:nvPr/>
          </p:nvSpPr>
          <p:spPr bwMode="auto">
            <a:xfrm>
              <a:off x="-1781175" y="965201"/>
              <a:ext cx="123825" cy="144463"/>
            </a:xfrm>
            <a:custGeom>
              <a:avLst/>
              <a:gdLst>
                <a:gd name="T0" fmla="*/ 212 w 235"/>
                <a:gd name="T1" fmla="*/ 52 h 272"/>
                <a:gd name="T2" fmla="*/ 228 w 235"/>
                <a:gd name="T3" fmla="*/ 94 h 272"/>
                <a:gd name="T4" fmla="*/ 163 w 235"/>
                <a:gd name="T5" fmla="*/ 164 h 272"/>
                <a:gd name="T6" fmla="*/ 75 w 235"/>
                <a:gd name="T7" fmla="*/ 128 h 272"/>
                <a:gd name="T8" fmla="*/ 78 w 235"/>
                <a:gd name="T9" fmla="*/ 119 h 272"/>
                <a:gd name="T10" fmla="*/ 169 w 235"/>
                <a:gd name="T11" fmla="*/ 143 h 272"/>
                <a:gd name="T12" fmla="*/ 78 w 235"/>
                <a:gd name="T13" fmla="*/ 119 h 272"/>
                <a:gd name="T14" fmla="*/ 172 w 235"/>
                <a:gd name="T15" fmla="*/ 134 h 272"/>
                <a:gd name="T16" fmla="*/ 85 w 235"/>
                <a:gd name="T17" fmla="*/ 99 h 272"/>
                <a:gd name="T18" fmla="*/ 87 w 235"/>
                <a:gd name="T19" fmla="*/ 90 h 272"/>
                <a:gd name="T20" fmla="*/ 178 w 235"/>
                <a:gd name="T21" fmla="*/ 114 h 272"/>
                <a:gd name="T22" fmla="*/ 87 w 235"/>
                <a:gd name="T23" fmla="*/ 90 h 272"/>
                <a:gd name="T24" fmla="*/ 182 w 235"/>
                <a:gd name="T25" fmla="*/ 105 h 272"/>
                <a:gd name="T26" fmla="*/ 95 w 235"/>
                <a:gd name="T27" fmla="*/ 70 h 272"/>
                <a:gd name="T28" fmla="*/ 97 w 235"/>
                <a:gd name="T29" fmla="*/ 60 h 272"/>
                <a:gd name="T30" fmla="*/ 188 w 235"/>
                <a:gd name="T31" fmla="*/ 85 h 272"/>
                <a:gd name="T32" fmla="*/ 97 w 235"/>
                <a:gd name="T33" fmla="*/ 60 h 272"/>
                <a:gd name="T34" fmla="*/ 190 w 235"/>
                <a:gd name="T35" fmla="*/ 76 h 272"/>
                <a:gd name="T36" fmla="*/ 104 w 235"/>
                <a:gd name="T37" fmla="*/ 41 h 272"/>
                <a:gd name="T38" fmla="*/ 53 w 235"/>
                <a:gd name="T39" fmla="*/ 193 h 272"/>
                <a:gd name="T40" fmla="*/ 144 w 235"/>
                <a:gd name="T41" fmla="*/ 217 h 272"/>
                <a:gd name="T42" fmla="*/ 53 w 235"/>
                <a:gd name="T43" fmla="*/ 193 h 272"/>
                <a:gd name="T44" fmla="*/ 148 w 235"/>
                <a:gd name="T45" fmla="*/ 207 h 272"/>
                <a:gd name="T46" fmla="*/ 61 w 235"/>
                <a:gd name="T47" fmla="*/ 173 h 272"/>
                <a:gd name="T48" fmla="*/ 63 w 235"/>
                <a:gd name="T49" fmla="*/ 164 h 272"/>
                <a:gd name="T50" fmla="*/ 154 w 235"/>
                <a:gd name="T51" fmla="*/ 188 h 272"/>
                <a:gd name="T52" fmla="*/ 63 w 235"/>
                <a:gd name="T53" fmla="*/ 164 h 272"/>
                <a:gd name="T54" fmla="*/ 158 w 235"/>
                <a:gd name="T55" fmla="*/ 177 h 272"/>
                <a:gd name="T56" fmla="*/ 70 w 235"/>
                <a:gd name="T57" fmla="*/ 143 h 272"/>
                <a:gd name="T58" fmla="*/ 50 w 235"/>
                <a:gd name="T59" fmla="*/ 207 h 272"/>
                <a:gd name="T60" fmla="*/ 139 w 235"/>
                <a:gd name="T61" fmla="*/ 230 h 272"/>
                <a:gd name="T62" fmla="*/ 50 w 235"/>
                <a:gd name="T63" fmla="*/ 207 h 272"/>
                <a:gd name="T64" fmla="*/ 0 w 235"/>
                <a:gd name="T65" fmla="*/ 213 h 272"/>
                <a:gd name="T66" fmla="*/ 216 w 235"/>
                <a:gd name="T67" fmla="*/ 47 h 272"/>
                <a:gd name="T68" fmla="*/ 177 w 235"/>
                <a:gd name="T69" fmla="*/ 272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5" h="272">
                  <a:moveTo>
                    <a:pt x="228" y="94"/>
                  </a:moveTo>
                  <a:lnTo>
                    <a:pt x="212" y="52"/>
                  </a:lnTo>
                  <a:lnTo>
                    <a:pt x="201" y="86"/>
                  </a:lnTo>
                  <a:lnTo>
                    <a:pt x="228" y="94"/>
                  </a:lnTo>
                  <a:close/>
                  <a:moveTo>
                    <a:pt x="73" y="133"/>
                  </a:moveTo>
                  <a:lnTo>
                    <a:pt x="163" y="164"/>
                  </a:lnTo>
                  <a:lnTo>
                    <a:pt x="164" y="158"/>
                  </a:lnTo>
                  <a:lnTo>
                    <a:pt x="75" y="128"/>
                  </a:lnTo>
                  <a:lnTo>
                    <a:pt x="73" y="133"/>
                  </a:lnTo>
                  <a:close/>
                  <a:moveTo>
                    <a:pt x="78" y="119"/>
                  </a:moveTo>
                  <a:lnTo>
                    <a:pt x="167" y="149"/>
                  </a:lnTo>
                  <a:lnTo>
                    <a:pt x="169" y="143"/>
                  </a:lnTo>
                  <a:lnTo>
                    <a:pt x="80" y="114"/>
                  </a:lnTo>
                  <a:lnTo>
                    <a:pt x="78" y="119"/>
                  </a:lnTo>
                  <a:close/>
                  <a:moveTo>
                    <a:pt x="82" y="105"/>
                  </a:moveTo>
                  <a:lnTo>
                    <a:pt x="172" y="134"/>
                  </a:lnTo>
                  <a:lnTo>
                    <a:pt x="173" y="130"/>
                  </a:lnTo>
                  <a:lnTo>
                    <a:pt x="85" y="99"/>
                  </a:lnTo>
                  <a:lnTo>
                    <a:pt x="82" y="105"/>
                  </a:lnTo>
                  <a:close/>
                  <a:moveTo>
                    <a:pt x="87" y="90"/>
                  </a:moveTo>
                  <a:lnTo>
                    <a:pt x="177" y="119"/>
                  </a:lnTo>
                  <a:lnTo>
                    <a:pt x="178" y="114"/>
                  </a:lnTo>
                  <a:lnTo>
                    <a:pt x="90" y="85"/>
                  </a:lnTo>
                  <a:lnTo>
                    <a:pt x="87" y="90"/>
                  </a:lnTo>
                  <a:close/>
                  <a:moveTo>
                    <a:pt x="92" y="75"/>
                  </a:moveTo>
                  <a:lnTo>
                    <a:pt x="182" y="105"/>
                  </a:lnTo>
                  <a:lnTo>
                    <a:pt x="183" y="99"/>
                  </a:lnTo>
                  <a:lnTo>
                    <a:pt x="95" y="70"/>
                  </a:lnTo>
                  <a:lnTo>
                    <a:pt x="92" y="75"/>
                  </a:lnTo>
                  <a:close/>
                  <a:moveTo>
                    <a:pt x="97" y="60"/>
                  </a:moveTo>
                  <a:lnTo>
                    <a:pt x="187" y="91"/>
                  </a:lnTo>
                  <a:lnTo>
                    <a:pt x="188" y="85"/>
                  </a:lnTo>
                  <a:lnTo>
                    <a:pt x="99" y="56"/>
                  </a:lnTo>
                  <a:lnTo>
                    <a:pt x="97" y="60"/>
                  </a:lnTo>
                  <a:close/>
                  <a:moveTo>
                    <a:pt x="102" y="47"/>
                  </a:moveTo>
                  <a:lnTo>
                    <a:pt x="190" y="76"/>
                  </a:lnTo>
                  <a:lnTo>
                    <a:pt x="193" y="71"/>
                  </a:lnTo>
                  <a:lnTo>
                    <a:pt x="104" y="41"/>
                  </a:lnTo>
                  <a:lnTo>
                    <a:pt x="102" y="47"/>
                  </a:lnTo>
                  <a:close/>
                  <a:moveTo>
                    <a:pt x="53" y="193"/>
                  </a:moveTo>
                  <a:lnTo>
                    <a:pt x="143" y="222"/>
                  </a:lnTo>
                  <a:lnTo>
                    <a:pt x="144" y="217"/>
                  </a:lnTo>
                  <a:lnTo>
                    <a:pt x="56" y="188"/>
                  </a:lnTo>
                  <a:lnTo>
                    <a:pt x="53" y="193"/>
                  </a:lnTo>
                  <a:close/>
                  <a:moveTo>
                    <a:pt x="58" y="178"/>
                  </a:moveTo>
                  <a:lnTo>
                    <a:pt x="148" y="207"/>
                  </a:lnTo>
                  <a:lnTo>
                    <a:pt x="149" y="202"/>
                  </a:lnTo>
                  <a:lnTo>
                    <a:pt x="61" y="173"/>
                  </a:lnTo>
                  <a:lnTo>
                    <a:pt x="58" y="178"/>
                  </a:lnTo>
                  <a:close/>
                  <a:moveTo>
                    <a:pt x="63" y="164"/>
                  </a:moveTo>
                  <a:lnTo>
                    <a:pt x="152" y="193"/>
                  </a:lnTo>
                  <a:lnTo>
                    <a:pt x="154" y="188"/>
                  </a:lnTo>
                  <a:lnTo>
                    <a:pt x="65" y="159"/>
                  </a:lnTo>
                  <a:lnTo>
                    <a:pt x="63" y="164"/>
                  </a:lnTo>
                  <a:close/>
                  <a:moveTo>
                    <a:pt x="69" y="148"/>
                  </a:moveTo>
                  <a:lnTo>
                    <a:pt x="158" y="177"/>
                  </a:lnTo>
                  <a:lnTo>
                    <a:pt x="159" y="172"/>
                  </a:lnTo>
                  <a:lnTo>
                    <a:pt x="70" y="143"/>
                  </a:lnTo>
                  <a:lnTo>
                    <a:pt x="69" y="148"/>
                  </a:lnTo>
                  <a:close/>
                  <a:moveTo>
                    <a:pt x="50" y="207"/>
                  </a:moveTo>
                  <a:lnTo>
                    <a:pt x="138" y="236"/>
                  </a:lnTo>
                  <a:lnTo>
                    <a:pt x="139" y="230"/>
                  </a:lnTo>
                  <a:lnTo>
                    <a:pt x="51" y="201"/>
                  </a:lnTo>
                  <a:lnTo>
                    <a:pt x="50" y="207"/>
                  </a:lnTo>
                  <a:close/>
                  <a:moveTo>
                    <a:pt x="177" y="272"/>
                  </a:moveTo>
                  <a:lnTo>
                    <a:pt x="0" y="213"/>
                  </a:lnTo>
                  <a:lnTo>
                    <a:pt x="72" y="0"/>
                  </a:lnTo>
                  <a:lnTo>
                    <a:pt x="216" y="47"/>
                  </a:lnTo>
                  <a:lnTo>
                    <a:pt x="235" y="98"/>
                  </a:lnTo>
                  <a:lnTo>
                    <a:pt x="177" y="27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08" name="Freeform 40"/>
            <p:cNvSpPr>
              <a:spLocks noEditPoints="1"/>
            </p:cNvSpPr>
            <p:nvPr/>
          </p:nvSpPr>
          <p:spPr bwMode="auto">
            <a:xfrm>
              <a:off x="-1804988" y="717551"/>
              <a:ext cx="141288" cy="131763"/>
            </a:xfrm>
            <a:custGeom>
              <a:avLst/>
              <a:gdLst>
                <a:gd name="T0" fmla="*/ 202 w 267"/>
                <a:gd name="T1" fmla="*/ 125 h 248"/>
                <a:gd name="T2" fmla="*/ 186 w 267"/>
                <a:gd name="T3" fmla="*/ 122 h 248"/>
                <a:gd name="T4" fmla="*/ 169 w 267"/>
                <a:gd name="T5" fmla="*/ 124 h 248"/>
                <a:gd name="T6" fmla="*/ 216 w 267"/>
                <a:gd name="T7" fmla="*/ 169 h 248"/>
                <a:gd name="T8" fmla="*/ 219 w 267"/>
                <a:gd name="T9" fmla="*/ 152 h 248"/>
                <a:gd name="T10" fmla="*/ 214 w 267"/>
                <a:gd name="T11" fmla="*/ 136 h 248"/>
                <a:gd name="T12" fmla="*/ 207 w 267"/>
                <a:gd name="T13" fmla="*/ 129 h 248"/>
                <a:gd name="T14" fmla="*/ 66 w 267"/>
                <a:gd name="T15" fmla="*/ 123 h 248"/>
                <a:gd name="T16" fmla="*/ 82 w 267"/>
                <a:gd name="T17" fmla="*/ 128 h 248"/>
                <a:gd name="T18" fmla="*/ 97 w 267"/>
                <a:gd name="T19" fmla="*/ 124 h 248"/>
                <a:gd name="T20" fmla="*/ 50 w 267"/>
                <a:gd name="T21" fmla="*/ 79 h 248"/>
                <a:gd name="T22" fmla="*/ 48 w 267"/>
                <a:gd name="T23" fmla="*/ 96 h 248"/>
                <a:gd name="T24" fmla="*/ 54 w 267"/>
                <a:gd name="T25" fmla="*/ 112 h 248"/>
                <a:gd name="T26" fmla="*/ 61 w 267"/>
                <a:gd name="T27" fmla="*/ 119 h 248"/>
                <a:gd name="T28" fmla="*/ 25 w 267"/>
                <a:gd name="T29" fmla="*/ 153 h 248"/>
                <a:gd name="T30" fmla="*/ 6 w 267"/>
                <a:gd name="T31" fmla="*/ 123 h 248"/>
                <a:gd name="T32" fmla="*/ 4 w 267"/>
                <a:gd name="T33" fmla="*/ 79 h 248"/>
                <a:gd name="T34" fmla="*/ 0 w 267"/>
                <a:gd name="T35" fmla="*/ 38 h 248"/>
                <a:gd name="T36" fmla="*/ 35 w 267"/>
                <a:gd name="T37" fmla="*/ 25 h 248"/>
                <a:gd name="T38" fmla="*/ 76 w 267"/>
                <a:gd name="T39" fmla="*/ 3 h 248"/>
                <a:gd name="T40" fmla="*/ 119 w 267"/>
                <a:gd name="T41" fmla="*/ 3 h 248"/>
                <a:gd name="T42" fmla="*/ 145 w 267"/>
                <a:gd name="T43" fmla="*/ 16 h 248"/>
                <a:gd name="T44" fmla="*/ 108 w 267"/>
                <a:gd name="T45" fmla="*/ 51 h 248"/>
                <a:gd name="T46" fmla="*/ 92 w 267"/>
                <a:gd name="T47" fmla="*/ 47 h 248"/>
                <a:gd name="T48" fmla="*/ 77 w 267"/>
                <a:gd name="T49" fmla="*/ 50 h 248"/>
                <a:gd name="T50" fmla="*/ 129 w 267"/>
                <a:gd name="T51" fmla="*/ 99 h 248"/>
                <a:gd name="T52" fmla="*/ 169 w 267"/>
                <a:gd name="T53" fmla="*/ 77 h 248"/>
                <a:gd name="T54" fmla="*/ 211 w 267"/>
                <a:gd name="T55" fmla="*/ 77 h 248"/>
                <a:gd name="T56" fmla="*/ 237 w 267"/>
                <a:gd name="T57" fmla="*/ 90 h 248"/>
                <a:gd name="T58" fmla="*/ 247 w 267"/>
                <a:gd name="T59" fmla="*/ 101 h 248"/>
                <a:gd name="T60" fmla="*/ 264 w 267"/>
                <a:gd name="T61" fmla="*/ 140 h 248"/>
                <a:gd name="T62" fmla="*/ 259 w 267"/>
                <a:gd name="T63" fmla="*/ 184 h 248"/>
                <a:gd name="T64" fmla="*/ 245 w 267"/>
                <a:gd name="T65" fmla="*/ 236 h 248"/>
                <a:gd name="T66" fmla="*/ 219 w 267"/>
                <a:gd name="T67" fmla="*/ 233 h 248"/>
                <a:gd name="T68" fmla="*/ 176 w 267"/>
                <a:gd name="T69" fmla="*/ 248 h 248"/>
                <a:gd name="T70" fmla="*/ 135 w 267"/>
                <a:gd name="T71" fmla="*/ 241 h 248"/>
                <a:gd name="T72" fmla="*/ 153 w 267"/>
                <a:gd name="T73" fmla="*/ 195 h 248"/>
                <a:gd name="T74" fmla="*/ 163 w 267"/>
                <a:gd name="T75" fmla="*/ 199 h 248"/>
                <a:gd name="T76" fmla="*/ 180 w 267"/>
                <a:gd name="T77" fmla="*/ 202 h 248"/>
                <a:gd name="T78" fmla="*/ 196 w 267"/>
                <a:gd name="T79" fmla="*/ 196 h 248"/>
                <a:gd name="T80" fmla="*/ 125 w 267"/>
                <a:gd name="T81" fmla="*/ 159 h 248"/>
                <a:gd name="T82" fmla="*/ 84 w 267"/>
                <a:gd name="T83" fmla="*/ 174 h 248"/>
                <a:gd name="T84" fmla="*/ 43 w 267"/>
                <a:gd name="T85" fmla="*/ 165 h 248"/>
                <a:gd name="T86" fmla="*/ 31 w 267"/>
                <a:gd name="T87" fmla="*/ 158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67" h="248">
                  <a:moveTo>
                    <a:pt x="207" y="129"/>
                  </a:moveTo>
                  <a:lnTo>
                    <a:pt x="207" y="129"/>
                  </a:lnTo>
                  <a:lnTo>
                    <a:pt x="202" y="125"/>
                  </a:lnTo>
                  <a:lnTo>
                    <a:pt x="197" y="123"/>
                  </a:lnTo>
                  <a:lnTo>
                    <a:pt x="191" y="122"/>
                  </a:lnTo>
                  <a:lnTo>
                    <a:pt x="186" y="122"/>
                  </a:lnTo>
                  <a:lnTo>
                    <a:pt x="180" y="122"/>
                  </a:lnTo>
                  <a:lnTo>
                    <a:pt x="174" y="123"/>
                  </a:lnTo>
                  <a:lnTo>
                    <a:pt x="169" y="124"/>
                  </a:lnTo>
                  <a:lnTo>
                    <a:pt x="164" y="127"/>
                  </a:lnTo>
                  <a:lnTo>
                    <a:pt x="216" y="169"/>
                  </a:lnTo>
                  <a:lnTo>
                    <a:pt x="216" y="169"/>
                  </a:lnTo>
                  <a:lnTo>
                    <a:pt x="219" y="164"/>
                  </a:lnTo>
                  <a:lnTo>
                    <a:pt x="219" y="158"/>
                  </a:lnTo>
                  <a:lnTo>
                    <a:pt x="219" y="152"/>
                  </a:lnTo>
                  <a:lnTo>
                    <a:pt x="217" y="147"/>
                  </a:lnTo>
                  <a:lnTo>
                    <a:pt x="216" y="142"/>
                  </a:lnTo>
                  <a:lnTo>
                    <a:pt x="214" y="136"/>
                  </a:lnTo>
                  <a:lnTo>
                    <a:pt x="210" y="133"/>
                  </a:lnTo>
                  <a:lnTo>
                    <a:pt x="207" y="129"/>
                  </a:lnTo>
                  <a:lnTo>
                    <a:pt x="207" y="129"/>
                  </a:lnTo>
                  <a:close/>
                  <a:moveTo>
                    <a:pt x="61" y="119"/>
                  </a:moveTo>
                  <a:lnTo>
                    <a:pt x="61" y="119"/>
                  </a:lnTo>
                  <a:lnTo>
                    <a:pt x="66" y="123"/>
                  </a:lnTo>
                  <a:lnTo>
                    <a:pt x="71" y="125"/>
                  </a:lnTo>
                  <a:lnTo>
                    <a:pt x="76" y="127"/>
                  </a:lnTo>
                  <a:lnTo>
                    <a:pt x="82" y="128"/>
                  </a:lnTo>
                  <a:lnTo>
                    <a:pt x="86" y="127"/>
                  </a:lnTo>
                  <a:lnTo>
                    <a:pt x="92" y="127"/>
                  </a:lnTo>
                  <a:lnTo>
                    <a:pt x="97" y="124"/>
                  </a:lnTo>
                  <a:lnTo>
                    <a:pt x="103" y="122"/>
                  </a:lnTo>
                  <a:lnTo>
                    <a:pt x="50" y="79"/>
                  </a:lnTo>
                  <a:lnTo>
                    <a:pt x="50" y="79"/>
                  </a:lnTo>
                  <a:lnTo>
                    <a:pt x="49" y="84"/>
                  </a:lnTo>
                  <a:lnTo>
                    <a:pt x="48" y="90"/>
                  </a:lnTo>
                  <a:lnTo>
                    <a:pt x="48" y="96"/>
                  </a:lnTo>
                  <a:lnTo>
                    <a:pt x="49" y="101"/>
                  </a:lnTo>
                  <a:lnTo>
                    <a:pt x="51" y="107"/>
                  </a:lnTo>
                  <a:lnTo>
                    <a:pt x="54" y="112"/>
                  </a:lnTo>
                  <a:lnTo>
                    <a:pt x="57" y="116"/>
                  </a:lnTo>
                  <a:lnTo>
                    <a:pt x="61" y="119"/>
                  </a:lnTo>
                  <a:lnTo>
                    <a:pt x="61" y="119"/>
                  </a:lnTo>
                  <a:close/>
                  <a:moveTo>
                    <a:pt x="31" y="158"/>
                  </a:moveTo>
                  <a:lnTo>
                    <a:pt x="31" y="158"/>
                  </a:lnTo>
                  <a:lnTo>
                    <a:pt x="25" y="153"/>
                  </a:lnTo>
                  <a:lnTo>
                    <a:pt x="20" y="147"/>
                  </a:lnTo>
                  <a:lnTo>
                    <a:pt x="12" y="136"/>
                  </a:lnTo>
                  <a:lnTo>
                    <a:pt x="6" y="123"/>
                  </a:lnTo>
                  <a:lnTo>
                    <a:pt x="3" y="108"/>
                  </a:lnTo>
                  <a:lnTo>
                    <a:pt x="3" y="94"/>
                  </a:lnTo>
                  <a:lnTo>
                    <a:pt x="4" y="79"/>
                  </a:lnTo>
                  <a:lnTo>
                    <a:pt x="9" y="65"/>
                  </a:lnTo>
                  <a:lnTo>
                    <a:pt x="15" y="50"/>
                  </a:lnTo>
                  <a:lnTo>
                    <a:pt x="0" y="38"/>
                  </a:lnTo>
                  <a:lnTo>
                    <a:pt x="21" y="13"/>
                  </a:lnTo>
                  <a:lnTo>
                    <a:pt x="35" y="25"/>
                  </a:lnTo>
                  <a:lnTo>
                    <a:pt x="35" y="25"/>
                  </a:lnTo>
                  <a:lnTo>
                    <a:pt x="49" y="15"/>
                  </a:lnTo>
                  <a:lnTo>
                    <a:pt x="62" y="8"/>
                  </a:lnTo>
                  <a:lnTo>
                    <a:pt x="76" y="3"/>
                  </a:lnTo>
                  <a:lnTo>
                    <a:pt x="90" y="0"/>
                  </a:lnTo>
                  <a:lnTo>
                    <a:pt x="105" y="0"/>
                  </a:lnTo>
                  <a:lnTo>
                    <a:pt x="119" y="3"/>
                  </a:lnTo>
                  <a:lnTo>
                    <a:pt x="133" y="8"/>
                  </a:lnTo>
                  <a:lnTo>
                    <a:pt x="139" y="11"/>
                  </a:lnTo>
                  <a:lnTo>
                    <a:pt x="145" y="16"/>
                  </a:lnTo>
                  <a:lnTo>
                    <a:pt x="113" y="54"/>
                  </a:lnTo>
                  <a:lnTo>
                    <a:pt x="113" y="54"/>
                  </a:lnTo>
                  <a:lnTo>
                    <a:pt x="108" y="51"/>
                  </a:lnTo>
                  <a:lnTo>
                    <a:pt x="103" y="49"/>
                  </a:lnTo>
                  <a:lnTo>
                    <a:pt x="99" y="48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2" y="48"/>
                  </a:lnTo>
                  <a:lnTo>
                    <a:pt x="77" y="50"/>
                  </a:lnTo>
                  <a:lnTo>
                    <a:pt x="71" y="53"/>
                  </a:lnTo>
                  <a:lnTo>
                    <a:pt x="129" y="99"/>
                  </a:lnTo>
                  <a:lnTo>
                    <a:pt x="129" y="99"/>
                  </a:lnTo>
                  <a:lnTo>
                    <a:pt x="141" y="89"/>
                  </a:lnTo>
                  <a:lnTo>
                    <a:pt x="154" y="82"/>
                  </a:lnTo>
                  <a:lnTo>
                    <a:pt x="169" y="77"/>
                  </a:lnTo>
                  <a:lnTo>
                    <a:pt x="183" y="74"/>
                  </a:lnTo>
                  <a:lnTo>
                    <a:pt x="197" y="74"/>
                  </a:lnTo>
                  <a:lnTo>
                    <a:pt x="211" y="77"/>
                  </a:lnTo>
                  <a:lnTo>
                    <a:pt x="225" y="83"/>
                  </a:lnTo>
                  <a:lnTo>
                    <a:pt x="231" y="87"/>
                  </a:lnTo>
                  <a:lnTo>
                    <a:pt x="237" y="90"/>
                  </a:lnTo>
                  <a:lnTo>
                    <a:pt x="237" y="90"/>
                  </a:lnTo>
                  <a:lnTo>
                    <a:pt x="242" y="95"/>
                  </a:lnTo>
                  <a:lnTo>
                    <a:pt x="247" y="101"/>
                  </a:lnTo>
                  <a:lnTo>
                    <a:pt x="255" y="112"/>
                  </a:lnTo>
                  <a:lnTo>
                    <a:pt x="260" y="125"/>
                  </a:lnTo>
                  <a:lnTo>
                    <a:pt x="264" y="140"/>
                  </a:lnTo>
                  <a:lnTo>
                    <a:pt x="265" y="155"/>
                  </a:lnTo>
                  <a:lnTo>
                    <a:pt x="262" y="169"/>
                  </a:lnTo>
                  <a:lnTo>
                    <a:pt x="259" y="184"/>
                  </a:lnTo>
                  <a:lnTo>
                    <a:pt x="251" y="198"/>
                  </a:lnTo>
                  <a:lnTo>
                    <a:pt x="267" y="210"/>
                  </a:lnTo>
                  <a:lnTo>
                    <a:pt x="245" y="236"/>
                  </a:lnTo>
                  <a:lnTo>
                    <a:pt x="231" y="224"/>
                  </a:lnTo>
                  <a:lnTo>
                    <a:pt x="231" y="224"/>
                  </a:lnTo>
                  <a:lnTo>
                    <a:pt x="219" y="233"/>
                  </a:lnTo>
                  <a:lnTo>
                    <a:pt x="205" y="241"/>
                  </a:lnTo>
                  <a:lnTo>
                    <a:pt x="191" y="246"/>
                  </a:lnTo>
                  <a:lnTo>
                    <a:pt x="176" y="248"/>
                  </a:lnTo>
                  <a:lnTo>
                    <a:pt x="162" y="248"/>
                  </a:lnTo>
                  <a:lnTo>
                    <a:pt x="148" y="246"/>
                  </a:lnTo>
                  <a:lnTo>
                    <a:pt x="135" y="241"/>
                  </a:lnTo>
                  <a:lnTo>
                    <a:pt x="129" y="237"/>
                  </a:lnTo>
                  <a:lnTo>
                    <a:pt x="123" y="232"/>
                  </a:lnTo>
                  <a:lnTo>
                    <a:pt x="153" y="195"/>
                  </a:lnTo>
                  <a:lnTo>
                    <a:pt x="153" y="195"/>
                  </a:lnTo>
                  <a:lnTo>
                    <a:pt x="158" y="197"/>
                  </a:lnTo>
                  <a:lnTo>
                    <a:pt x="163" y="199"/>
                  </a:lnTo>
                  <a:lnTo>
                    <a:pt x="168" y="201"/>
                  </a:lnTo>
                  <a:lnTo>
                    <a:pt x="174" y="202"/>
                  </a:lnTo>
                  <a:lnTo>
                    <a:pt x="180" y="202"/>
                  </a:lnTo>
                  <a:lnTo>
                    <a:pt x="185" y="201"/>
                  </a:lnTo>
                  <a:lnTo>
                    <a:pt x="191" y="198"/>
                  </a:lnTo>
                  <a:lnTo>
                    <a:pt x="196" y="196"/>
                  </a:lnTo>
                  <a:lnTo>
                    <a:pt x="139" y="150"/>
                  </a:lnTo>
                  <a:lnTo>
                    <a:pt x="139" y="150"/>
                  </a:lnTo>
                  <a:lnTo>
                    <a:pt x="125" y="159"/>
                  </a:lnTo>
                  <a:lnTo>
                    <a:pt x="112" y="167"/>
                  </a:lnTo>
                  <a:lnTo>
                    <a:pt x="99" y="171"/>
                  </a:lnTo>
                  <a:lnTo>
                    <a:pt x="84" y="174"/>
                  </a:lnTo>
                  <a:lnTo>
                    <a:pt x="69" y="174"/>
                  </a:lnTo>
                  <a:lnTo>
                    <a:pt x="56" y="171"/>
                  </a:lnTo>
                  <a:lnTo>
                    <a:pt x="43" y="165"/>
                  </a:lnTo>
                  <a:lnTo>
                    <a:pt x="37" y="162"/>
                  </a:lnTo>
                  <a:lnTo>
                    <a:pt x="31" y="158"/>
                  </a:lnTo>
                  <a:lnTo>
                    <a:pt x="31" y="1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09" name="Freeform 41"/>
            <p:cNvSpPr/>
            <p:nvPr/>
          </p:nvSpPr>
          <p:spPr bwMode="auto">
            <a:xfrm>
              <a:off x="-1873250" y="812801"/>
              <a:ext cx="131763" cy="134938"/>
            </a:xfrm>
            <a:custGeom>
              <a:avLst/>
              <a:gdLst>
                <a:gd name="T0" fmla="*/ 16 w 248"/>
                <a:gd name="T1" fmla="*/ 219 h 255"/>
                <a:gd name="T2" fmla="*/ 0 w 248"/>
                <a:gd name="T3" fmla="*/ 126 h 255"/>
                <a:gd name="T4" fmla="*/ 127 w 248"/>
                <a:gd name="T5" fmla="*/ 173 h 255"/>
                <a:gd name="T6" fmla="*/ 182 w 248"/>
                <a:gd name="T7" fmla="*/ 0 h 255"/>
                <a:gd name="T8" fmla="*/ 248 w 248"/>
                <a:gd name="T9" fmla="*/ 23 h 255"/>
                <a:gd name="T10" fmla="*/ 248 w 248"/>
                <a:gd name="T11" fmla="*/ 23 h 255"/>
                <a:gd name="T12" fmla="*/ 230 w 248"/>
                <a:gd name="T13" fmla="*/ 93 h 255"/>
                <a:gd name="T14" fmla="*/ 213 w 248"/>
                <a:gd name="T15" fmla="*/ 155 h 255"/>
                <a:gd name="T16" fmla="*/ 196 w 248"/>
                <a:gd name="T17" fmla="*/ 211 h 255"/>
                <a:gd name="T18" fmla="*/ 196 w 248"/>
                <a:gd name="T19" fmla="*/ 211 h 255"/>
                <a:gd name="T20" fmla="*/ 192 w 248"/>
                <a:gd name="T21" fmla="*/ 222 h 255"/>
                <a:gd name="T22" fmla="*/ 187 w 248"/>
                <a:gd name="T23" fmla="*/ 230 h 255"/>
                <a:gd name="T24" fmla="*/ 184 w 248"/>
                <a:gd name="T25" fmla="*/ 238 h 255"/>
                <a:gd name="T26" fmla="*/ 179 w 248"/>
                <a:gd name="T27" fmla="*/ 244 h 255"/>
                <a:gd name="T28" fmla="*/ 174 w 248"/>
                <a:gd name="T29" fmla="*/ 247 h 255"/>
                <a:gd name="T30" fmla="*/ 169 w 248"/>
                <a:gd name="T31" fmla="*/ 251 h 255"/>
                <a:gd name="T32" fmla="*/ 164 w 248"/>
                <a:gd name="T33" fmla="*/ 253 h 255"/>
                <a:gd name="T34" fmla="*/ 159 w 248"/>
                <a:gd name="T35" fmla="*/ 255 h 255"/>
                <a:gd name="T36" fmla="*/ 151 w 248"/>
                <a:gd name="T37" fmla="*/ 255 h 255"/>
                <a:gd name="T38" fmla="*/ 144 w 248"/>
                <a:gd name="T39" fmla="*/ 252 h 255"/>
                <a:gd name="T40" fmla="*/ 138 w 248"/>
                <a:gd name="T41" fmla="*/ 250 h 255"/>
                <a:gd name="T42" fmla="*/ 16 w 248"/>
                <a:gd name="T43" fmla="*/ 219 h 2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8" h="255">
                  <a:moveTo>
                    <a:pt x="16" y="219"/>
                  </a:moveTo>
                  <a:lnTo>
                    <a:pt x="0" y="126"/>
                  </a:lnTo>
                  <a:lnTo>
                    <a:pt x="127" y="173"/>
                  </a:lnTo>
                  <a:lnTo>
                    <a:pt x="182" y="0"/>
                  </a:lnTo>
                  <a:lnTo>
                    <a:pt x="248" y="23"/>
                  </a:lnTo>
                  <a:lnTo>
                    <a:pt x="248" y="23"/>
                  </a:lnTo>
                  <a:lnTo>
                    <a:pt x="230" y="93"/>
                  </a:lnTo>
                  <a:lnTo>
                    <a:pt x="213" y="155"/>
                  </a:lnTo>
                  <a:lnTo>
                    <a:pt x="196" y="211"/>
                  </a:lnTo>
                  <a:lnTo>
                    <a:pt x="196" y="211"/>
                  </a:lnTo>
                  <a:lnTo>
                    <a:pt x="192" y="222"/>
                  </a:lnTo>
                  <a:lnTo>
                    <a:pt x="187" y="230"/>
                  </a:lnTo>
                  <a:lnTo>
                    <a:pt x="184" y="238"/>
                  </a:lnTo>
                  <a:lnTo>
                    <a:pt x="179" y="244"/>
                  </a:lnTo>
                  <a:lnTo>
                    <a:pt x="174" y="247"/>
                  </a:lnTo>
                  <a:lnTo>
                    <a:pt x="169" y="251"/>
                  </a:lnTo>
                  <a:lnTo>
                    <a:pt x="164" y="253"/>
                  </a:lnTo>
                  <a:lnTo>
                    <a:pt x="159" y="255"/>
                  </a:lnTo>
                  <a:lnTo>
                    <a:pt x="151" y="255"/>
                  </a:lnTo>
                  <a:lnTo>
                    <a:pt x="144" y="252"/>
                  </a:lnTo>
                  <a:lnTo>
                    <a:pt x="138" y="250"/>
                  </a:lnTo>
                  <a:lnTo>
                    <a:pt x="16" y="2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0" name="Freeform 42"/>
            <p:cNvSpPr>
              <a:spLocks noEditPoints="1"/>
            </p:cNvSpPr>
            <p:nvPr/>
          </p:nvSpPr>
          <p:spPr bwMode="auto">
            <a:xfrm>
              <a:off x="-2208213" y="825501"/>
              <a:ext cx="447675" cy="547688"/>
            </a:xfrm>
            <a:custGeom>
              <a:avLst/>
              <a:gdLst>
                <a:gd name="T0" fmla="*/ 371 w 848"/>
                <a:gd name="T1" fmla="*/ 230 h 1034"/>
                <a:gd name="T2" fmla="*/ 478 w 848"/>
                <a:gd name="T3" fmla="*/ 252 h 1034"/>
                <a:gd name="T4" fmla="*/ 352 w 848"/>
                <a:gd name="T5" fmla="*/ 1034 h 1034"/>
                <a:gd name="T6" fmla="*/ 337 w 848"/>
                <a:gd name="T7" fmla="*/ 875 h 1034"/>
                <a:gd name="T8" fmla="*/ 323 w 848"/>
                <a:gd name="T9" fmla="*/ 682 h 1034"/>
                <a:gd name="T10" fmla="*/ 319 w 848"/>
                <a:gd name="T11" fmla="*/ 633 h 1034"/>
                <a:gd name="T12" fmla="*/ 318 w 848"/>
                <a:gd name="T13" fmla="*/ 511 h 1034"/>
                <a:gd name="T14" fmla="*/ 319 w 848"/>
                <a:gd name="T15" fmla="*/ 155 h 1034"/>
                <a:gd name="T16" fmla="*/ 239 w 848"/>
                <a:gd name="T17" fmla="*/ 292 h 1034"/>
                <a:gd name="T18" fmla="*/ 234 w 848"/>
                <a:gd name="T19" fmla="*/ 298 h 1034"/>
                <a:gd name="T20" fmla="*/ 222 w 848"/>
                <a:gd name="T21" fmla="*/ 305 h 1034"/>
                <a:gd name="T22" fmla="*/ 203 w 848"/>
                <a:gd name="T23" fmla="*/ 310 h 1034"/>
                <a:gd name="T24" fmla="*/ 189 w 848"/>
                <a:gd name="T25" fmla="*/ 311 h 1034"/>
                <a:gd name="T26" fmla="*/ 0 w 848"/>
                <a:gd name="T27" fmla="*/ 248 h 1034"/>
                <a:gd name="T28" fmla="*/ 172 w 848"/>
                <a:gd name="T29" fmla="*/ 248 h 1034"/>
                <a:gd name="T30" fmla="*/ 269 w 848"/>
                <a:gd name="T31" fmla="*/ 85 h 1034"/>
                <a:gd name="T32" fmla="*/ 284 w 848"/>
                <a:gd name="T33" fmla="*/ 65 h 1034"/>
                <a:gd name="T34" fmla="*/ 301 w 848"/>
                <a:gd name="T35" fmla="*/ 48 h 1034"/>
                <a:gd name="T36" fmla="*/ 319 w 848"/>
                <a:gd name="T37" fmla="*/ 33 h 1034"/>
                <a:gd name="T38" fmla="*/ 338 w 848"/>
                <a:gd name="T39" fmla="*/ 21 h 1034"/>
                <a:gd name="T40" fmla="*/ 360 w 848"/>
                <a:gd name="T41" fmla="*/ 13 h 1034"/>
                <a:gd name="T42" fmla="*/ 405 w 848"/>
                <a:gd name="T43" fmla="*/ 3 h 1034"/>
                <a:gd name="T44" fmla="*/ 429 w 848"/>
                <a:gd name="T45" fmla="*/ 0 h 1034"/>
                <a:gd name="T46" fmla="*/ 461 w 848"/>
                <a:gd name="T47" fmla="*/ 3 h 1034"/>
                <a:gd name="T48" fmla="*/ 486 w 848"/>
                <a:gd name="T49" fmla="*/ 7 h 1034"/>
                <a:gd name="T50" fmla="*/ 525 w 848"/>
                <a:gd name="T51" fmla="*/ 17 h 1034"/>
                <a:gd name="T52" fmla="*/ 550 w 848"/>
                <a:gd name="T53" fmla="*/ 28 h 1034"/>
                <a:gd name="T54" fmla="*/ 573 w 848"/>
                <a:gd name="T55" fmla="*/ 42 h 1034"/>
                <a:gd name="T56" fmla="*/ 593 w 848"/>
                <a:gd name="T57" fmla="*/ 59 h 1034"/>
                <a:gd name="T58" fmla="*/ 609 w 848"/>
                <a:gd name="T59" fmla="*/ 79 h 1034"/>
                <a:gd name="T60" fmla="*/ 620 w 848"/>
                <a:gd name="T61" fmla="*/ 104 h 1034"/>
                <a:gd name="T62" fmla="*/ 624 w 848"/>
                <a:gd name="T63" fmla="*/ 117 h 1034"/>
                <a:gd name="T64" fmla="*/ 648 w 848"/>
                <a:gd name="T65" fmla="*/ 248 h 1034"/>
                <a:gd name="T66" fmla="*/ 826 w 848"/>
                <a:gd name="T67" fmla="*/ 383 h 1034"/>
                <a:gd name="T68" fmla="*/ 626 w 848"/>
                <a:gd name="T69" fmla="*/ 322 h 1034"/>
                <a:gd name="T70" fmla="*/ 616 w 848"/>
                <a:gd name="T71" fmla="*/ 316 h 1034"/>
                <a:gd name="T72" fmla="*/ 604 w 848"/>
                <a:gd name="T73" fmla="*/ 306 h 1034"/>
                <a:gd name="T74" fmla="*/ 592 w 848"/>
                <a:gd name="T75" fmla="*/ 288 h 1034"/>
                <a:gd name="T76" fmla="*/ 587 w 848"/>
                <a:gd name="T77" fmla="*/ 276 h 1034"/>
                <a:gd name="T78" fmla="*/ 579 w 848"/>
                <a:gd name="T79" fmla="*/ 243 h 1034"/>
                <a:gd name="T80" fmla="*/ 563 w 848"/>
                <a:gd name="T81" fmla="*/ 155 h 1034"/>
                <a:gd name="T82" fmla="*/ 560 w 848"/>
                <a:gd name="T83" fmla="*/ 199 h 1034"/>
                <a:gd name="T84" fmla="*/ 558 w 848"/>
                <a:gd name="T85" fmla="*/ 317 h 1034"/>
                <a:gd name="T86" fmla="*/ 559 w 848"/>
                <a:gd name="T87" fmla="*/ 338 h 1034"/>
                <a:gd name="T88" fmla="*/ 568 w 848"/>
                <a:gd name="T89" fmla="*/ 418 h 1034"/>
                <a:gd name="T90" fmla="*/ 597 w 848"/>
                <a:gd name="T91" fmla="*/ 637 h 1034"/>
                <a:gd name="T92" fmla="*/ 610 w 848"/>
                <a:gd name="T93" fmla="*/ 766 h 1034"/>
                <a:gd name="T94" fmla="*/ 614 w 848"/>
                <a:gd name="T95" fmla="*/ 853 h 1034"/>
                <a:gd name="T96" fmla="*/ 615 w 848"/>
                <a:gd name="T97" fmla="*/ 1034 h 1034"/>
                <a:gd name="T98" fmla="*/ 539 w 848"/>
                <a:gd name="T99" fmla="*/ 1034 h 1034"/>
                <a:gd name="T100" fmla="*/ 534 w 848"/>
                <a:gd name="T101" fmla="*/ 927 h 1034"/>
                <a:gd name="T102" fmla="*/ 523 w 848"/>
                <a:gd name="T103" fmla="*/ 781 h 1034"/>
                <a:gd name="T104" fmla="*/ 512 w 848"/>
                <a:gd name="T105" fmla="*/ 698 h 1034"/>
                <a:gd name="T106" fmla="*/ 500 w 848"/>
                <a:gd name="T107" fmla="*/ 617 h 1034"/>
                <a:gd name="T108" fmla="*/ 483 w 848"/>
                <a:gd name="T109" fmla="*/ 542 h 1034"/>
                <a:gd name="T110" fmla="*/ 445 w 848"/>
                <a:gd name="T111" fmla="*/ 408 h 1034"/>
                <a:gd name="T112" fmla="*/ 437 w 848"/>
                <a:gd name="T113" fmla="*/ 448 h 1034"/>
                <a:gd name="T114" fmla="*/ 426 w 848"/>
                <a:gd name="T115" fmla="*/ 516 h 1034"/>
                <a:gd name="T116" fmla="*/ 419 w 848"/>
                <a:gd name="T117" fmla="*/ 612 h 1034"/>
                <a:gd name="T118" fmla="*/ 417 w 848"/>
                <a:gd name="T119" fmla="*/ 669 h 1034"/>
                <a:gd name="T120" fmla="*/ 352 w 848"/>
                <a:gd name="T121" fmla="*/ 1034 h 10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848" h="1034">
                  <a:moveTo>
                    <a:pt x="468" y="21"/>
                  </a:moveTo>
                  <a:lnTo>
                    <a:pt x="371" y="230"/>
                  </a:lnTo>
                  <a:lnTo>
                    <a:pt x="408" y="323"/>
                  </a:lnTo>
                  <a:lnTo>
                    <a:pt x="478" y="252"/>
                  </a:lnTo>
                  <a:lnTo>
                    <a:pt x="468" y="21"/>
                  </a:lnTo>
                  <a:close/>
                  <a:moveTo>
                    <a:pt x="352" y="1034"/>
                  </a:moveTo>
                  <a:lnTo>
                    <a:pt x="352" y="1034"/>
                  </a:lnTo>
                  <a:lnTo>
                    <a:pt x="337" y="875"/>
                  </a:lnTo>
                  <a:lnTo>
                    <a:pt x="326" y="743"/>
                  </a:lnTo>
                  <a:lnTo>
                    <a:pt x="323" y="682"/>
                  </a:lnTo>
                  <a:lnTo>
                    <a:pt x="319" y="633"/>
                  </a:lnTo>
                  <a:lnTo>
                    <a:pt x="319" y="633"/>
                  </a:lnTo>
                  <a:lnTo>
                    <a:pt x="318" y="579"/>
                  </a:lnTo>
                  <a:lnTo>
                    <a:pt x="318" y="511"/>
                  </a:lnTo>
                  <a:lnTo>
                    <a:pt x="318" y="352"/>
                  </a:lnTo>
                  <a:lnTo>
                    <a:pt x="319" y="155"/>
                  </a:lnTo>
                  <a:lnTo>
                    <a:pt x="239" y="292"/>
                  </a:lnTo>
                  <a:lnTo>
                    <a:pt x="239" y="292"/>
                  </a:lnTo>
                  <a:lnTo>
                    <a:pt x="237" y="294"/>
                  </a:lnTo>
                  <a:lnTo>
                    <a:pt x="234" y="298"/>
                  </a:lnTo>
                  <a:lnTo>
                    <a:pt x="229" y="301"/>
                  </a:lnTo>
                  <a:lnTo>
                    <a:pt x="222" y="305"/>
                  </a:lnTo>
                  <a:lnTo>
                    <a:pt x="213" y="307"/>
                  </a:lnTo>
                  <a:lnTo>
                    <a:pt x="203" y="310"/>
                  </a:lnTo>
                  <a:lnTo>
                    <a:pt x="189" y="311"/>
                  </a:lnTo>
                  <a:lnTo>
                    <a:pt x="189" y="311"/>
                  </a:lnTo>
                  <a:lnTo>
                    <a:pt x="0" y="311"/>
                  </a:lnTo>
                  <a:lnTo>
                    <a:pt x="0" y="248"/>
                  </a:lnTo>
                  <a:lnTo>
                    <a:pt x="172" y="248"/>
                  </a:lnTo>
                  <a:lnTo>
                    <a:pt x="172" y="248"/>
                  </a:lnTo>
                  <a:lnTo>
                    <a:pt x="269" y="85"/>
                  </a:lnTo>
                  <a:lnTo>
                    <a:pt x="269" y="85"/>
                  </a:lnTo>
                  <a:lnTo>
                    <a:pt x="277" y="74"/>
                  </a:lnTo>
                  <a:lnTo>
                    <a:pt x="284" y="65"/>
                  </a:lnTo>
                  <a:lnTo>
                    <a:pt x="292" y="56"/>
                  </a:lnTo>
                  <a:lnTo>
                    <a:pt x="301" y="48"/>
                  </a:lnTo>
                  <a:lnTo>
                    <a:pt x="309" y="39"/>
                  </a:lnTo>
                  <a:lnTo>
                    <a:pt x="319" y="33"/>
                  </a:lnTo>
                  <a:lnTo>
                    <a:pt x="329" y="27"/>
                  </a:lnTo>
                  <a:lnTo>
                    <a:pt x="338" y="21"/>
                  </a:lnTo>
                  <a:lnTo>
                    <a:pt x="349" y="16"/>
                  </a:lnTo>
                  <a:lnTo>
                    <a:pt x="360" y="13"/>
                  </a:lnTo>
                  <a:lnTo>
                    <a:pt x="382" y="7"/>
                  </a:lnTo>
                  <a:lnTo>
                    <a:pt x="405" y="3"/>
                  </a:lnTo>
                  <a:lnTo>
                    <a:pt x="429" y="0"/>
                  </a:lnTo>
                  <a:lnTo>
                    <a:pt x="429" y="0"/>
                  </a:lnTo>
                  <a:lnTo>
                    <a:pt x="445" y="2"/>
                  </a:lnTo>
                  <a:lnTo>
                    <a:pt x="461" y="3"/>
                  </a:lnTo>
                  <a:lnTo>
                    <a:pt x="461" y="3"/>
                  </a:lnTo>
                  <a:lnTo>
                    <a:pt x="486" y="7"/>
                  </a:lnTo>
                  <a:lnTo>
                    <a:pt x="512" y="13"/>
                  </a:lnTo>
                  <a:lnTo>
                    <a:pt x="525" y="17"/>
                  </a:lnTo>
                  <a:lnTo>
                    <a:pt x="537" y="22"/>
                  </a:lnTo>
                  <a:lnTo>
                    <a:pt x="550" y="28"/>
                  </a:lnTo>
                  <a:lnTo>
                    <a:pt x="562" y="34"/>
                  </a:lnTo>
                  <a:lnTo>
                    <a:pt x="573" y="42"/>
                  </a:lnTo>
                  <a:lnTo>
                    <a:pt x="584" y="50"/>
                  </a:lnTo>
                  <a:lnTo>
                    <a:pt x="593" y="59"/>
                  </a:lnTo>
                  <a:lnTo>
                    <a:pt x="602" y="68"/>
                  </a:lnTo>
                  <a:lnTo>
                    <a:pt x="609" y="79"/>
                  </a:lnTo>
                  <a:lnTo>
                    <a:pt x="615" y="91"/>
                  </a:lnTo>
                  <a:lnTo>
                    <a:pt x="620" y="104"/>
                  </a:lnTo>
                  <a:lnTo>
                    <a:pt x="624" y="117"/>
                  </a:lnTo>
                  <a:lnTo>
                    <a:pt x="624" y="117"/>
                  </a:lnTo>
                  <a:lnTo>
                    <a:pt x="643" y="224"/>
                  </a:lnTo>
                  <a:lnTo>
                    <a:pt x="648" y="248"/>
                  </a:lnTo>
                  <a:lnTo>
                    <a:pt x="848" y="324"/>
                  </a:lnTo>
                  <a:lnTo>
                    <a:pt x="826" y="383"/>
                  </a:lnTo>
                  <a:lnTo>
                    <a:pt x="626" y="322"/>
                  </a:lnTo>
                  <a:lnTo>
                    <a:pt x="626" y="322"/>
                  </a:lnTo>
                  <a:lnTo>
                    <a:pt x="621" y="320"/>
                  </a:lnTo>
                  <a:lnTo>
                    <a:pt x="616" y="316"/>
                  </a:lnTo>
                  <a:lnTo>
                    <a:pt x="610" y="312"/>
                  </a:lnTo>
                  <a:lnTo>
                    <a:pt x="604" y="306"/>
                  </a:lnTo>
                  <a:lnTo>
                    <a:pt x="598" y="298"/>
                  </a:lnTo>
                  <a:lnTo>
                    <a:pt x="592" y="288"/>
                  </a:lnTo>
                  <a:lnTo>
                    <a:pt x="587" y="276"/>
                  </a:lnTo>
                  <a:lnTo>
                    <a:pt x="587" y="276"/>
                  </a:lnTo>
                  <a:lnTo>
                    <a:pt x="582" y="261"/>
                  </a:lnTo>
                  <a:lnTo>
                    <a:pt x="579" y="243"/>
                  </a:lnTo>
                  <a:lnTo>
                    <a:pt x="571" y="203"/>
                  </a:lnTo>
                  <a:lnTo>
                    <a:pt x="563" y="155"/>
                  </a:lnTo>
                  <a:lnTo>
                    <a:pt x="563" y="155"/>
                  </a:lnTo>
                  <a:lnTo>
                    <a:pt x="560" y="199"/>
                  </a:lnTo>
                  <a:lnTo>
                    <a:pt x="559" y="250"/>
                  </a:lnTo>
                  <a:lnTo>
                    <a:pt x="558" y="317"/>
                  </a:lnTo>
                  <a:lnTo>
                    <a:pt x="558" y="317"/>
                  </a:lnTo>
                  <a:lnTo>
                    <a:pt x="559" y="338"/>
                  </a:lnTo>
                  <a:lnTo>
                    <a:pt x="560" y="361"/>
                  </a:lnTo>
                  <a:lnTo>
                    <a:pt x="568" y="418"/>
                  </a:lnTo>
                  <a:lnTo>
                    <a:pt x="587" y="557"/>
                  </a:lnTo>
                  <a:lnTo>
                    <a:pt x="597" y="637"/>
                  </a:lnTo>
                  <a:lnTo>
                    <a:pt x="607" y="722"/>
                  </a:lnTo>
                  <a:lnTo>
                    <a:pt x="610" y="766"/>
                  </a:lnTo>
                  <a:lnTo>
                    <a:pt x="613" y="810"/>
                  </a:lnTo>
                  <a:lnTo>
                    <a:pt x="614" y="853"/>
                  </a:lnTo>
                  <a:lnTo>
                    <a:pt x="615" y="897"/>
                  </a:lnTo>
                  <a:lnTo>
                    <a:pt x="615" y="1034"/>
                  </a:lnTo>
                  <a:lnTo>
                    <a:pt x="539" y="1034"/>
                  </a:lnTo>
                  <a:lnTo>
                    <a:pt x="539" y="1034"/>
                  </a:lnTo>
                  <a:lnTo>
                    <a:pt x="537" y="983"/>
                  </a:lnTo>
                  <a:lnTo>
                    <a:pt x="534" y="927"/>
                  </a:lnTo>
                  <a:lnTo>
                    <a:pt x="529" y="858"/>
                  </a:lnTo>
                  <a:lnTo>
                    <a:pt x="523" y="781"/>
                  </a:lnTo>
                  <a:lnTo>
                    <a:pt x="518" y="739"/>
                  </a:lnTo>
                  <a:lnTo>
                    <a:pt x="512" y="698"/>
                  </a:lnTo>
                  <a:lnTo>
                    <a:pt x="506" y="657"/>
                  </a:lnTo>
                  <a:lnTo>
                    <a:pt x="500" y="617"/>
                  </a:lnTo>
                  <a:lnTo>
                    <a:pt x="491" y="578"/>
                  </a:lnTo>
                  <a:lnTo>
                    <a:pt x="483" y="542"/>
                  </a:lnTo>
                  <a:lnTo>
                    <a:pt x="445" y="408"/>
                  </a:lnTo>
                  <a:lnTo>
                    <a:pt x="445" y="408"/>
                  </a:lnTo>
                  <a:lnTo>
                    <a:pt x="442" y="426"/>
                  </a:lnTo>
                  <a:lnTo>
                    <a:pt x="437" y="448"/>
                  </a:lnTo>
                  <a:lnTo>
                    <a:pt x="432" y="479"/>
                  </a:lnTo>
                  <a:lnTo>
                    <a:pt x="426" y="516"/>
                  </a:lnTo>
                  <a:lnTo>
                    <a:pt x="422" y="561"/>
                  </a:lnTo>
                  <a:lnTo>
                    <a:pt x="419" y="612"/>
                  </a:lnTo>
                  <a:lnTo>
                    <a:pt x="417" y="669"/>
                  </a:lnTo>
                  <a:lnTo>
                    <a:pt x="417" y="669"/>
                  </a:lnTo>
                  <a:lnTo>
                    <a:pt x="417" y="1034"/>
                  </a:lnTo>
                  <a:lnTo>
                    <a:pt x="352" y="10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1" name="Freeform 43"/>
            <p:cNvSpPr/>
            <p:nvPr/>
          </p:nvSpPr>
          <p:spPr bwMode="auto">
            <a:xfrm>
              <a:off x="-2005013" y="700088"/>
              <a:ext cx="122238" cy="122238"/>
            </a:xfrm>
            <a:custGeom>
              <a:avLst/>
              <a:gdLst>
                <a:gd name="T0" fmla="*/ 116 w 232"/>
                <a:gd name="T1" fmla="*/ 233 h 233"/>
                <a:gd name="T2" fmla="*/ 93 w 232"/>
                <a:gd name="T3" fmla="*/ 231 h 233"/>
                <a:gd name="T4" fmla="*/ 70 w 232"/>
                <a:gd name="T5" fmla="*/ 225 h 233"/>
                <a:gd name="T6" fmla="*/ 50 w 232"/>
                <a:gd name="T7" fmla="*/ 214 h 233"/>
                <a:gd name="T8" fmla="*/ 34 w 232"/>
                <a:gd name="T9" fmla="*/ 199 h 233"/>
                <a:gd name="T10" fmla="*/ 19 w 232"/>
                <a:gd name="T11" fmla="*/ 182 h 233"/>
                <a:gd name="T12" fmla="*/ 8 w 232"/>
                <a:gd name="T13" fmla="*/ 163 h 233"/>
                <a:gd name="T14" fmla="*/ 2 w 232"/>
                <a:gd name="T15" fmla="*/ 141 h 233"/>
                <a:gd name="T16" fmla="*/ 0 w 232"/>
                <a:gd name="T17" fmla="*/ 117 h 233"/>
                <a:gd name="T18" fmla="*/ 0 w 232"/>
                <a:gd name="T19" fmla="*/ 105 h 233"/>
                <a:gd name="T20" fmla="*/ 4 w 232"/>
                <a:gd name="T21" fmla="*/ 83 h 233"/>
                <a:gd name="T22" fmla="*/ 13 w 232"/>
                <a:gd name="T23" fmla="*/ 61 h 233"/>
                <a:gd name="T24" fmla="*/ 26 w 232"/>
                <a:gd name="T25" fmla="*/ 43 h 233"/>
                <a:gd name="T26" fmla="*/ 42 w 232"/>
                <a:gd name="T27" fmla="*/ 27 h 233"/>
                <a:gd name="T28" fmla="*/ 60 w 232"/>
                <a:gd name="T29" fmla="*/ 15 h 233"/>
                <a:gd name="T30" fmla="*/ 81 w 232"/>
                <a:gd name="T31" fmla="*/ 5 h 233"/>
                <a:gd name="T32" fmla="*/ 104 w 232"/>
                <a:gd name="T33" fmla="*/ 2 h 233"/>
                <a:gd name="T34" fmla="*/ 116 w 232"/>
                <a:gd name="T35" fmla="*/ 0 h 233"/>
                <a:gd name="T36" fmla="*/ 139 w 232"/>
                <a:gd name="T37" fmla="*/ 3 h 233"/>
                <a:gd name="T38" fmla="*/ 161 w 232"/>
                <a:gd name="T39" fmla="*/ 10 h 233"/>
                <a:gd name="T40" fmla="*/ 182 w 232"/>
                <a:gd name="T41" fmla="*/ 21 h 233"/>
                <a:gd name="T42" fmla="*/ 199 w 232"/>
                <a:gd name="T43" fmla="*/ 34 h 233"/>
                <a:gd name="T44" fmla="*/ 212 w 232"/>
                <a:gd name="T45" fmla="*/ 51 h 233"/>
                <a:gd name="T46" fmla="*/ 223 w 232"/>
                <a:gd name="T47" fmla="*/ 72 h 233"/>
                <a:gd name="T48" fmla="*/ 230 w 232"/>
                <a:gd name="T49" fmla="*/ 94 h 233"/>
                <a:gd name="T50" fmla="*/ 232 w 232"/>
                <a:gd name="T51" fmla="*/ 117 h 233"/>
                <a:gd name="T52" fmla="*/ 231 w 232"/>
                <a:gd name="T53" fmla="*/ 129 h 233"/>
                <a:gd name="T54" fmla="*/ 228 w 232"/>
                <a:gd name="T55" fmla="*/ 152 h 233"/>
                <a:gd name="T56" fmla="*/ 218 w 232"/>
                <a:gd name="T57" fmla="*/ 173 h 233"/>
                <a:gd name="T58" fmla="*/ 206 w 232"/>
                <a:gd name="T59" fmla="*/ 191 h 233"/>
                <a:gd name="T60" fmla="*/ 190 w 232"/>
                <a:gd name="T61" fmla="*/ 207 h 233"/>
                <a:gd name="T62" fmla="*/ 172 w 232"/>
                <a:gd name="T63" fmla="*/ 220 h 233"/>
                <a:gd name="T64" fmla="*/ 150 w 232"/>
                <a:gd name="T65" fmla="*/ 229 h 233"/>
                <a:gd name="T66" fmla="*/ 128 w 232"/>
                <a:gd name="T67" fmla="*/ 233 h 233"/>
                <a:gd name="T68" fmla="*/ 116 w 232"/>
                <a:gd name="T69" fmla="*/ 233 h 2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32" h="233">
                  <a:moveTo>
                    <a:pt x="116" y="233"/>
                  </a:moveTo>
                  <a:lnTo>
                    <a:pt x="116" y="233"/>
                  </a:lnTo>
                  <a:lnTo>
                    <a:pt x="104" y="233"/>
                  </a:lnTo>
                  <a:lnTo>
                    <a:pt x="93" y="231"/>
                  </a:lnTo>
                  <a:lnTo>
                    <a:pt x="81" y="229"/>
                  </a:lnTo>
                  <a:lnTo>
                    <a:pt x="70" y="225"/>
                  </a:lnTo>
                  <a:lnTo>
                    <a:pt x="60" y="220"/>
                  </a:lnTo>
                  <a:lnTo>
                    <a:pt x="50" y="214"/>
                  </a:lnTo>
                  <a:lnTo>
                    <a:pt x="42" y="207"/>
                  </a:lnTo>
                  <a:lnTo>
                    <a:pt x="34" y="199"/>
                  </a:lnTo>
                  <a:lnTo>
                    <a:pt x="26" y="191"/>
                  </a:lnTo>
                  <a:lnTo>
                    <a:pt x="19" y="182"/>
                  </a:lnTo>
                  <a:lnTo>
                    <a:pt x="13" y="173"/>
                  </a:lnTo>
                  <a:lnTo>
                    <a:pt x="8" y="163"/>
                  </a:lnTo>
                  <a:lnTo>
                    <a:pt x="4" y="152"/>
                  </a:lnTo>
                  <a:lnTo>
                    <a:pt x="2" y="141"/>
                  </a:lnTo>
                  <a:lnTo>
                    <a:pt x="0" y="129"/>
                  </a:lnTo>
                  <a:lnTo>
                    <a:pt x="0" y="117"/>
                  </a:lnTo>
                  <a:lnTo>
                    <a:pt x="0" y="117"/>
                  </a:lnTo>
                  <a:lnTo>
                    <a:pt x="0" y="105"/>
                  </a:lnTo>
                  <a:lnTo>
                    <a:pt x="2" y="94"/>
                  </a:lnTo>
                  <a:lnTo>
                    <a:pt x="4" y="83"/>
                  </a:lnTo>
                  <a:lnTo>
                    <a:pt x="8" y="72"/>
                  </a:lnTo>
                  <a:lnTo>
                    <a:pt x="13" y="61"/>
                  </a:lnTo>
                  <a:lnTo>
                    <a:pt x="19" y="51"/>
                  </a:lnTo>
                  <a:lnTo>
                    <a:pt x="26" y="43"/>
                  </a:lnTo>
                  <a:lnTo>
                    <a:pt x="34" y="34"/>
                  </a:lnTo>
                  <a:lnTo>
                    <a:pt x="42" y="27"/>
                  </a:lnTo>
                  <a:lnTo>
                    <a:pt x="50" y="21"/>
                  </a:lnTo>
                  <a:lnTo>
                    <a:pt x="60" y="15"/>
                  </a:lnTo>
                  <a:lnTo>
                    <a:pt x="70" y="10"/>
                  </a:lnTo>
                  <a:lnTo>
                    <a:pt x="81" y="5"/>
                  </a:lnTo>
                  <a:lnTo>
                    <a:pt x="93" y="3"/>
                  </a:lnTo>
                  <a:lnTo>
                    <a:pt x="104" y="2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8" y="2"/>
                  </a:lnTo>
                  <a:lnTo>
                    <a:pt x="139" y="3"/>
                  </a:lnTo>
                  <a:lnTo>
                    <a:pt x="150" y="5"/>
                  </a:lnTo>
                  <a:lnTo>
                    <a:pt x="161" y="10"/>
                  </a:lnTo>
                  <a:lnTo>
                    <a:pt x="172" y="15"/>
                  </a:lnTo>
                  <a:lnTo>
                    <a:pt x="182" y="21"/>
                  </a:lnTo>
                  <a:lnTo>
                    <a:pt x="190" y="27"/>
                  </a:lnTo>
                  <a:lnTo>
                    <a:pt x="199" y="34"/>
                  </a:lnTo>
                  <a:lnTo>
                    <a:pt x="206" y="43"/>
                  </a:lnTo>
                  <a:lnTo>
                    <a:pt x="212" y="51"/>
                  </a:lnTo>
                  <a:lnTo>
                    <a:pt x="218" y="61"/>
                  </a:lnTo>
                  <a:lnTo>
                    <a:pt x="223" y="72"/>
                  </a:lnTo>
                  <a:lnTo>
                    <a:pt x="228" y="83"/>
                  </a:lnTo>
                  <a:lnTo>
                    <a:pt x="230" y="94"/>
                  </a:lnTo>
                  <a:lnTo>
                    <a:pt x="231" y="105"/>
                  </a:lnTo>
                  <a:lnTo>
                    <a:pt x="232" y="117"/>
                  </a:lnTo>
                  <a:lnTo>
                    <a:pt x="232" y="117"/>
                  </a:lnTo>
                  <a:lnTo>
                    <a:pt x="231" y="129"/>
                  </a:lnTo>
                  <a:lnTo>
                    <a:pt x="230" y="141"/>
                  </a:lnTo>
                  <a:lnTo>
                    <a:pt x="228" y="152"/>
                  </a:lnTo>
                  <a:lnTo>
                    <a:pt x="223" y="163"/>
                  </a:lnTo>
                  <a:lnTo>
                    <a:pt x="218" y="173"/>
                  </a:lnTo>
                  <a:lnTo>
                    <a:pt x="212" y="182"/>
                  </a:lnTo>
                  <a:lnTo>
                    <a:pt x="206" y="191"/>
                  </a:lnTo>
                  <a:lnTo>
                    <a:pt x="199" y="199"/>
                  </a:lnTo>
                  <a:lnTo>
                    <a:pt x="190" y="207"/>
                  </a:lnTo>
                  <a:lnTo>
                    <a:pt x="182" y="214"/>
                  </a:lnTo>
                  <a:lnTo>
                    <a:pt x="172" y="220"/>
                  </a:lnTo>
                  <a:lnTo>
                    <a:pt x="161" y="225"/>
                  </a:lnTo>
                  <a:lnTo>
                    <a:pt x="150" y="229"/>
                  </a:lnTo>
                  <a:lnTo>
                    <a:pt x="139" y="231"/>
                  </a:lnTo>
                  <a:lnTo>
                    <a:pt x="128" y="233"/>
                  </a:lnTo>
                  <a:lnTo>
                    <a:pt x="116" y="233"/>
                  </a:lnTo>
                  <a:lnTo>
                    <a:pt x="116" y="23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2" name="Freeform 45"/>
            <p:cNvSpPr/>
            <p:nvPr/>
          </p:nvSpPr>
          <p:spPr bwMode="auto">
            <a:xfrm>
              <a:off x="-2039938" y="658813"/>
              <a:ext cx="14288" cy="6350"/>
            </a:xfrm>
            <a:custGeom>
              <a:avLst/>
              <a:gdLst>
                <a:gd name="T0" fmla="*/ 29 w 29"/>
                <a:gd name="T1" fmla="*/ 6 h 13"/>
                <a:gd name="T2" fmla="*/ 29 w 29"/>
                <a:gd name="T3" fmla="*/ 6 h 13"/>
                <a:gd name="T4" fmla="*/ 29 w 29"/>
                <a:gd name="T5" fmla="*/ 9 h 13"/>
                <a:gd name="T6" fmla="*/ 28 w 29"/>
                <a:gd name="T7" fmla="*/ 12 h 13"/>
                <a:gd name="T8" fmla="*/ 28 w 29"/>
                <a:gd name="T9" fmla="*/ 12 h 13"/>
                <a:gd name="T10" fmla="*/ 25 w 29"/>
                <a:gd name="T11" fmla="*/ 13 h 13"/>
                <a:gd name="T12" fmla="*/ 22 w 29"/>
                <a:gd name="T13" fmla="*/ 13 h 13"/>
                <a:gd name="T14" fmla="*/ 7 w 29"/>
                <a:gd name="T15" fmla="*/ 13 h 13"/>
                <a:gd name="T16" fmla="*/ 7 w 29"/>
                <a:gd name="T17" fmla="*/ 13 h 13"/>
                <a:gd name="T18" fmla="*/ 5 w 29"/>
                <a:gd name="T19" fmla="*/ 13 h 13"/>
                <a:gd name="T20" fmla="*/ 2 w 29"/>
                <a:gd name="T21" fmla="*/ 12 h 13"/>
                <a:gd name="T22" fmla="*/ 1 w 29"/>
                <a:gd name="T23" fmla="*/ 9 h 13"/>
                <a:gd name="T24" fmla="*/ 0 w 29"/>
                <a:gd name="T25" fmla="*/ 6 h 13"/>
                <a:gd name="T26" fmla="*/ 0 w 29"/>
                <a:gd name="T27" fmla="*/ 6 h 13"/>
                <a:gd name="T28" fmla="*/ 1 w 29"/>
                <a:gd name="T29" fmla="*/ 3 h 13"/>
                <a:gd name="T30" fmla="*/ 2 w 29"/>
                <a:gd name="T31" fmla="*/ 1 h 13"/>
                <a:gd name="T32" fmla="*/ 2 w 29"/>
                <a:gd name="T33" fmla="*/ 1 h 13"/>
                <a:gd name="T34" fmla="*/ 5 w 29"/>
                <a:gd name="T35" fmla="*/ 0 h 13"/>
                <a:gd name="T36" fmla="*/ 7 w 29"/>
                <a:gd name="T37" fmla="*/ 0 h 13"/>
                <a:gd name="T38" fmla="*/ 22 w 29"/>
                <a:gd name="T39" fmla="*/ 0 h 13"/>
                <a:gd name="T40" fmla="*/ 22 w 29"/>
                <a:gd name="T41" fmla="*/ 0 h 13"/>
                <a:gd name="T42" fmla="*/ 25 w 29"/>
                <a:gd name="T43" fmla="*/ 0 h 13"/>
                <a:gd name="T44" fmla="*/ 28 w 29"/>
                <a:gd name="T45" fmla="*/ 1 h 13"/>
                <a:gd name="T46" fmla="*/ 29 w 29"/>
                <a:gd name="T47" fmla="*/ 3 h 13"/>
                <a:gd name="T48" fmla="*/ 29 w 29"/>
                <a:gd name="T49" fmla="*/ 6 h 13"/>
                <a:gd name="T50" fmla="*/ 29 w 29"/>
                <a:gd name="T51" fmla="*/ 6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9" h="13">
                  <a:moveTo>
                    <a:pt x="29" y="6"/>
                  </a:moveTo>
                  <a:lnTo>
                    <a:pt x="29" y="6"/>
                  </a:lnTo>
                  <a:lnTo>
                    <a:pt x="29" y="9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5" y="13"/>
                  </a:lnTo>
                  <a:lnTo>
                    <a:pt x="22" y="13"/>
                  </a:lnTo>
                  <a:lnTo>
                    <a:pt x="7" y="13"/>
                  </a:lnTo>
                  <a:lnTo>
                    <a:pt x="7" y="13"/>
                  </a:lnTo>
                  <a:lnTo>
                    <a:pt x="5" y="13"/>
                  </a:lnTo>
                  <a:lnTo>
                    <a:pt x="2" y="12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3"/>
                  </a:lnTo>
                  <a:lnTo>
                    <a:pt x="2" y="1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8" y="1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9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3" name="Freeform 46"/>
            <p:cNvSpPr/>
            <p:nvPr/>
          </p:nvSpPr>
          <p:spPr bwMode="auto">
            <a:xfrm>
              <a:off x="-2055813" y="620713"/>
              <a:ext cx="12700" cy="12700"/>
            </a:xfrm>
            <a:custGeom>
              <a:avLst/>
              <a:gdLst>
                <a:gd name="T0" fmla="*/ 13 w 25"/>
                <a:gd name="T1" fmla="*/ 2 h 25"/>
                <a:gd name="T2" fmla="*/ 13 w 25"/>
                <a:gd name="T3" fmla="*/ 2 h 25"/>
                <a:gd name="T4" fmla="*/ 15 w 25"/>
                <a:gd name="T5" fmla="*/ 1 h 25"/>
                <a:gd name="T6" fmla="*/ 18 w 25"/>
                <a:gd name="T7" fmla="*/ 0 h 25"/>
                <a:gd name="T8" fmla="*/ 20 w 25"/>
                <a:gd name="T9" fmla="*/ 1 h 25"/>
                <a:gd name="T10" fmla="*/ 23 w 25"/>
                <a:gd name="T11" fmla="*/ 2 h 25"/>
                <a:gd name="T12" fmla="*/ 23 w 25"/>
                <a:gd name="T13" fmla="*/ 2 h 25"/>
                <a:gd name="T14" fmla="*/ 24 w 25"/>
                <a:gd name="T15" fmla="*/ 5 h 25"/>
                <a:gd name="T16" fmla="*/ 25 w 25"/>
                <a:gd name="T17" fmla="*/ 7 h 25"/>
                <a:gd name="T18" fmla="*/ 25 w 25"/>
                <a:gd name="T19" fmla="*/ 7 h 25"/>
                <a:gd name="T20" fmla="*/ 24 w 25"/>
                <a:gd name="T21" fmla="*/ 10 h 25"/>
                <a:gd name="T22" fmla="*/ 23 w 25"/>
                <a:gd name="T23" fmla="*/ 12 h 25"/>
                <a:gd name="T24" fmla="*/ 12 w 25"/>
                <a:gd name="T25" fmla="*/ 23 h 25"/>
                <a:gd name="T26" fmla="*/ 12 w 25"/>
                <a:gd name="T27" fmla="*/ 23 h 25"/>
                <a:gd name="T28" fmla="*/ 9 w 25"/>
                <a:gd name="T29" fmla="*/ 24 h 25"/>
                <a:gd name="T30" fmla="*/ 7 w 25"/>
                <a:gd name="T31" fmla="*/ 25 h 25"/>
                <a:gd name="T32" fmla="*/ 5 w 25"/>
                <a:gd name="T33" fmla="*/ 24 h 25"/>
                <a:gd name="T34" fmla="*/ 2 w 25"/>
                <a:gd name="T35" fmla="*/ 23 h 25"/>
                <a:gd name="T36" fmla="*/ 2 w 25"/>
                <a:gd name="T37" fmla="*/ 23 h 25"/>
                <a:gd name="T38" fmla="*/ 1 w 25"/>
                <a:gd name="T39" fmla="*/ 21 h 25"/>
                <a:gd name="T40" fmla="*/ 0 w 25"/>
                <a:gd name="T41" fmla="*/ 18 h 25"/>
                <a:gd name="T42" fmla="*/ 0 w 25"/>
                <a:gd name="T43" fmla="*/ 18 h 25"/>
                <a:gd name="T44" fmla="*/ 1 w 25"/>
                <a:gd name="T45" fmla="*/ 16 h 25"/>
                <a:gd name="T46" fmla="*/ 2 w 25"/>
                <a:gd name="T47" fmla="*/ 13 h 25"/>
                <a:gd name="T48" fmla="*/ 13 w 25"/>
                <a:gd name="T49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" h="25">
                  <a:moveTo>
                    <a:pt x="13" y="2"/>
                  </a:moveTo>
                  <a:lnTo>
                    <a:pt x="13" y="2"/>
                  </a:lnTo>
                  <a:lnTo>
                    <a:pt x="15" y="1"/>
                  </a:lnTo>
                  <a:lnTo>
                    <a:pt x="18" y="0"/>
                  </a:lnTo>
                  <a:lnTo>
                    <a:pt x="20" y="1"/>
                  </a:lnTo>
                  <a:lnTo>
                    <a:pt x="23" y="2"/>
                  </a:lnTo>
                  <a:lnTo>
                    <a:pt x="23" y="2"/>
                  </a:lnTo>
                  <a:lnTo>
                    <a:pt x="24" y="5"/>
                  </a:lnTo>
                  <a:lnTo>
                    <a:pt x="25" y="7"/>
                  </a:lnTo>
                  <a:lnTo>
                    <a:pt x="25" y="7"/>
                  </a:lnTo>
                  <a:lnTo>
                    <a:pt x="24" y="10"/>
                  </a:lnTo>
                  <a:lnTo>
                    <a:pt x="23" y="12"/>
                  </a:lnTo>
                  <a:lnTo>
                    <a:pt x="12" y="23"/>
                  </a:lnTo>
                  <a:lnTo>
                    <a:pt x="12" y="23"/>
                  </a:lnTo>
                  <a:lnTo>
                    <a:pt x="9" y="24"/>
                  </a:lnTo>
                  <a:lnTo>
                    <a:pt x="7" y="25"/>
                  </a:lnTo>
                  <a:lnTo>
                    <a:pt x="5" y="24"/>
                  </a:lnTo>
                  <a:lnTo>
                    <a:pt x="2" y="23"/>
                  </a:lnTo>
                  <a:lnTo>
                    <a:pt x="2" y="23"/>
                  </a:lnTo>
                  <a:lnTo>
                    <a:pt x="1" y="21"/>
                  </a:lnTo>
                  <a:lnTo>
                    <a:pt x="0" y="18"/>
                  </a:lnTo>
                  <a:lnTo>
                    <a:pt x="0" y="18"/>
                  </a:lnTo>
                  <a:lnTo>
                    <a:pt x="1" y="16"/>
                  </a:lnTo>
                  <a:lnTo>
                    <a:pt x="2" y="13"/>
                  </a:lnTo>
                  <a:lnTo>
                    <a:pt x="13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4" name="Freeform 47"/>
            <p:cNvSpPr/>
            <p:nvPr/>
          </p:nvSpPr>
          <p:spPr bwMode="auto">
            <a:xfrm>
              <a:off x="-2135188" y="620713"/>
              <a:ext cx="88900" cy="84138"/>
            </a:xfrm>
            <a:custGeom>
              <a:avLst/>
              <a:gdLst>
                <a:gd name="T0" fmla="*/ 0 w 170"/>
                <a:gd name="T1" fmla="*/ 85 h 160"/>
                <a:gd name="T2" fmla="*/ 0 w 170"/>
                <a:gd name="T3" fmla="*/ 85 h 160"/>
                <a:gd name="T4" fmla="*/ 1 w 170"/>
                <a:gd name="T5" fmla="*/ 76 h 160"/>
                <a:gd name="T6" fmla="*/ 3 w 170"/>
                <a:gd name="T7" fmla="*/ 68 h 160"/>
                <a:gd name="T8" fmla="*/ 4 w 170"/>
                <a:gd name="T9" fmla="*/ 59 h 160"/>
                <a:gd name="T10" fmla="*/ 8 w 170"/>
                <a:gd name="T11" fmla="*/ 52 h 160"/>
                <a:gd name="T12" fmla="*/ 11 w 170"/>
                <a:gd name="T13" fmla="*/ 45 h 160"/>
                <a:gd name="T14" fmla="*/ 15 w 170"/>
                <a:gd name="T15" fmla="*/ 38 h 160"/>
                <a:gd name="T16" fmla="*/ 20 w 170"/>
                <a:gd name="T17" fmla="*/ 32 h 160"/>
                <a:gd name="T18" fmla="*/ 26 w 170"/>
                <a:gd name="T19" fmla="*/ 25 h 160"/>
                <a:gd name="T20" fmla="*/ 32 w 170"/>
                <a:gd name="T21" fmla="*/ 19 h 160"/>
                <a:gd name="T22" fmla="*/ 38 w 170"/>
                <a:gd name="T23" fmla="*/ 15 h 160"/>
                <a:gd name="T24" fmla="*/ 45 w 170"/>
                <a:gd name="T25" fmla="*/ 11 h 160"/>
                <a:gd name="T26" fmla="*/ 52 w 170"/>
                <a:gd name="T27" fmla="*/ 7 h 160"/>
                <a:gd name="T28" fmla="*/ 60 w 170"/>
                <a:gd name="T29" fmla="*/ 4 h 160"/>
                <a:gd name="T30" fmla="*/ 68 w 170"/>
                <a:gd name="T31" fmla="*/ 2 h 160"/>
                <a:gd name="T32" fmla="*/ 77 w 170"/>
                <a:gd name="T33" fmla="*/ 0 h 160"/>
                <a:gd name="T34" fmla="*/ 85 w 170"/>
                <a:gd name="T35" fmla="*/ 0 h 160"/>
                <a:gd name="T36" fmla="*/ 85 w 170"/>
                <a:gd name="T37" fmla="*/ 0 h 160"/>
                <a:gd name="T38" fmla="*/ 94 w 170"/>
                <a:gd name="T39" fmla="*/ 0 h 160"/>
                <a:gd name="T40" fmla="*/ 102 w 170"/>
                <a:gd name="T41" fmla="*/ 2 h 160"/>
                <a:gd name="T42" fmla="*/ 111 w 170"/>
                <a:gd name="T43" fmla="*/ 4 h 160"/>
                <a:gd name="T44" fmla="*/ 118 w 170"/>
                <a:gd name="T45" fmla="*/ 7 h 160"/>
                <a:gd name="T46" fmla="*/ 126 w 170"/>
                <a:gd name="T47" fmla="*/ 11 h 160"/>
                <a:gd name="T48" fmla="*/ 132 w 170"/>
                <a:gd name="T49" fmla="*/ 15 h 160"/>
                <a:gd name="T50" fmla="*/ 140 w 170"/>
                <a:gd name="T51" fmla="*/ 19 h 160"/>
                <a:gd name="T52" fmla="*/ 146 w 170"/>
                <a:gd name="T53" fmla="*/ 25 h 160"/>
                <a:gd name="T54" fmla="*/ 151 w 170"/>
                <a:gd name="T55" fmla="*/ 32 h 160"/>
                <a:gd name="T56" fmla="*/ 156 w 170"/>
                <a:gd name="T57" fmla="*/ 38 h 160"/>
                <a:gd name="T58" fmla="*/ 160 w 170"/>
                <a:gd name="T59" fmla="*/ 45 h 160"/>
                <a:gd name="T60" fmla="*/ 164 w 170"/>
                <a:gd name="T61" fmla="*/ 52 h 160"/>
                <a:gd name="T62" fmla="*/ 166 w 170"/>
                <a:gd name="T63" fmla="*/ 59 h 160"/>
                <a:gd name="T64" fmla="*/ 169 w 170"/>
                <a:gd name="T65" fmla="*/ 68 h 160"/>
                <a:gd name="T66" fmla="*/ 170 w 170"/>
                <a:gd name="T67" fmla="*/ 76 h 160"/>
                <a:gd name="T68" fmla="*/ 170 w 170"/>
                <a:gd name="T69" fmla="*/ 85 h 160"/>
                <a:gd name="T70" fmla="*/ 170 w 170"/>
                <a:gd name="T71" fmla="*/ 85 h 160"/>
                <a:gd name="T72" fmla="*/ 169 w 170"/>
                <a:gd name="T73" fmla="*/ 97 h 160"/>
                <a:gd name="T74" fmla="*/ 166 w 170"/>
                <a:gd name="T75" fmla="*/ 108 h 160"/>
                <a:gd name="T76" fmla="*/ 163 w 170"/>
                <a:gd name="T77" fmla="*/ 119 h 160"/>
                <a:gd name="T78" fmla="*/ 158 w 170"/>
                <a:gd name="T79" fmla="*/ 130 h 160"/>
                <a:gd name="T80" fmla="*/ 152 w 170"/>
                <a:gd name="T81" fmla="*/ 138 h 160"/>
                <a:gd name="T82" fmla="*/ 143 w 170"/>
                <a:gd name="T83" fmla="*/ 147 h 160"/>
                <a:gd name="T84" fmla="*/ 135 w 170"/>
                <a:gd name="T85" fmla="*/ 154 h 160"/>
                <a:gd name="T86" fmla="*/ 125 w 170"/>
                <a:gd name="T87" fmla="*/ 160 h 160"/>
                <a:gd name="T88" fmla="*/ 45 w 170"/>
                <a:gd name="T89" fmla="*/ 160 h 160"/>
                <a:gd name="T90" fmla="*/ 45 w 170"/>
                <a:gd name="T91" fmla="*/ 160 h 160"/>
                <a:gd name="T92" fmla="*/ 35 w 170"/>
                <a:gd name="T93" fmla="*/ 154 h 160"/>
                <a:gd name="T94" fmla="*/ 27 w 170"/>
                <a:gd name="T95" fmla="*/ 147 h 160"/>
                <a:gd name="T96" fmla="*/ 20 w 170"/>
                <a:gd name="T97" fmla="*/ 138 h 160"/>
                <a:gd name="T98" fmla="*/ 12 w 170"/>
                <a:gd name="T99" fmla="*/ 130 h 160"/>
                <a:gd name="T100" fmla="*/ 8 w 170"/>
                <a:gd name="T101" fmla="*/ 119 h 160"/>
                <a:gd name="T102" fmla="*/ 4 w 170"/>
                <a:gd name="T103" fmla="*/ 108 h 160"/>
                <a:gd name="T104" fmla="*/ 1 w 170"/>
                <a:gd name="T105" fmla="*/ 97 h 160"/>
                <a:gd name="T106" fmla="*/ 0 w 170"/>
                <a:gd name="T107" fmla="*/ 85 h 160"/>
                <a:gd name="T108" fmla="*/ 0 w 170"/>
                <a:gd name="T109" fmla="*/ 85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70" h="160">
                  <a:moveTo>
                    <a:pt x="0" y="85"/>
                  </a:moveTo>
                  <a:lnTo>
                    <a:pt x="0" y="85"/>
                  </a:lnTo>
                  <a:lnTo>
                    <a:pt x="1" y="76"/>
                  </a:lnTo>
                  <a:lnTo>
                    <a:pt x="3" y="68"/>
                  </a:lnTo>
                  <a:lnTo>
                    <a:pt x="4" y="59"/>
                  </a:lnTo>
                  <a:lnTo>
                    <a:pt x="8" y="52"/>
                  </a:lnTo>
                  <a:lnTo>
                    <a:pt x="11" y="45"/>
                  </a:lnTo>
                  <a:lnTo>
                    <a:pt x="15" y="38"/>
                  </a:lnTo>
                  <a:lnTo>
                    <a:pt x="20" y="32"/>
                  </a:lnTo>
                  <a:lnTo>
                    <a:pt x="26" y="25"/>
                  </a:lnTo>
                  <a:lnTo>
                    <a:pt x="32" y="19"/>
                  </a:lnTo>
                  <a:lnTo>
                    <a:pt x="38" y="15"/>
                  </a:lnTo>
                  <a:lnTo>
                    <a:pt x="45" y="11"/>
                  </a:lnTo>
                  <a:lnTo>
                    <a:pt x="52" y="7"/>
                  </a:lnTo>
                  <a:lnTo>
                    <a:pt x="60" y="4"/>
                  </a:lnTo>
                  <a:lnTo>
                    <a:pt x="68" y="2"/>
                  </a:lnTo>
                  <a:lnTo>
                    <a:pt x="77" y="0"/>
                  </a:lnTo>
                  <a:lnTo>
                    <a:pt x="85" y="0"/>
                  </a:lnTo>
                  <a:lnTo>
                    <a:pt x="85" y="0"/>
                  </a:lnTo>
                  <a:lnTo>
                    <a:pt x="94" y="0"/>
                  </a:lnTo>
                  <a:lnTo>
                    <a:pt x="102" y="2"/>
                  </a:lnTo>
                  <a:lnTo>
                    <a:pt x="111" y="4"/>
                  </a:lnTo>
                  <a:lnTo>
                    <a:pt x="118" y="7"/>
                  </a:lnTo>
                  <a:lnTo>
                    <a:pt x="126" y="11"/>
                  </a:lnTo>
                  <a:lnTo>
                    <a:pt x="132" y="15"/>
                  </a:lnTo>
                  <a:lnTo>
                    <a:pt x="140" y="19"/>
                  </a:lnTo>
                  <a:lnTo>
                    <a:pt x="146" y="25"/>
                  </a:lnTo>
                  <a:lnTo>
                    <a:pt x="151" y="32"/>
                  </a:lnTo>
                  <a:lnTo>
                    <a:pt x="156" y="38"/>
                  </a:lnTo>
                  <a:lnTo>
                    <a:pt x="160" y="45"/>
                  </a:lnTo>
                  <a:lnTo>
                    <a:pt x="164" y="52"/>
                  </a:lnTo>
                  <a:lnTo>
                    <a:pt x="166" y="59"/>
                  </a:lnTo>
                  <a:lnTo>
                    <a:pt x="169" y="68"/>
                  </a:lnTo>
                  <a:lnTo>
                    <a:pt x="170" y="76"/>
                  </a:lnTo>
                  <a:lnTo>
                    <a:pt x="170" y="85"/>
                  </a:lnTo>
                  <a:lnTo>
                    <a:pt x="170" y="85"/>
                  </a:lnTo>
                  <a:lnTo>
                    <a:pt x="169" y="97"/>
                  </a:lnTo>
                  <a:lnTo>
                    <a:pt x="166" y="108"/>
                  </a:lnTo>
                  <a:lnTo>
                    <a:pt x="163" y="119"/>
                  </a:lnTo>
                  <a:lnTo>
                    <a:pt x="158" y="130"/>
                  </a:lnTo>
                  <a:lnTo>
                    <a:pt x="152" y="138"/>
                  </a:lnTo>
                  <a:lnTo>
                    <a:pt x="143" y="147"/>
                  </a:lnTo>
                  <a:lnTo>
                    <a:pt x="135" y="154"/>
                  </a:lnTo>
                  <a:lnTo>
                    <a:pt x="125" y="160"/>
                  </a:lnTo>
                  <a:lnTo>
                    <a:pt x="45" y="160"/>
                  </a:lnTo>
                  <a:lnTo>
                    <a:pt x="45" y="160"/>
                  </a:lnTo>
                  <a:lnTo>
                    <a:pt x="35" y="154"/>
                  </a:lnTo>
                  <a:lnTo>
                    <a:pt x="27" y="147"/>
                  </a:lnTo>
                  <a:lnTo>
                    <a:pt x="20" y="138"/>
                  </a:lnTo>
                  <a:lnTo>
                    <a:pt x="12" y="130"/>
                  </a:lnTo>
                  <a:lnTo>
                    <a:pt x="8" y="119"/>
                  </a:lnTo>
                  <a:lnTo>
                    <a:pt x="4" y="108"/>
                  </a:lnTo>
                  <a:lnTo>
                    <a:pt x="1" y="97"/>
                  </a:lnTo>
                  <a:lnTo>
                    <a:pt x="0" y="85"/>
                  </a:lnTo>
                  <a:lnTo>
                    <a:pt x="0" y="8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5" name="Freeform 48"/>
            <p:cNvSpPr/>
            <p:nvPr/>
          </p:nvSpPr>
          <p:spPr bwMode="auto">
            <a:xfrm>
              <a:off x="-2116138" y="708026"/>
              <a:ext cx="50800" cy="11113"/>
            </a:xfrm>
            <a:custGeom>
              <a:avLst/>
              <a:gdLst>
                <a:gd name="T0" fmla="*/ 12 w 97"/>
                <a:gd name="T1" fmla="*/ 22 h 22"/>
                <a:gd name="T2" fmla="*/ 12 w 97"/>
                <a:gd name="T3" fmla="*/ 22 h 22"/>
                <a:gd name="T4" fmla="*/ 7 w 97"/>
                <a:gd name="T5" fmla="*/ 22 h 22"/>
                <a:gd name="T6" fmla="*/ 3 w 97"/>
                <a:gd name="T7" fmla="*/ 19 h 22"/>
                <a:gd name="T8" fmla="*/ 1 w 97"/>
                <a:gd name="T9" fmla="*/ 16 h 22"/>
                <a:gd name="T10" fmla="*/ 0 w 97"/>
                <a:gd name="T11" fmla="*/ 11 h 22"/>
                <a:gd name="T12" fmla="*/ 0 w 97"/>
                <a:gd name="T13" fmla="*/ 11 h 22"/>
                <a:gd name="T14" fmla="*/ 1 w 97"/>
                <a:gd name="T15" fmla="*/ 6 h 22"/>
                <a:gd name="T16" fmla="*/ 3 w 97"/>
                <a:gd name="T17" fmla="*/ 2 h 22"/>
                <a:gd name="T18" fmla="*/ 3 w 97"/>
                <a:gd name="T19" fmla="*/ 2 h 22"/>
                <a:gd name="T20" fmla="*/ 7 w 97"/>
                <a:gd name="T21" fmla="*/ 0 h 22"/>
                <a:gd name="T22" fmla="*/ 12 w 97"/>
                <a:gd name="T23" fmla="*/ 0 h 22"/>
                <a:gd name="T24" fmla="*/ 86 w 97"/>
                <a:gd name="T25" fmla="*/ 0 h 22"/>
                <a:gd name="T26" fmla="*/ 86 w 97"/>
                <a:gd name="T27" fmla="*/ 0 h 22"/>
                <a:gd name="T28" fmla="*/ 89 w 97"/>
                <a:gd name="T29" fmla="*/ 0 h 22"/>
                <a:gd name="T30" fmla="*/ 93 w 97"/>
                <a:gd name="T31" fmla="*/ 2 h 22"/>
                <a:gd name="T32" fmla="*/ 95 w 97"/>
                <a:gd name="T33" fmla="*/ 6 h 22"/>
                <a:gd name="T34" fmla="*/ 97 w 97"/>
                <a:gd name="T35" fmla="*/ 11 h 22"/>
                <a:gd name="T36" fmla="*/ 97 w 97"/>
                <a:gd name="T37" fmla="*/ 11 h 22"/>
                <a:gd name="T38" fmla="*/ 95 w 97"/>
                <a:gd name="T39" fmla="*/ 16 h 22"/>
                <a:gd name="T40" fmla="*/ 93 w 97"/>
                <a:gd name="T41" fmla="*/ 19 h 22"/>
                <a:gd name="T42" fmla="*/ 89 w 97"/>
                <a:gd name="T43" fmla="*/ 22 h 22"/>
                <a:gd name="T44" fmla="*/ 86 w 97"/>
                <a:gd name="T45" fmla="*/ 22 h 22"/>
                <a:gd name="T46" fmla="*/ 12 w 97"/>
                <a:gd name="T47" fmla="*/ 22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7" h="22">
                  <a:moveTo>
                    <a:pt x="12" y="22"/>
                  </a:moveTo>
                  <a:lnTo>
                    <a:pt x="12" y="22"/>
                  </a:lnTo>
                  <a:lnTo>
                    <a:pt x="7" y="22"/>
                  </a:lnTo>
                  <a:lnTo>
                    <a:pt x="3" y="19"/>
                  </a:lnTo>
                  <a:lnTo>
                    <a:pt x="1" y="16"/>
                  </a:lnTo>
                  <a:lnTo>
                    <a:pt x="0" y="11"/>
                  </a:lnTo>
                  <a:lnTo>
                    <a:pt x="0" y="11"/>
                  </a:lnTo>
                  <a:lnTo>
                    <a:pt x="1" y="6"/>
                  </a:lnTo>
                  <a:lnTo>
                    <a:pt x="3" y="2"/>
                  </a:lnTo>
                  <a:lnTo>
                    <a:pt x="3" y="2"/>
                  </a:lnTo>
                  <a:lnTo>
                    <a:pt x="7" y="0"/>
                  </a:lnTo>
                  <a:lnTo>
                    <a:pt x="12" y="0"/>
                  </a:lnTo>
                  <a:lnTo>
                    <a:pt x="86" y="0"/>
                  </a:lnTo>
                  <a:lnTo>
                    <a:pt x="86" y="0"/>
                  </a:lnTo>
                  <a:lnTo>
                    <a:pt x="89" y="0"/>
                  </a:lnTo>
                  <a:lnTo>
                    <a:pt x="93" y="2"/>
                  </a:lnTo>
                  <a:lnTo>
                    <a:pt x="95" y="6"/>
                  </a:lnTo>
                  <a:lnTo>
                    <a:pt x="97" y="11"/>
                  </a:lnTo>
                  <a:lnTo>
                    <a:pt x="97" y="11"/>
                  </a:lnTo>
                  <a:lnTo>
                    <a:pt x="95" y="16"/>
                  </a:lnTo>
                  <a:lnTo>
                    <a:pt x="93" y="19"/>
                  </a:lnTo>
                  <a:lnTo>
                    <a:pt x="89" y="22"/>
                  </a:lnTo>
                  <a:lnTo>
                    <a:pt x="86" y="22"/>
                  </a:lnTo>
                  <a:lnTo>
                    <a:pt x="12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6" name="Freeform 49"/>
            <p:cNvSpPr/>
            <p:nvPr/>
          </p:nvSpPr>
          <p:spPr bwMode="auto">
            <a:xfrm>
              <a:off x="-2105025" y="722313"/>
              <a:ext cx="28575" cy="12700"/>
            </a:xfrm>
            <a:custGeom>
              <a:avLst/>
              <a:gdLst>
                <a:gd name="T0" fmla="*/ 26 w 55"/>
                <a:gd name="T1" fmla="*/ 25 h 25"/>
                <a:gd name="T2" fmla="*/ 26 w 55"/>
                <a:gd name="T3" fmla="*/ 25 h 25"/>
                <a:gd name="T4" fmla="*/ 21 w 55"/>
                <a:gd name="T5" fmla="*/ 25 h 25"/>
                <a:gd name="T6" fmla="*/ 16 w 55"/>
                <a:gd name="T7" fmla="*/ 23 h 25"/>
                <a:gd name="T8" fmla="*/ 11 w 55"/>
                <a:gd name="T9" fmla="*/ 20 h 25"/>
                <a:gd name="T10" fmla="*/ 8 w 55"/>
                <a:gd name="T11" fmla="*/ 18 h 25"/>
                <a:gd name="T12" fmla="*/ 4 w 55"/>
                <a:gd name="T13" fmla="*/ 14 h 25"/>
                <a:gd name="T14" fmla="*/ 2 w 55"/>
                <a:gd name="T15" fmla="*/ 9 h 25"/>
                <a:gd name="T16" fmla="*/ 0 w 55"/>
                <a:gd name="T17" fmla="*/ 5 h 25"/>
                <a:gd name="T18" fmla="*/ 0 w 55"/>
                <a:gd name="T19" fmla="*/ 0 h 25"/>
                <a:gd name="T20" fmla="*/ 0 w 55"/>
                <a:gd name="T21" fmla="*/ 0 h 25"/>
                <a:gd name="T22" fmla="*/ 55 w 55"/>
                <a:gd name="T23" fmla="*/ 0 h 25"/>
                <a:gd name="T24" fmla="*/ 55 w 55"/>
                <a:gd name="T25" fmla="*/ 0 h 25"/>
                <a:gd name="T26" fmla="*/ 55 w 55"/>
                <a:gd name="T27" fmla="*/ 0 h 25"/>
                <a:gd name="T28" fmla="*/ 54 w 55"/>
                <a:gd name="T29" fmla="*/ 5 h 25"/>
                <a:gd name="T30" fmla="*/ 53 w 55"/>
                <a:gd name="T31" fmla="*/ 9 h 25"/>
                <a:gd name="T32" fmla="*/ 50 w 55"/>
                <a:gd name="T33" fmla="*/ 14 h 25"/>
                <a:gd name="T34" fmla="*/ 47 w 55"/>
                <a:gd name="T35" fmla="*/ 18 h 25"/>
                <a:gd name="T36" fmla="*/ 43 w 55"/>
                <a:gd name="T37" fmla="*/ 20 h 25"/>
                <a:gd name="T38" fmla="*/ 39 w 55"/>
                <a:gd name="T39" fmla="*/ 23 h 25"/>
                <a:gd name="T40" fmla="*/ 34 w 55"/>
                <a:gd name="T41" fmla="*/ 25 h 25"/>
                <a:gd name="T42" fmla="*/ 30 w 55"/>
                <a:gd name="T43" fmla="*/ 25 h 25"/>
                <a:gd name="T44" fmla="*/ 26 w 55"/>
                <a:gd name="T45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5" h="25">
                  <a:moveTo>
                    <a:pt x="26" y="25"/>
                  </a:moveTo>
                  <a:lnTo>
                    <a:pt x="26" y="25"/>
                  </a:lnTo>
                  <a:lnTo>
                    <a:pt x="21" y="25"/>
                  </a:lnTo>
                  <a:lnTo>
                    <a:pt x="16" y="23"/>
                  </a:lnTo>
                  <a:lnTo>
                    <a:pt x="11" y="20"/>
                  </a:lnTo>
                  <a:lnTo>
                    <a:pt x="8" y="18"/>
                  </a:lnTo>
                  <a:lnTo>
                    <a:pt x="4" y="14"/>
                  </a:lnTo>
                  <a:lnTo>
                    <a:pt x="2" y="9"/>
                  </a:lnTo>
                  <a:lnTo>
                    <a:pt x="0" y="5"/>
                  </a:lnTo>
                  <a:lnTo>
                    <a:pt x="0" y="0"/>
                  </a:lnTo>
                  <a:lnTo>
                    <a:pt x="0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5" y="0"/>
                  </a:lnTo>
                  <a:lnTo>
                    <a:pt x="54" y="5"/>
                  </a:lnTo>
                  <a:lnTo>
                    <a:pt x="53" y="9"/>
                  </a:lnTo>
                  <a:lnTo>
                    <a:pt x="50" y="14"/>
                  </a:lnTo>
                  <a:lnTo>
                    <a:pt x="47" y="18"/>
                  </a:lnTo>
                  <a:lnTo>
                    <a:pt x="43" y="20"/>
                  </a:lnTo>
                  <a:lnTo>
                    <a:pt x="39" y="23"/>
                  </a:lnTo>
                  <a:lnTo>
                    <a:pt x="34" y="25"/>
                  </a:lnTo>
                  <a:lnTo>
                    <a:pt x="30" y="25"/>
                  </a:lnTo>
                  <a:lnTo>
                    <a:pt x="26" y="2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7" name="Freeform 50"/>
            <p:cNvSpPr/>
            <p:nvPr/>
          </p:nvSpPr>
          <p:spPr bwMode="auto">
            <a:xfrm>
              <a:off x="-2093913" y="598488"/>
              <a:ext cx="6350" cy="15875"/>
            </a:xfrm>
            <a:custGeom>
              <a:avLst/>
              <a:gdLst>
                <a:gd name="T0" fmla="*/ 0 w 14"/>
                <a:gd name="T1" fmla="*/ 6 h 29"/>
                <a:gd name="T2" fmla="*/ 0 w 14"/>
                <a:gd name="T3" fmla="*/ 6 h 29"/>
                <a:gd name="T4" fmla="*/ 1 w 14"/>
                <a:gd name="T5" fmla="*/ 4 h 29"/>
                <a:gd name="T6" fmla="*/ 2 w 14"/>
                <a:gd name="T7" fmla="*/ 1 h 29"/>
                <a:gd name="T8" fmla="*/ 5 w 14"/>
                <a:gd name="T9" fmla="*/ 0 h 29"/>
                <a:gd name="T10" fmla="*/ 7 w 14"/>
                <a:gd name="T11" fmla="*/ 0 h 29"/>
                <a:gd name="T12" fmla="*/ 7 w 14"/>
                <a:gd name="T13" fmla="*/ 0 h 29"/>
                <a:gd name="T14" fmla="*/ 10 w 14"/>
                <a:gd name="T15" fmla="*/ 0 h 29"/>
                <a:gd name="T16" fmla="*/ 12 w 14"/>
                <a:gd name="T17" fmla="*/ 1 h 29"/>
                <a:gd name="T18" fmla="*/ 12 w 14"/>
                <a:gd name="T19" fmla="*/ 1 h 29"/>
                <a:gd name="T20" fmla="*/ 14 w 14"/>
                <a:gd name="T21" fmla="*/ 4 h 29"/>
                <a:gd name="T22" fmla="*/ 14 w 14"/>
                <a:gd name="T23" fmla="*/ 6 h 29"/>
                <a:gd name="T24" fmla="*/ 14 w 14"/>
                <a:gd name="T25" fmla="*/ 22 h 29"/>
                <a:gd name="T26" fmla="*/ 14 w 14"/>
                <a:gd name="T27" fmla="*/ 22 h 29"/>
                <a:gd name="T28" fmla="*/ 14 w 14"/>
                <a:gd name="T29" fmla="*/ 24 h 29"/>
                <a:gd name="T30" fmla="*/ 12 w 14"/>
                <a:gd name="T31" fmla="*/ 27 h 29"/>
                <a:gd name="T32" fmla="*/ 10 w 14"/>
                <a:gd name="T33" fmla="*/ 28 h 29"/>
                <a:gd name="T34" fmla="*/ 7 w 14"/>
                <a:gd name="T35" fmla="*/ 29 h 29"/>
                <a:gd name="T36" fmla="*/ 7 w 14"/>
                <a:gd name="T37" fmla="*/ 29 h 29"/>
                <a:gd name="T38" fmla="*/ 5 w 14"/>
                <a:gd name="T39" fmla="*/ 28 h 29"/>
                <a:gd name="T40" fmla="*/ 2 w 14"/>
                <a:gd name="T41" fmla="*/ 27 h 29"/>
                <a:gd name="T42" fmla="*/ 2 w 14"/>
                <a:gd name="T43" fmla="*/ 27 h 29"/>
                <a:gd name="T44" fmla="*/ 1 w 14"/>
                <a:gd name="T45" fmla="*/ 24 h 29"/>
                <a:gd name="T46" fmla="*/ 0 w 14"/>
                <a:gd name="T47" fmla="*/ 22 h 29"/>
                <a:gd name="T48" fmla="*/ 0 w 14"/>
                <a:gd name="T49" fmla="*/ 6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4" h="29">
                  <a:moveTo>
                    <a:pt x="0" y="6"/>
                  </a:moveTo>
                  <a:lnTo>
                    <a:pt x="0" y="6"/>
                  </a:lnTo>
                  <a:lnTo>
                    <a:pt x="1" y="4"/>
                  </a:lnTo>
                  <a:lnTo>
                    <a:pt x="2" y="1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0"/>
                  </a:lnTo>
                  <a:lnTo>
                    <a:pt x="10" y="0"/>
                  </a:lnTo>
                  <a:lnTo>
                    <a:pt x="12" y="1"/>
                  </a:lnTo>
                  <a:lnTo>
                    <a:pt x="12" y="1"/>
                  </a:lnTo>
                  <a:lnTo>
                    <a:pt x="14" y="4"/>
                  </a:lnTo>
                  <a:lnTo>
                    <a:pt x="14" y="6"/>
                  </a:lnTo>
                  <a:lnTo>
                    <a:pt x="14" y="22"/>
                  </a:lnTo>
                  <a:lnTo>
                    <a:pt x="14" y="22"/>
                  </a:lnTo>
                  <a:lnTo>
                    <a:pt x="14" y="24"/>
                  </a:lnTo>
                  <a:lnTo>
                    <a:pt x="12" y="27"/>
                  </a:lnTo>
                  <a:lnTo>
                    <a:pt x="10" y="28"/>
                  </a:lnTo>
                  <a:lnTo>
                    <a:pt x="7" y="29"/>
                  </a:lnTo>
                  <a:lnTo>
                    <a:pt x="7" y="29"/>
                  </a:lnTo>
                  <a:lnTo>
                    <a:pt x="5" y="28"/>
                  </a:lnTo>
                  <a:lnTo>
                    <a:pt x="2" y="27"/>
                  </a:lnTo>
                  <a:lnTo>
                    <a:pt x="2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8" name="Freeform 51"/>
            <p:cNvSpPr/>
            <p:nvPr/>
          </p:nvSpPr>
          <p:spPr bwMode="auto">
            <a:xfrm>
              <a:off x="-2171700" y="723901"/>
              <a:ext cx="103188" cy="179388"/>
            </a:xfrm>
            <a:custGeom>
              <a:avLst/>
              <a:gdLst>
                <a:gd name="T0" fmla="*/ 12 w 196"/>
                <a:gd name="T1" fmla="*/ 258 h 340"/>
                <a:gd name="T2" fmla="*/ 12 w 196"/>
                <a:gd name="T3" fmla="*/ 258 h 340"/>
                <a:gd name="T4" fmla="*/ 10 w 196"/>
                <a:gd name="T5" fmla="*/ 254 h 340"/>
                <a:gd name="T6" fmla="*/ 8 w 196"/>
                <a:gd name="T7" fmla="*/ 249 h 340"/>
                <a:gd name="T8" fmla="*/ 4 w 196"/>
                <a:gd name="T9" fmla="*/ 242 h 340"/>
                <a:gd name="T10" fmla="*/ 2 w 196"/>
                <a:gd name="T11" fmla="*/ 233 h 340"/>
                <a:gd name="T12" fmla="*/ 0 w 196"/>
                <a:gd name="T13" fmla="*/ 224 h 340"/>
                <a:gd name="T14" fmla="*/ 0 w 196"/>
                <a:gd name="T15" fmla="*/ 211 h 340"/>
                <a:gd name="T16" fmla="*/ 2 w 196"/>
                <a:gd name="T17" fmla="*/ 197 h 340"/>
                <a:gd name="T18" fmla="*/ 2 w 196"/>
                <a:gd name="T19" fmla="*/ 197 h 340"/>
                <a:gd name="T20" fmla="*/ 45 w 196"/>
                <a:gd name="T21" fmla="*/ 0 h 340"/>
                <a:gd name="T22" fmla="*/ 117 w 196"/>
                <a:gd name="T23" fmla="*/ 14 h 340"/>
                <a:gd name="T24" fmla="*/ 84 w 196"/>
                <a:gd name="T25" fmla="*/ 197 h 340"/>
                <a:gd name="T26" fmla="*/ 196 w 196"/>
                <a:gd name="T27" fmla="*/ 261 h 340"/>
                <a:gd name="T28" fmla="*/ 147 w 196"/>
                <a:gd name="T29" fmla="*/ 340 h 340"/>
                <a:gd name="T30" fmla="*/ 12 w 196"/>
                <a:gd name="T31" fmla="*/ 258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96" h="340">
                  <a:moveTo>
                    <a:pt x="12" y="258"/>
                  </a:moveTo>
                  <a:lnTo>
                    <a:pt x="12" y="258"/>
                  </a:lnTo>
                  <a:lnTo>
                    <a:pt x="10" y="254"/>
                  </a:lnTo>
                  <a:lnTo>
                    <a:pt x="8" y="249"/>
                  </a:lnTo>
                  <a:lnTo>
                    <a:pt x="4" y="242"/>
                  </a:lnTo>
                  <a:lnTo>
                    <a:pt x="2" y="233"/>
                  </a:lnTo>
                  <a:lnTo>
                    <a:pt x="0" y="224"/>
                  </a:lnTo>
                  <a:lnTo>
                    <a:pt x="0" y="211"/>
                  </a:lnTo>
                  <a:lnTo>
                    <a:pt x="2" y="197"/>
                  </a:lnTo>
                  <a:lnTo>
                    <a:pt x="2" y="197"/>
                  </a:lnTo>
                  <a:lnTo>
                    <a:pt x="45" y="0"/>
                  </a:lnTo>
                  <a:lnTo>
                    <a:pt x="117" y="14"/>
                  </a:lnTo>
                  <a:lnTo>
                    <a:pt x="84" y="197"/>
                  </a:lnTo>
                  <a:lnTo>
                    <a:pt x="196" y="261"/>
                  </a:lnTo>
                  <a:lnTo>
                    <a:pt x="147" y="340"/>
                  </a:lnTo>
                  <a:lnTo>
                    <a:pt x="12" y="2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19" name="Freeform 52"/>
            <p:cNvSpPr/>
            <p:nvPr/>
          </p:nvSpPr>
          <p:spPr bwMode="auto">
            <a:xfrm>
              <a:off x="-2139950" y="620713"/>
              <a:ext cx="14288" cy="12700"/>
            </a:xfrm>
            <a:custGeom>
              <a:avLst/>
              <a:gdLst>
                <a:gd name="T0" fmla="*/ 2 w 25"/>
                <a:gd name="T1" fmla="*/ 2 h 25"/>
                <a:gd name="T2" fmla="*/ 2 w 25"/>
                <a:gd name="T3" fmla="*/ 2 h 25"/>
                <a:gd name="T4" fmla="*/ 5 w 25"/>
                <a:gd name="T5" fmla="*/ 1 h 25"/>
                <a:gd name="T6" fmla="*/ 7 w 25"/>
                <a:gd name="T7" fmla="*/ 0 h 25"/>
                <a:gd name="T8" fmla="*/ 11 w 25"/>
                <a:gd name="T9" fmla="*/ 1 h 25"/>
                <a:gd name="T10" fmla="*/ 12 w 25"/>
                <a:gd name="T11" fmla="*/ 2 h 25"/>
                <a:gd name="T12" fmla="*/ 23 w 25"/>
                <a:gd name="T13" fmla="*/ 13 h 25"/>
                <a:gd name="T14" fmla="*/ 23 w 25"/>
                <a:gd name="T15" fmla="*/ 13 h 25"/>
                <a:gd name="T16" fmla="*/ 25 w 25"/>
                <a:gd name="T17" fmla="*/ 16 h 25"/>
                <a:gd name="T18" fmla="*/ 25 w 25"/>
                <a:gd name="T19" fmla="*/ 18 h 25"/>
                <a:gd name="T20" fmla="*/ 25 w 25"/>
                <a:gd name="T21" fmla="*/ 18 h 25"/>
                <a:gd name="T22" fmla="*/ 25 w 25"/>
                <a:gd name="T23" fmla="*/ 21 h 25"/>
                <a:gd name="T24" fmla="*/ 23 w 25"/>
                <a:gd name="T25" fmla="*/ 23 h 25"/>
                <a:gd name="T26" fmla="*/ 23 w 25"/>
                <a:gd name="T27" fmla="*/ 23 h 25"/>
                <a:gd name="T28" fmla="*/ 21 w 25"/>
                <a:gd name="T29" fmla="*/ 24 h 25"/>
                <a:gd name="T30" fmla="*/ 18 w 25"/>
                <a:gd name="T31" fmla="*/ 25 h 25"/>
                <a:gd name="T32" fmla="*/ 16 w 25"/>
                <a:gd name="T33" fmla="*/ 24 h 25"/>
                <a:gd name="T34" fmla="*/ 13 w 25"/>
                <a:gd name="T35" fmla="*/ 23 h 25"/>
                <a:gd name="T36" fmla="*/ 2 w 25"/>
                <a:gd name="T37" fmla="*/ 12 h 25"/>
                <a:gd name="T38" fmla="*/ 2 w 25"/>
                <a:gd name="T39" fmla="*/ 12 h 25"/>
                <a:gd name="T40" fmla="*/ 1 w 25"/>
                <a:gd name="T41" fmla="*/ 10 h 25"/>
                <a:gd name="T42" fmla="*/ 0 w 25"/>
                <a:gd name="T43" fmla="*/ 7 h 25"/>
                <a:gd name="T44" fmla="*/ 0 w 25"/>
                <a:gd name="T45" fmla="*/ 7 h 25"/>
                <a:gd name="T46" fmla="*/ 1 w 25"/>
                <a:gd name="T47" fmla="*/ 5 h 25"/>
                <a:gd name="T48" fmla="*/ 2 w 25"/>
                <a:gd name="T49" fmla="*/ 2 h 25"/>
                <a:gd name="T50" fmla="*/ 2 w 25"/>
                <a:gd name="T51" fmla="*/ 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5" h="25">
                  <a:moveTo>
                    <a:pt x="2" y="2"/>
                  </a:moveTo>
                  <a:lnTo>
                    <a:pt x="2" y="2"/>
                  </a:lnTo>
                  <a:lnTo>
                    <a:pt x="5" y="1"/>
                  </a:lnTo>
                  <a:lnTo>
                    <a:pt x="7" y="0"/>
                  </a:lnTo>
                  <a:lnTo>
                    <a:pt x="11" y="1"/>
                  </a:lnTo>
                  <a:lnTo>
                    <a:pt x="12" y="2"/>
                  </a:lnTo>
                  <a:lnTo>
                    <a:pt x="23" y="13"/>
                  </a:lnTo>
                  <a:lnTo>
                    <a:pt x="23" y="13"/>
                  </a:lnTo>
                  <a:lnTo>
                    <a:pt x="25" y="16"/>
                  </a:lnTo>
                  <a:lnTo>
                    <a:pt x="25" y="18"/>
                  </a:lnTo>
                  <a:lnTo>
                    <a:pt x="25" y="18"/>
                  </a:lnTo>
                  <a:lnTo>
                    <a:pt x="25" y="21"/>
                  </a:lnTo>
                  <a:lnTo>
                    <a:pt x="23" y="23"/>
                  </a:lnTo>
                  <a:lnTo>
                    <a:pt x="23" y="23"/>
                  </a:lnTo>
                  <a:lnTo>
                    <a:pt x="21" y="24"/>
                  </a:lnTo>
                  <a:lnTo>
                    <a:pt x="18" y="25"/>
                  </a:lnTo>
                  <a:lnTo>
                    <a:pt x="16" y="24"/>
                  </a:lnTo>
                  <a:lnTo>
                    <a:pt x="13" y="23"/>
                  </a:lnTo>
                  <a:lnTo>
                    <a:pt x="2" y="12"/>
                  </a:lnTo>
                  <a:lnTo>
                    <a:pt x="2" y="12"/>
                  </a:lnTo>
                  <a:lnTo>
                    <a:pt x="1" y="10"/>
                  </a:lnTo>
                  <a:lnTo>
                    <a:pt x="0" y="7"/>
                  </a:lnTo>
                  <a:lnTo>
                    <a:pt x="0" y="7"/>
                  </a:lnTo>
                  <a:lnTo>
                    <a:pt x="1" y="5"/>
                  </a:lnTo>
                  <a:lnTo>
                    <a:pt x="2" y="2"/>
                  </a:lnTo>
                  <a:lnTo>
                    <a:pt x="2" y="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20" name="Freeform 53"/>
            <p:cNvSpPr/>
            <p:nvPr/>
          </p:nvSpPr>
          <p:spPr bwMode="auto">
            <a:xfrm>
              <a:off x="-2155825" y="658813"/>
              <a:ext cx="15875" cy="6350"/>
            </a:xfrm>
            <a:custGeom>
              <a:avLst/>
              <a:gdLst>
                <a:gd name="T0" fmla="*/ 7 w 29"/>
                <a:gd name="T1" fmla="*/ 13 h 13"/>
                <a:gd name="T2" fmla="*/ 7 w 29"/>
                <a:gd name="T3" fmla="*/ 13 h 13"/>
                <a:gd name="T4" fmla="*/ 4 w 29"/>
                <a:gd name="T5" fmla="*/ 13 h 13"/>
                <a:gd name="T6" fmla="*/ 2 w 29"/>
                <a:gd name="T7" fmla="*/ 12 h 13"/>
                <a:gd name="T8" fmla="*/ 1 w 29"/>
                <a:gd name="T9" fmla="*/ 9 h 13"/>
                <a:gd name="T10" fmla="*/ 0 w 29"/>
                <a:gd name="T11" fmla="*/ 6 h 13"/>
                <a:gd name="T12" fmla="*/ 0 w 29"/>
                <a:gd name="T13" fmla="*/ 6 h 13"/>
                <a:gd name="T14" fmla="*/ 1 w 29"/>
                <a:gd name="T15" fmla="*/ 3 h 13"/>
                <a:gd name="T16" fmla="*/ 2 w 29"/>
                <a:gd name="T17" fmla="*/ 1 h 13"/>
                <a:gd name="T18" fmla="*/ 2 w 29"/>
                <a:gd name="T19" fmla="*/ 1 h 13"/>
                <a:gd name="T20" fmla="*/ 4 w 29"/>
                <a:gd name="T21" fmla="*/ 0 h 13"/>
                <a:gd name="T22" fmla="*/ 7 w 29"/>
                <a:gd name="T23" fmla="*/ 0 h 13"/>
                <a:gd name="T24" fmla="*/ 21 w 29"/>
                <a:gd name="T25" fmla="*/ 0 h 13"/>
                <a:gd name="T26" fmla="*/ 21 w 29"/>
                <a:gd name="T27" fmla="*/ 0 h 13"/>
                <a:gd name="T28" fmla="*/ 25 w 29"/>
                <a:gd name="T29" fmla="*/ 0 h 13"/>
                <a:gd name="T30" fmla="*/ 28 w 29"/>
                <a:gd name="T31" fmla="*/ 1 h 13"/>
                <a:gd name="T32" fmla="*/ 29 w 29"/>
                <a:gd name="T33" fmla="*/ 3 h 13"/>
                <a:gd name="T34" fmla="*/ 29 w 29"/>
                <a:gd name="T35" fmla="*/ 6 h 13"/>
                <a:gd name="T36" fmla="*/ 29 w 29"/>
                <a:gd name="T37" fmla="*/ 6 h 13"/>
                <a:gd name="T38" fmla="*/ 29 w 29"/>
                <a:gd name="T39" fmla="*/ 9 h 13"/>
                <a:gd name="T40" fmla="*/ 28 w 29"/>
                <a:gd name="T41" fmla="*/ 12 h 13"/>
                <a:gd name="T42" fmla="*/ 28 w 29"/>
                <a:gd name="T43" fmla="*/ 12 h 13"/>
                <a:gd name="T44" fmla="*/ 25 w 29"/>
                <a:gd name="T45" fmla="*/ 13 h 13"/>
                <a:gd name="T46" fmla="*/ 21 w 29"/>
                <a:gd name="T47" fmla="*/ 13 h 13"/>
                <a:gd name="T48" fmla="*/ 7 w 29"/>
                <a:gd name="T49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9" h="13">
                  <a:moveTo>
                    <a:pt x="7" y="13"/>
                  </a:moveTo>
                  <a:lnTo>
                    <a:pt x="7" y="13"/>
                  </a:lnTo>
                  <a:lnTo>
                    <a:pt x="4" y="13"/>
                  </a:lnTo>
                  <a:lnTo>
                    <a:pt x="2" y="12"/>
                  </a:lnTo>
                  <a:lnTo>
                    <a:pt x="1" y="9"/>
                  </a:lnTo>
                  <a:lnTo>
                    <a:pt x="0" y="6"/>
                  </a:lnTo>
                  <a:lnTo>
                    <a:pt x="0" y="6"/>
                  </a:lnTo>
                  <a:lnTo>
                    <a:pt x="1" y="3"/>
                  </a:lnTo>
                  <a:lnTo>
                    <a:pt x="2" y="1"/>
                  </a:lnTo>
                  <a:lnTo>
                    <a:pt x="2" y="1"/>
                  </a:lnTo>
                  <a:lnTo>
                    <a:pt x="4" y="0"/>
                  </a:lnTo>
                  <a:lnTo>
                    <a:pt x="7" y="0"/>
                  </a:lnTo>
                  <a:lnTo>
                    <a:pt x="21" y="0"/>
                  </a:lnTo>
                  <a:lnTo>
                    <a:pt x="21" y="0"/>
                  </a:lnTo>
                  <a:lnTo>
                    <a:pt x="25" y="0"/>
                  </a:lnTo>
                  <a:lnTo>
                    <a:pt x="28" y="1"/>
                  </a:lnTo>
                  <a:lnTo>
                    <a:pt x="29" y="3"/>
                  </a:lnTo>
                  <a:lnTo>
                    <a:pt x="29" y="6"/>
                  </a:lnTo>
                  <a:lnTo>
                    <a:pt x="29" y="6"/>
                  </a:lnTo>
                  <a:lnTo>
                    <a:pt x="29" y="9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5" y="13"/>
                  </a:lnTo>
                  <a:lnTo>
                    <a:pt x="21" y="13"/>
                  </a:lnTo>
                  <a:lnTo>
                    <a:pt x="7" y="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21" name="Rectangle 54"/>
            <p:cNvSpPr>
              <a:spLocks noChangeArrowheads="1"/>
            </p:cNvSpPr>
            <p:nvPr/>
          </p:nvSpPr>
          <p:spPr bwMode="auto">
            <a:xfrm>
              <a:off x="-2235200" y="931863"/>
              <a:ext cx="22225" cy="920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22" name="Freeform 55"/>
            <p:cNvSpPr/>
            <p:nvPr/>
          </p:nvSpPr>
          <p:spPr bwMode="auto">
            <a:xfrm>
              <a:off x="-2232025" y="917576"/>
              <a:ext cx="14288" cy="12700"/>
            </a:xfrm>
            <a:custGeom>
              <a:avLst/>
              <a:gdLst>
                <a:gd name="T0" fmla="*/ 0 w 28"/>
                <a:gd name="T1" fmla="*/ 7 h 23"/>
                <a:gd name="T2" fmla="*/ 0 w 28"/>
                <a:gd name="T3" fmla="*/ 7 h 23"/>
                <a:gd name="T4" fmla="*/ 0 w 28"/>
                <a:gd name="T5" fmla="*/ 3 h 23"/>
                <a:gd name="T6" fmla="*/ 3 w 28"/>
                <a:gd name="T7" fmla="*/ 1 h 23"/>
                <a:gd name="T8" fmla="*/ 4 w 28"/>
                <a:gd name="T9" fmla="*/ 0 h 23"/>
                <a:gd name="T10" fmla="*/ 8 w 28"/>
                <a:gd name="T11" fmla="*/ 0 h 23"/>
                <a:gd name="T12" fmla="*/ 22 w 28"/>
                <a:gd name="T13" fmla="*/ 0 h 23"/>
                <a:gd name="T14" fmla="*/ 22 w 28"/>
                <a:gd name="T15" fmla="*/ 0 h 23"/>
                <a:gd name="T16" fmla="*/ 25 w 28"/>
                <a:gd name="T17" fmla="*/ 0 h 23"/>
                <a:gd name="T18" fmla="*/ 27 w 28"/>
                <a:gd name="T19" fmla="*/ 1 h 23"/>
                <a:gd name="T20" fmla="*/ 28 w 28"/>
                <a:gd name="T21" fmla="*/ 3 h 23"/>
                <a:gd name="T22" fmla="*/ 28 w 28"/>
                <a:gd name="T23" fmla="*/ 7 h 23"/>
                <a:gd name="T24" fmla="*/ 28 w 28"/>
                <a:gd name="T25" fmla="*/ 23 h 23"/>
                <a:gd name="T26" fmla="*/ 0 w 28"/>
                <a:gd name="T27" fmla="*/ 23 h 23"/>
                <a:gd name="T28" fmla="*/ 0 w 28"/>
                <a:gd name="T29" fmla="*/ 7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23">
                  <a:moveTo>
                    <a:pt x="0" y="7"/>
                  </a:moveTo>
                  <a:lnTo>
                    <a:pt x="0" y="7"/>
                  </a:lnTo>
                  <a:lnTo>
                    <a:pt x="0" y="3"/>
                  </a:lnTo>
                  <a:lnTo>
                    <a:pt x="3" y="1"/>
                  </a:lnTo>
                  <a:lnTo>
                    <a:pt x="4" y="0"/>
                  </a:lnTo>
                  <a:lnTo>
                    <a:pt x="8" y="0"/>
                  </a:lnTo>
                  <a:lnTo>
                    <a:pt x="22" y="0"/>
                  </a:lnTo>
                  <a:lnTo>
                    <a:pt x="22" y="0"/>
                  </a:lnTo>
                  <a:lnTo>
                    <a:pt x="25" y="0"/>
                  </a:lnTo>
                  <a:lnTo>
                    <a:pt x="27" y="1"/>
                  </a:lnTo>
                  <a:lnTo>
                    <a:pt x="28" y="3"/>
                  </a:lnTo>
                  <a:lnTo>
                    <a:pt x="28" y="7"/>
                  </a:lnTo>
                  <a:lnTo>
                    <a:pt x="28" y="23"/>
                  </a:lnTo>
                  <a:lnTo>
                    <a:pt x="0" y="23"/>
                  </a:ln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23" name="Freeform 56"/>
            <p:cNvSpPr/>
            <p:nvPr/>
          </p:nvSpPr>
          <p:spPr bwMode="auto">
            <a:xfrm>
              <a:off x="-2233613" y="1025526"/>
              <a:ext cx="19050" cy="17463"/>
            </a:xfrm>
            <a:custGeom>
              <a:avLst/>
              <a:gdLst>
                <a:gd name="T0" fmla="*/ 36 w 36"/>
                <a:gd name="T1" fmla="*/ 0 h 32"/>
                <a:gd name="T2" fmla="*/ 18 w 36"/>
                <a:gd name="T3" fmla="*/ 32 h 32"/>
                <a:gd name="T4" fmla="*/ 0 w 36"/>
                <a:gd name="T5" fmla="*/ 0 h 32"/>
                <a:gd name="T6" fmla="*/ 36 w 36"/>
                <a:gd name="T7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32">
                  <a:moveTo>
                    <a:pt x="36" y="0"/>
                  </a:moveTo>
                  <a:lnTo>
                    <a:pt x="18" y="32"/>
                  </a:lnTo>
                  <a:lnTo>
                    <a:pt x="0" y="0"/>
                  </a:lnTo>
                  <a:lnTo>
                    <a:pt x="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124" name="Group 55"/>
          <p:cNvGrpSpPr/>
          <p:nvPr/>
        </p:nvGrpSpPr>
        <p:grpSpPr>
          <a:xfrm>
            <a:off x="10861721" y="1976352"/>
            <a:ext cx="582912" cy="637876"/>
            <a:chOff x="-708026" y="4368800"/>
            <a:chExt cx="639763" cy="700087"/>
          </a:xfrm>
          <a:solidFill>
            <a:schemeClr val="bg1"/>
          </a:solidFill>
        </p:grpSpPr>
        <p:sp>
          <p:nvSpPr>
            <p:cNvPr id="125" name="Freeform 351"/>
            <p:cNvSpPr/>
            <p:nvPr/>
          </p:nvSpPr>
          <p:spPr bwMode="auto">
            <a:xfrm>
              <a:off x="-233363" y="4395787"/>
              <a:ext cx="165100" cy="165100"/>
            </a:xfrm>
            <a:custGeom>
              <a:avLst/>
              <a:gdLst>
                <a:gd name="T0" fmla="*/ 312 w 312"/>
                <a:gd name="T1" fmla="*/ 156 h 312"/>
                <a:gd name="T2" fmla="*/ 310 w 312"/>
                <a:gd name="T3" fmla="*/ 188 h 312"/>
                <a:gd name="T4" fmla="*/ 300 w 312"/>
                <a:gd name="T5" fmla="*/ 217 h 312"/>
                <a:gd name="T6" fmla="*/ 285 w 312"/>
                <a:gd name="T7" fmla="*/ 244 h 312"/>
                <a:gd name="T8" fmla="*/ 267 w 312"/>
                <a:gd name="T9" fmla="*/ 267 h 312"/>
                <a:gd name="T10" fmla="*/ 244 w 312"/>
                <a:gd name="T11" fmla="*/ 285 h 312"/>
                <a:gd name="T12" fmla="*/ 217 w 312"/>
                <a:gd name="T13" fmla="*/ 300 h 312"/>
                <a:gd name="T14" fmla="*/ 188 w 312"/>
                <a:gd name="T15" fmla="*/ 309 h 312"/>
                <a:gd name="T16" fmla="*/ 157 w 312"/>
                <a:gd name="T17" fmla="*/ 312 h 312"/>
                <a:gd name="T18" fmla="*/ 141 w 312"/>
                <a:gd name="T19" fmla="*/ 312 h 312"/>
                <a:gd name="T20" fmla="*/ 110 w 312"/>
                <a:gd name="T21" fmla="*/ 306 h 312"/>
                <a:gd name="T22" fmla="*/ 82 w 312"/>
                <a:gd name="T23" fmla="*/ 294 h 312"/>
                <a:gd name="T24" fmla="*/ 57 w 312"/>
                <a:gd name="T25" fmla="*/ 277 h 312"/>
                <a:gd name="T26" fmla="*/ 35 w 312"/>
                <a:gd name="T27" fmla="*/ 256 h 312"/>
                <a:gd name="T28" fmla="*/ 20 w 312"/>
                <a:gd name="T29" fmla="*/ 230 h 312"/>
                <a:gd name="T30" fmla="*/ 8 w 312"/>
                <a:gd name="T31" fmla="*/ 203 h 312"/>
                <a:gd name="T32" fmla="*/ 2 w 312"/>
                <a:gd name="T33" fmla="*/ 172 h 312"/>
                <a:gd name="T34" fmla="*/ 0 w 312"/>
                <a:gd name="T35" fmla="*/ 156 h 312"/>
                <a:gd name="T36" fmla="*/ 4 w 312"/>
                <a:gd name="T37" fmla="*/ 125 h 312"/>
                <a:gd name="T38" fmla="*/ 12 w 312"/>
                <a:gd name="T39" fmla="*/ 96 h 312"/>
                <a:gd name="T40" fmla="*/ 27 w 312"/>
                <a:gd name="T41" fmla="*/ 69 h 312"/>
                <a:gd name="T42" fmla="*/ 46 w 312"/>
                <a:gd name="T43" fmla="*/ 46 h 312"/>
                <a:gd name="T44" fmla="*/ 69 w 312"/>
                <a:gd name="T45" fmla="*/ 27 h 312"/>
                <a:gd name="T46" fmla="*/ 96 w 312"/>
                <a:gd name="T47" fmla="*/ 12 h 312"/>
                <a:gd name="T48" fmla="*/ 125 w 312"/>
                <a:gd name="T49" fmla="*/ 4 h 312"/>
                <a:gd name="T50" fmla="*/ 157 w 312"/>
                <a:gd name="T51" fmla="*/ 0 h 312"/>
                <a:gd name="T52" fmla="*/ 173 w 312"/>
                <a:gd name="T53" fmla="*/ 1 h 312"/>
                <a:gd name="T54" fmla="*/ 203 w 312"/>
                <a:gd name="T55" fmla="*/ 7 h 312"/>
                <a:gd name="T56" fmla="*/ 231 w 312"/>
                <a:gd name="T57" fmla="*/ 19 h 312"/>
                <a:gd name="T58" fmla="*/ 255 w 312"/>
                <a:gd name="T59" fmla="*/ 36 h 312"/>
                <a:gd name="T60" fmla="*/ 277 w 312"/>
                <a:gd name="T61" fmla="*/ 57 h 312"/>
                <a:gd name="T62" fmla="*/ 294 w 312"/>
                <a:gd name="T63" fmla="*/ 81 h 312"/>
                <a:gd name="T64" fmla="*/ 306 w 312"/>
                <a:gd name="T65" fmla="*/ 110 h 312"/>
                <a:gd name="T66" fmla="*/ 312 w 312"/>
                <a:gd name="T67" fmla="*/ 141 h 312"/>
                <a:gd name="T68" fmla="*/ 312 w 312"/>
                <a:gd name="T69" fmla="*/ 156 h 3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12" h="312">
                  <a:moveTo>
                    <a:pt x="312" y="156"/>
                  </a:moveTo>
                  <a:lnTo>
                    <a:pt x="312" y="156"/>
                  </a:lnTo>
                  <a:lnTo>
                    <a:pt x="312" y="172"/>
                  </a:lnTo>
                  <a:lnTo>
                    <a:pt x="310" y="188"/>
                  </a:lnTo>
                  <a:lnTo>
                    <a:pt x="306" y="203"/>
                  </a:lnTo>
                  <a:lnTo>
                    <a:pt x="300" y="217"/>
                  </a:lnTo>
                  <a:lnTo>
                    <a:pt x="294" y="230"/>
                  </a:lnTo>
                  <a:lnTo>
                    <a:pt x="285" y="244"/>
                  </a:lnTo>
                  <a:lnTo>
                    <a:pt x="277" y="256"/>
                  </a:lnTo>
                  <a:lnTo>
                    <a:pt x="267" y="267"/>
                  </a:lnTo>
                  <a:lnTo>
                    <a:pt x="255" y="277"/>
                  </a:lnTo>
                  <a:lnTo>
                    <a:pt x="244" y="285"/>
                  </a:lnTo>
                  <a:lnTo>
                    <a:pt x="231" y="294"/>
                  </a:lnTo>
                  <a:lnTo>
                    <a:pt x="217" y="300"/>
                  </a:lnTo>
                  <a:lnTo>
                    <a:pt x="203" y="306"/>
                  </a:lnTo>
                  <a:lnTo>
                    <a:pt x="188" y="309"/>
                  </a:lnTo>
                  <a:lnTo>
                    <a:pt x="173" y="312"/>
                  </a:lnTo>
                  <a:lnTo>
                    <a:pt x="157" y="312"/>
                  </a:lnTo>
                  <a:lnTo>
                    <a:pt x="157" y="312"/>
                  </a:lnTo>
                  <a:lnTo>
                    <a:pt x="141" y="312"/>
                  </a:lnTo>
                  <a:lnTo>
                    <a:pt x="125" y="309"/>
                  </a:lnTo>
                  <a:lnTo>
                    <a:pt x="110" y="306"/>
                  </a:lnTo>
                  <a:lnTo>
                    <a:pt x="96" y="300"/>
                  </a:lnTo>
                  <a:lnTo>
                    <a:pt x="82" y="294"/>
                  </a:lnTo>
                  <a:lnTo>
                    <a:pt x="69" y="285"/>
                  </a:lnTo>
                  <a:lnTo>
                    <a:pt x="57" y="277"/>
                  </a:lnTo>
                  <a:lnTo>
                    <a:pt x="46" y="267"/>
                  </a:lnTo>
                  <a:lnTo>
                    <a:pt x="35" y="256"/>
                  </a:lnTo>
                  <a:lnTo>
                    <a:pt x="27" y="244"/>
                  </a:lnTo>
                  <a:lnTo>
                    <a:pt x="20" y="230"/>
                  </a:lnTo>
                  <a:lnTo>
                    <a:pt x="12" y="217"/>
                  </a:lnTo>
                  <a:lnTo>
                    <a:pt x="8" y="203"/>
                  </a:lnTo>
                  <a:lnTo>
                    <a:pt x="4" y="188"/>
                  </a:lnTo>
                  <a:lnTo>
                    <a:pt x="2" y="172"/>
                  </a:lnTo>
                  <a:lnTo>
                    <a:pt x="0" y="156"/>
                  </a:lnTo>
                  <a:lnTo>
                    <a:pt x="0" y="156"/>
                  </a:lnTo>
                  <a:lnTo>
                    <a:pt x="2" y="141"/>
                  </a:lnTo>
                  <a:lnTo>
                    <a:pt x="4" y="125"/>
                  </a:lnTo>
                  <a:lnTo>
                    <a:pt x="8" y="110"/>
                  </a:lnTo>
                  <a:lnTo>
                    <a:pt x="12" y="96"/>
                  </a:lnTo>
                  <a:lnTo>
                    <a:pt x="20" y="81"/>
                  </a:lnTo>
                  <a:lnTo>
                    <a:pt x="27" y="69"/>
                  </a:lnTo>
                  <a:lnTo>
                    <a:pt x="35" y="57"/>
                  </a:lnTo>
                  <a:lnTo>
                    <a:pt x="46" y="46"/>
                  </a:lnTo>
                  <a:lnTo>
                    <a:pt x="57" y="36"/>
                  </a:lnTo>
                  <a:lnTo>
                    <a:pt x="69" y="27"/>
                  </a:lnTo>
                  <a:lnTo>
                    <a:pt x="82" y="19"/>
                  </a:lnTo>
                  <a:lnTo>
                    <a:pt x="96" y="12"/>
                  </a:lnTo>
                  <a:lnTo>
                    <a:pt x="110" y="7"/>
                  </a:lnTo>
                  <a:lnTo>
                    <a:pt x="125" y="4"/>
                  </a:lnTo>
                  <a:lnTo>
                    <a:pt x="141" y="1"/>
                  </a:lnTo>
                  <a:lnTo>
                    <a:pt x="157" y="0"/>
                  </a:lnTo>
                  <a:lnTo>
                    <a:pt x="157" y="0"/>
                  </a:lnTo>
                  <a:lnTo>
                    <a:pt x="173" y="1"/>
                  </a:lnTo>
                  <a:lnTo>
                    <a:pt x="188" y="4"/>
                  </a:lnTo>
                  <a:lnTo>
                    <a:pt x="203" y="7"/>
                  </a:lnTo>
                  <a:lnTo>
                    <a:pt x="217" y="12"/>
                  </a:lnTo>
                  <a:lnTo>
                    <a:pt x="231" y="19"/>
                  </a:lnTo>
                  <a:lnTo>
                    <a:pt x="244" y="27"/>
                  </a:lnTo>
                  <a:lnTo>
                    <a:pt x="255" y="36"/>
                  </a:lnTo>
                  <a:lnTo>
                    <a:pt x="267" y="46"/>
                  </a:lnTo>
                  <a:lnTo>
                    <a:pt x="277" y="57"/>
                  </a:lnTo>
                  <a:lnTo>
                    <a:pt x="285" y="69"/>
                  </a:lnTo>
                  <a:lnTo>
                    <a:pt x="294" y="81"/>
                  </a:lnTo>
                  <a:lnTo>
                    <a:pt x="300" y="96"/>
                  </a:lnTo>
                  <a:lnTo>
                    <a:pt x="306" y="110"/>
                  </a:lnTo>
                  <a:lnTo>
                    <a:pt x="310" y="125"/>
                  </a:lnTo>
                  <a:lnTo>
                    <a:pt x="312" y="141"/>
                  </a:lnTo>
                  <a:lnTo>
                    <a:pt x="312" y="156"/>
                  </a:lnTo>
                  <a:lnTo>
                    <a:pt x="312" y="15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26" name="Freeform 352"/>
            <p:cNvSpPr>
              <a:spLocks noEditPoints="1"/>
            </p:cNvSpPr>
            <p:nvPr/>
          </p:nvSpPr>
          <p:spPr bwMode="auto">
            <a:xfrm>
              <a:off x="-571501" y="4567237"/>
              <a:ext cx="501650" cy="501650"/>
            </a:xfrm>
            <a:custGeom>
              <a:avLst/>
              <a:gdLst>
                <a:gd name="T0" fmla="*/ 941 w 947"/>
                <a:gd name="T1" fmla="*/ 85 h 948"/>
                <a:gd name="T2" fmla="*/ 928 w 947"/>
                <a:gd name="T3" fmla="*/ 59 h 948"/>
                <a:gd name="T4" fmla="*/ 909 w 947"/>
                <a:gd name="T5" fmla="*/ 40 h 948"/>
                <a:gd name="T6" fmla="*/ 872 w 947"/>
                <a:gd name="T7" fmla="*/ 19 h 948"/>
                <a:gd name="T8" fmla="*/ 847 w 947"/>
                <a:gd name="T9" fmla="*/ 11 h 948"/>
                <a:gd name="T10" fmla="*/ 793 w 947"/>
                <a:gd name="T11" fmla="*/ 1 h 948"/>
                <a:gd name="T12" fmla="*/ 740 w 947"/>
                <a:gd name="T13" fmla="*/ 0 h 948"/>
                <a:gd name="T14" fmla="*/ 719 w 947"/>
                <a:gd name="T15" fmla="*/ 1 h 948"/>
                <a:gd name="T16" fmla="*/ 710 w 947"/>
                <a:gd name="T17" fmla="*/ 2 h 948"/>
                <a:gd name="T18" fmla="*/ 706 w 947"/>
                <a:gd name="T19" fmla="*/ 5 h 948"/>
                <a:gd name="T20" fmla="*/ 690 w 947"/>
                <a:gd name="T21" fmla="*/ 23 h 948"/>
                <a:gd name="T22" fmla="*/ 455 w 947"/>
                <a:gd name="T23" fmla="*/ 275 h 948"/>
                <a:gd name="T24" fmla="*/ 126 w 947"/>
                <a:gd name="T25" fmla="*/ 404 h 948"/>
                <a:gd name="T26" fmla="*/ 90 w 947"/>
                <a:gd name="T27" fmla="*/ 404 h 948"/>
                <a:gd name="T28" fmla="*/ 85 w 947"/>
                <a:gd name="T29" fmla="*/ 405 h 948"/>
                <a:gd name="T30" fmla="*/ 75 w 947"/>
                <a:gd name="T31" fmla="*/ 408 h 948"/>
                <a:gd name="T32" fmla="*/ 47 w 947"/>
                <a:gd name="T33" fmla="*/ 422 h 948"/>
                <a:gd name="T34" fmla="*/ 24 w 947"/>
                <a:gd name="T35" fmla="*/ 442 h 948"/>
                <a:gd name="T36" fmla="*/ 12 w 947"/>
                <a:gd name="T37" fmla="*/ 459 h 948"/>
                <a:gd name="T38" fmla="*/ 4 w 947"/>
                <a:gd name="T39" fmla="*/ 478 h 948"/>
                <a:gd name="T40" fmla="*/ 1 w 947"/>
                <a:gd name="T41" fmla="*/ 499 h 948"/>
                <a:gd name="T42" fmla="*/ 0 w 947"/>
                <a:gd name="T43" fmla="*/ 557 h 948"/>
                <a:gd name="T44" fmla="*/ 142 w 947"/>
                <a:gd name="T45" fmla="*/ 948 h 948"/>
                <a:gd name="T46" fmla="*/ 568 w 947"/>
                <a:gd name="T47" fmla="*/ 574 h 948"/>
                <a:gd name="T48" fmla="*/ 581 w 947"/>
                <a:gd name="T49" fmla="*/ 574 h 948"/>
                <a:gd name="T50" fmla="*/ 596 w 947"/>
                <a:gd name="T51" fmla="*/ 571 h 948"/>
                <a:gd name="T52" fmla="*/ 621 w 947"/>
                <a:gd name="T53" fmla="*/ 558 h 948"/>
                <a:gd name="T54" fmla="*/ 642 w 947"/>
                <a:gd name="T55" fmla="*/ 541 h 948"/>
                <a:gd name="T56" fmla="*/ 649 w 947"/>
                <a:gd name="T57" fmla="*/ 534 h 948"/>
                <a:gd name="T58" fmla="*/ 653 w 947"/>
                <a:gd name="T59" fmla="*/ 530 h 948"/>
                <a:gd name="T60" fmla="*/ 786 w 947"/>
                <a:gd name="T61" fmla="*/ 369 h 948"/>
                <a:gd name="T62" fmla="*/ 852 w 947"/>
                <a:gd name="T63" fmla="*/ 286 h 948"/>
                <a:gd name="T64" fmla="*/ 914 w 947"/>
                <a:gd name="T65" fmla="*/ 200 h 948"/>
                <a:gd name="T66" fmla="*/ 941 w 947"/>
                <a:gd name="T67" fmla="*/ 155 h 948"/>
                <a:gd name="T68" fmla="*/ 945 w 947"/>
                <a:gd name="T69" fmla="*/ 149 h 948"/>
                <a:gd name="T70" fmla="*/ 946 w 947"/>
                <a:gd name="T71" fmla="*/ 145 h 948"/>
                <a:gd name="T72" fmla="*/ 946 w 947"/>
                <a:gd name="T73" fmla="*/ 141 h 948"/>
                <a:gd name="T74" fmla="*/ 947 w 947"/>
                <a:gd name="T75" fmla="*/ 126 h 948"/>
                <a:gd name="T76" fmla="*/ 945 w 947"/>
                <a:gd name="T77" fmla="*/ 98 h 948"/>
                <a:gd name="T78" fmla="*/ 511 w 947"/>
                <a:gd name="T79" fmla="*/ 303 h 948"/>
                <a:gd name="T80" fmla="*/ 513 w 947"/>
                <a:gd name="T81" fmla="*/ 301 h 948"/>
                <a:gd name="T82" fmla="*/ 545 w 947"/>
                <a:gd name="T83" fmla="*/ 266 h 948"/>
                <a:gd name="T84" fmla="*/ 694 w 947"/>
                <a:gd name="T85" fmla="*/ 105 h 948"/>
                <a:gd name="T86" fmla="*/ 727 w 947"/>
                <a:gd name="T87" fmla="*/ 70 h 948"/>
                <a:gd name="T88" fmla="*/ 732 w 947"/>
                <a:gd name="T89" fmla="*/ 65 h 948"/>
                <a:gd name="T90" fmla="*/ 752 w 947"/>
                <a:gd name="T91" fmla="*/ 52 h 948"/>
                <a:gd name="T92" fmla="*/ 776 w 947"/>
                <a:gd name="T93" fmla="*/ 48 h 948"/>
                <a:gd name="T94" fmla="*/ 810 w 947"/>
                <a:gd name="T95" fmla="*/ 58 h 948"/>
                <a:gd name="T96" fmla="*/ 829 w 947"/>
                <a:gd name="T97" fmla="*/ 75 h 948"/>
                <a:gd name="T98" fmla="*/ 841 w 947"/>
                <a:gd name="T99" fmla="*/ 110 h 948"/>
                <a:gd name="T100" fmla="*/ 837 w 947"/>
                <a:gd name="T101" fmla="*/ 136 h 948"/>
                <a:gd name="T102" fmla="*/ 746 w 947"/>
                <a:gd name="T103" fmla="*/ 241 h 948"/>
                <a:gd name="T104" fmla="*/ 620 w 947"/>
                <a:gd name="T105" fmla="*/ 377 h 948"/>
                <a:gd name="T106" fmla="*/ 610 w 947"/>
                <a:gd name="T107" fmla="*/ 387 h 948"/>
                <a:gd name="T108" fmla="*/ 588 w 947"/>
                <a:gd name="T109" fmla="*/ 401 h 948"/>
                <a:gd name="T110" fmla="*/ 564 w 947"/>
                <a:gd name="T111" fmla="*/ 405 h 948"/>
                <a:gd name="T112" fmla="*/ 554 w 947"/>
                <a:gd name="T113" fmla="*/ 404 h 948"/>
                <a:gd name="T114" fmla="*/ 550 w 947"/>
                <a:gd name="T115" fmla="*/ 404 h 948"/>
                <a:gd name="T116" fmla="*/ 363 w 947"/>
                <a:gd name="T117" fmla="*/ 404 h 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947" h="948">
                  <a:moveTo>
                    <a:pt x="945" y="98"/>
                  </a:moveTo>
                  <a:lnTo>
                    <a:pt x="945" y="98"/>
                  </a:lnTo>
                  <a:lnTo>
                    <a:pt x="941" y="85"/>
                  </a:lnTo>
                  <a:lnTo>
                    <a:pt x="935" y="71"/>
                  </a:lnTo>
                  <a:lnTo>
                    <a:pt x="935" y="71"/>
                  </a:lnTo>
                  <a:lnTo>
                    <a:pt x="928" y="59"/>
                  </a:lnTo>
                  <a:lnTo>
                    <a:pt x="918" y="48"/>
                  </a:lnTo>
                  <a:lnTo>
                    <a:pt x="918" y="48"/>
                  </a:lnTo>
                  <a:lnTo>
                    <a:pt x="909" y="40"/>
                  </a:lnTo>
                  <a:lnTo>
                    <a:pt x="897" y="31"/>
                  </a:lnTo>
                  <a:lnTo>
                    <a:pt x="884" y="24"/>
                  </a:lnTo>
                  <a:lnTo>
                    <a:pt x="872" y="19"/>
                  </a:lnTo>
                  <a:lnTo>
                    <a:pt x="872" y="19"/>
                  </a:lnTo>
                  <a:lnTo>
                    <a:pt x="859" y="14"/>
                  </a:lnTo>
                  <a:lnTo>
                    <a:pt x="847" y="11"/>
                  </a:lnTo>
                  <a:lnTo>
                    <a:pt x="820" y="5"/>
                  </a:lnTo>
                  <a:lnTo>
                    <a:pt x="820" y="5"/>
                  </a:lnTo>
                  <a:lnTo>
                    <a:pt x="793" y="1"/>
                  </a:lnTo>
                  <a:lnTo>
                    <a:pt x="767" y="0"/>
                  </a:lnTo>
                  <a:lnTo>
                    <a:pt x="767" y="0"/>
                  </a:lnTo>
                  <a:lnTo>
                    <a:pt x="740" y="0"/>
                  </a:lnTo>
                  <a:lnTo>
                    <a:pt x="740" y="0"/>
                  </a:lnTo>
                  <a:lnTo>
                    <a:pt x="727" y="1"/>
                  </a:lnTo>
                  <a:lnTo>
                    <a:pt x="719" y="1"/>
                  </a:lnTo>
                  <a:lnTo>
                    <a:pt x="717" y="1"/>
                  </a:lnTo>
                  <a:lnTo>
                    <a:pt x="712" y="2"/>
                  </a:lnTo>
                  <a:lnTo>
                    <a:pt x="710" y="2"/>
                  </a:lnTo>
                  <a:lnTo>
                    <a:pt x="710" y="2"/>
                  </a:lnTo>
                  <a:lnTo>
                    <a:pt x="708" y="2"/>
                  </a:lnTo>
                  <a:lnTo>
                    <a:pt x="706" y="5"/>
                  </a:lnTo>
                  <a:lnTo>
                    <a:pt x="704" y="8"/>
                  </a:lnTo>
                  <a:lnTo>
                    <a:pt x="699" y="13"/>
                  </a:lnTo>
                  <a:lnTo>
                    <a:pt x="690" y="23"/>
                  </a:lnTo>
                  <a:lnTo>
                    <a:pt x="672" y="42"/>
                  </a:lnTo>
                  <a:lnTo>
                    <a:pt x="600" y="119"/>
                  </a:lnTo>
                  <a:lnTo>
                    <a:pt x="455" y="275"/>
                  </a:lnTo>
                  <a:lnTo>
                    <a:pt x="455" y="293"/>
                  </a:lnTo>
                  <a:lnTo>
                    <a:pt x="126" y="293"/>
                  </a:lnTo>
                  <a:lnTo>
                    <a:pt x="126" y="404"/>
                  </a:lnTo>
                  <a:lnTo>
                    <a:pt x="96" y="404"/>
                  </a:lnTo>
                  <a:lnTo>
                    <a:pt x="91" y="404"/>
                  </a:lnTo>
                  <a:lnTo>
                    <a:pt x="90" y="404"/>
                  </a:lnTo>
                  <a:lnTo>
                    <a:pt x="90" y="404"/>
                  </a:lnTo>
                  <a:lnTo>
                    <a:pt x="87" y="404"/>
                  </a:lnTo>
                  <a:lnTo>
                    <a:pt x="85" y="405"/>
                  </a:lnTo>
                  <a:lnTo>
                    <a:pt x="85" y="405"/>
                  </a:lnTo>
                  <a:lnTo>
                    <a:pt x="75" y="408"/>
                  </a:lnTo>
                  <a:lnTo>
                    <a:pt x="75" y="408"/>
                  </a:lnTo>
                  <a:lnTo>
                    <a:pt x="56" y="416"/>
                  </a:lnTo>
                  <a:lnTo>
                    <a:pt x="56" y="416"/>
                  </a:lnTo>
                  <a:lnTo>
                    <a:pt x="47" y="422"/>
                  </a:lnTo>
                  <a:lnTo>
                    <a:pt x="39" y="428"/>
                  </a:lnTo>
                  <a:lnTo>
                    <a:pt x="31" y="434"/>
                  </a:lnTo>
                  <a:lnTo>
                    <a:pt x="24" y="442"/>
                  </a:lnTo>
                  <a:lnTo>
                    <a:pt x="24" y="442"/>
                  </a:lnTo>
                  <a:lnTo>
                    <a:pt x="18" y="450"/>
                  </a:lnTo>
                  <a:lnTo>
                    <a:pt x="12" y="459"/>
                  </a:lnTo>
                  <a:lnTo>
                    <a:pt x="7" y="468"/>
                  </a:lnTo>
                  <a:lnTo>
                    <a:pt x="4" y="478"/>
                  </a:lnTo>
                  <a:lnTo>
                    <a:pt x="4" y="478"/>
                  </a:lnTo>
                  <a:lnTo>
                    <a:pt x="2" y="488"/>
                  </a:lnTo>
                  <a:lnTo>
                    <a:pt x="1" y="499"/>
                  </a:lnTo>
                  <a:lnTo>
                    <a:pt x="1" y="499"/>
                  </a:lnTo>
                  <a:lnTo>
                    <a:pt x="0" y="508"/>
                  </a:lnTo>
                  <a:lnTo>
                    <a:pt x="0" y="518"/>
                  </a:lnTo>
                  <a:lnTo>
                    <a:pt x="0" y="557"/>
                  </a:lnTo>
                  <a:lnTo>
                    <a:pt x="0" y="633"/>
                  </a:lnTo>
                  <a:lnTo>
                    <a:pt x="0" y="948"/>
                  </a:lnTo>
                  <a:lnTo>
                    <a:pt x="142" y="948"/>
                  </a:lnTo>
                  <a:lnTo>
                    <a:pt x="142" y="574"/>
                  </a:lnTo>
                  <a:lnTo>
                    <a:pt x="554" y="574"/>
                  </a:lnTo>
                  <a:lnTo>
                    <a:pt x="568" y="574"/>
                  </a:lnTo>
                  <a:lnTo>
                    <a:pt x="574" y="574"/>
                  </a:lnTo>
                  <a:lnTo>
                    <a:pt x="574" y="574"/>
                  </a:lnTo>
                  <a:lnTo>
                    <a:pt x="581" y="574"/>
                  </a:lnTo>
                  <a:lnTo>
                    <a:pt x="581" y="574"/>
                  </a:lnTo>
                  <a:lnTo>
                    <a:pt x="588" y="573"/>
                  </a:lnTo>
                  <a:lnTo>
                    <a:pt x="596" y="571"/>
                  </a:lnTo>
                  <a:lnTo>
                    <a:pt x="609" y="565"/>
                  </a:lnTo>
                  <a:lnTo>
                    <a:pt x="609" y="565"/>
                  </a:lnTo>
                  <a:lnTo>
                    <a:pt x="621" y="558"/>
                  </a:lnTo>
                  <a:lnTo>
                    <a:pt x="632" y="550"/>
                  </a:lnTo>
                  <a:lnTo>
                    <a:pt x="632" y="550"/>
                  </a:lnTo>
                  <a:lnTo>
                    <a:pt x="642" y="541"/>
                  </a:lnTo>
                  <a:lnTo>
                    <a:pt x="642" y="541"/>
                  </a:lnTo>
                  <a:lnTo>
                    <a:pt x="647" y="536"/>
                  </a:lnTo>
                  <a:lnTo>
                    <a:pt x="649" y="534"/>
                  </a:lnTo>
                  <a:lnTo>
                    <a:pt x="650" y="533"/>
                  </a:lnTo>
                  <a:lnTo>
                    <a:pt x="653" y="530"/>
                  </a:lnTo>
                  <a:lnTo>
                    <a:pt x="653" y="530"/>
                  </a:lnTo>
                  <a:lnTo>
                    <a:pt x="719" y="450"/>
                  </a:lnTo>
                  <a:lnTo>
                    <a:pt x="719" y="450"/>
                  </a:lnTo>
                  <a:lnTo>
                    <a:pt x="786" y="369"/>
                  </a:lnTo>
                  <a:lnTo>
                    <a:pt x="786" y="369"/>
                  </a:lnTo>
                  <a:lnTo>
                    <a:pt x="819" y="327"/>
                  </a:lnTo>
                  <a:lnTo>
                    <a:pt x="852" y="286"/>
                  </a:lnTo>
                  <a:lnTo>
                    <a:pt x="852" y="286"/>
                  </a:lnTo>
                  <a:lnTo>
                    <a:pt x="883" y="244"/>
                  </a:lnTo>
                  <a:lnTo>
                    <a:pt x="914" y="200"/>
                  </a:lnTo>
                  <a:lnTo>
                    <a:pt x="914" y="200"/>
                  </a:lnTo>
                  <a:lnTo>
                    <a:pt x="927" y="178"/>
                  </a:lnTo>
                  <a:lnTo>
                    <a:pt x="941" y="155"/>
                  </a:lnTo>
                  <a:lnTo>
                    <a:pt x="943" y="153"/>
                  </a:lnTo>
                  <a:lnTo>
                    <a:pt x="945" y="149"/>
                  </a:lnTo>
                  <a:lnTo>
                    <a:pt x="945" y="149"/>
                  </a:lnTo>
                  <a:lnTo>
                    <a:pt x="945" y="148"/>
                  </a:lnTo>
                  <a:lnTo>
                    <a:pt x="946" y="147"/>
                  </a:lnTo>
                  <a:lnTo>
                    <a:pt x="946" y="145"/>
                  </a:lnTo>
                  <a:lnTo>
                    <a:pt x="946" y="143"/>
                  </a:lnTo>
                  <a:lnTo>
                    <a:pt x="946" y="143"/>
                  </a:lnTo>
                  <a:lnTo>
                    <a:pt x="946" y="141"/>
                  </a:lnTo>
                  <a:lnTo>
                    <a:pt x="946" y="141"/>
                  </a:lnTo>
                  <a:lnTo>
                    <a:pt x="947" y="126"/>
                  </a:lnTo>
                  <a:lnTo>
                    <a:pt x="947" y="126"/>
                  </a:lnTo>
                  <a:lnTo>
                    <a:pt x="947" y="113"/>
                  </a:lnTo>
                  <a:lnTo>
                    <a:pt x="945" y="98"/>
                  </a:lnTo>
                  <a:lnTo>
                    <a:pt x="945" y="98"/>
                  </a:lnTo>
                  <a:close/>
                  <a:moveTo>
                    <a:pt x="142" y="309"/>
                  </a:moveTo>
                  <a:lnTo>
                    <a:pt x="507" y="309"/>
                  </a:lnTo>
                  <a:lnTo>
                    <a:pt x="511" y="303"/>
                  </a:lnTo>
                  <a:lnTo>
                    <a:pt x="512" y="302"/>
                  </a:lnTo>
                  <a:lnTo>
                    <a:pt x="513" y="301"/>
                  </a:lnTo>
                  <a:lnTo>
                    <a:pt x="513" y="301"/>
                  </a:lnTo>
                  <a:lnTo>
                    <a:pt x="517" y="296"/>
                  </a:lnTo>
                  <a:lnTo>
                    <a:pt x="526" y="286"/>
                  </a:lnTo>
                  <a:lnTo>
                    <a:pt x="545" y="266"/>
                  </a:lnTo>
                  <a:lnTo>
                    <a:pt x="582" y="226"/>
                  </a:lnTo>
                  <a:lnTo>
                    <a:pt x="658" y="145"/>
                  </a:lnTo>
                  <a:lnTo>
                    <a:pt x="694" y="105"/>
                  </a:lnTo>
                  <a:lnTo>
                    <a:pt x="713" y="85"/>
                  </a:lnTo>
                  <a:lnTo>
                    <a:pt x="723" y="75"/>
                  </a:lnTo>
                  <a:lnTo>
                    <a:pt x="727" y="70"/>
                  </a:lnTo>
                  <a:lnTo>
                    <a:pt x="729" y="68"/>
                  </a:lnTo>
                  <a:lnTo>
                    <a:pt x="729" y="68"/>
                  </a:lnTo>
                  <a:lnTo>
                    <a:pt x="732" y="65"/>
                  </a:lnTo>
                  <a:lnTo>
                    <a:pt x="732" y="65"/>
                  </a:lnTo>
                  <a:lnTo>
                    <a:pt x="741" y="58"/>
                  </a:lnTo>
                  <a:lnTo>
                    <a:pt x="752" y="52"/>
                  </a:lnTo>
                  <a:lnTo>
                    <a:pt x="764" y="50"/>
                  </a:lnTo>
                  <a:lnTo>
                    <a:pt x="776" y="48"/>
                  </a:lnTo>
                  <a:lnTo>
                    <a:pt x="776" y="48"/>
                  </a:lnTo>
                  <a:lnTo>
                    <a:pt x="789" y="50"/>
                  </a:lnTo>
                  <a:lnTo>
                    <a:pt x="799" y="52"/>
                  </a:lnTo>
                  <a:lnTo>
                    <a:pt x="810" y="58"/>
                  </a:lnTo>
                  <a:lnTo>
                    <a:pt x="820" y="65"/>
                  </a:lnTo>
                  <a:lnTo>
                    <a:pt x="820" y="65"/>
                  </a:lnTo>
                  <a:lnTo>
                    <a:pt x="829" y="75"/>
                  </a:lnTo>
                  <a:lnTo>
                    <a:pt x="836" y="86"/>
                  </a:lnTo>
                  <a:lnTo>
                    <a:pt x="839" y="98"/>
                  </a:lnTo>
                  <a:lnTo>
                    <a:pt x="841" y="110"/>
                  </a:lnTo>
                  <a:lnTo>
                    <a:pt x="841" y="110"/>
                  </a:lnTo>
                  <a:lnTo>
                    <a:pt x="841" y="124"/>
                  </a:lnTo>
                  <a:lnTo>
                    <a:pt x="837" y="136"/>
                  </a:lnTo>
                  <a:lnTo>
                    <a:pt x="832" y="148"/>
                  </a:lnTo>
                  <a:lnTo>
                    <a:pt x="824" y="158"/>
                  </a:lnTo>
                  <a:lnTo>
                    <a:pt x="746" y="241"/>
                  </a:lnTo>
                  <a:lnTo>
                    <a:pt x="668" y="325"/>
                  </a:lnTo>
                  <a:lnTo>
                    <a:pt x="630" y="368"/>
                  </a:lnTo>
                  <a:lnTo>
                    <a:pt x="620" y="377"/>
                  </a:lnTo>
                  <a:lnTo>
                    <a:pt x="620" y="377"/>
                  </a:lnTo>
                  <a:lnTo>
                    <a:pt x="610" y="387"/>
                  </a:lnTo>
                  <a:lnTo>
                    <a:pt x="610" y="387"/>
                  </a:lnTo>
                  <a:lnTo>
                    <a:pt x="600" y="395"/>
                  </a:lnTo>
                  <a:lnTo>
                    <a:pt x="588" y="401"/>
                  </a:lnTo>
                  <a:lnTo>
                    <a:pt x="588" y="401"/>
                  </a:lnTo>
                  <a:lnTo>
                    <a:pt x="576" y="404"/>
                  </a:lnTo>
                  <a:lnTo>
                    <a:pt x="564" y="405"/>
                  </a:lnTo>
                  <a:lnTo>
                    <a:pt x="564" y="405"/>
                  </a:lnTo>
                  <a:lnTo>
                    <a:pt x="557" y="405"/>
                  </a:lnTo>
                  <a:lnTo>
                    <a:pt x="557" y="405"/>
                  </a:lnTo>
                  <a:lnTo>
                    <a:pt x="554" y="404"/>
                  </a:lnTo>
                  <a:lnTo>
                    <a:pt x="552" y="404"/>
                  </a:lnTo>
                  <a:lnTo>
                    <a:pt x="551" y="404"/>
                  </a:lnTo>
                  <a:lnTo>
                    <a:pt x="550" y="404"/>
                  </a:lnTo>
                  <a:lnTo>
                    <a:pt x="535" y="404"/>
                  </a:lnTo>
                  <a:lnTo>
                    <a:pt x="478" y="404"/>
                  </a:lnTo>
                  <a:lnTo>
                    <a:pt x="363" y="404"/>
                  </a:lnTo>
                  <a:lnTo>
                    <a:pt x="142" y="404"/>
                  </a:lnTo>
                  <a:lnTo>
                    <a:pt x="142" y="3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27" name="Freeform 353"/>
            <p:cNvSpPr/>
            <p:nvPr/>
          </p:nvSpPr>
          <p:spPr bwMode="auto">
            <a:xfrm>
              <a:off x="-708026" y="4586287"/>
              <a:ext cx="388938" cy="477837"/>
            </a:xfrm>
            <a:custGeom>
              <a:avLst/>
              <a:gdLst>
                <a:gd name="T0" fmla="*/ 736 w 736"/>
                <a:gd name="T1" fmla="*/ 0 h 904"/>
                <a:gd name="T2" fmla="*/ 0 w 736"/>
                <a:gd name="T3" fmla="*/ 0 h 904"/>
                <a:gd name="T4" fmla="*/ 0 w 736"/>
                <a:gd name="T5" fmla="*/ 85 h 904"/>
                <a:gd name="T6" fmla="*/ 153 w 736"/>
                <a:gd name="T7" fmla="*/ 85 h 904"/>
                <a:gd name="T8" fmla="*/ 153 w 736"/>
                <a:gd name="T9" fmla="*/ 904 h 904"/>
                <a:gd name="T10" fmla="*/ 216 w 736"/>
                <a:gd name="T11" fmla="*/ 904 h 904"/>
                <a:gd name="T12" fmla="*/ 216 w 736"/>
                <a:gd name="T13" fmla="*/ 85 h 904"/>
                <a:gd name="T14" fmla="*/ 736 w 736"/>
                <a:gd name="T15" fmla="*/ 85 h 904"/>
                <a:gd name="T16" fmla="*/ 736 w 736"/>
                <a:gd name="T17" fmla="*/ 0 h 9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36" h="904">
                  <a:moveTo>
                    <a:pt x="736" y="0"/>
                  </a:moveTo>
                  <a:lnTo>
                    <a:pt x="0" y="0"/>
                  </a:lnTo>
                  <a:lnTo>
                    <a:pt x="0" y="85"/>
                  </a:lnTo>
                  <a:lnTo>
                    <a:pt x="153" y="85"/>
                  </a:lnTo>
                  <a:lnTo>
                    <a:pt x="153" y="904"/>
                  </a:lnTo>
                  <a:lnTo>
                    <a:pt x="216" y="904"/>
                  </a:lnTo>
                  <a:lnTo>
                    <a:pt x="216" y="85"/>
                  </a:lnTo>
                  <a:lnTo>
                    <a:pt x="736" y="85"/>
                  </a:lnTo>
                  <a:lnTo>
                    <a:pt x="73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28" name="Freeform 354"/>
            <p:cNvSpPr/>
            <p:nvPr/>
          </p:nvSpPr>
          <p:spPr bwMode="auto">
            <a:xfrm>
              <a:off x="-600076" y="4368800"/>
              <a:ext cx="306388" cy="204787"/>
            </a:xfrm>
            <a:custGeom>
              <a:avLst/>
              <a:gdLst>
                <a:gd name="T0" fmla="*/ 563 w 579"/>
                <a:gd name="T1" fmla="*/ 357 h 387"/>
                <a:gd name="T2" fmla="*/ 188 w 579"/>
                <a:gd name="T3" fmla="*/ 357 h 387"/>
                <a:gd name="T4" fmla="*/ 29 w 579"/>
                <a:gd name="T5" fmla="*/ 10 h 387"/>
                <a:gd name="T6" fmla="*/ 29 w 579"/>
                <a:gd name="T7" fmla="*/ 10 h 387"/>
                <a:gd name="T8" fmla="*/ 26 w 579"/>
                <a:gd name="T9" fmla="*/ 5 h 387"/>
                <a:gd name="T10" fmla="*/ 21 w 579"/>
                <a:gd name="T11" fmla="*/ 1 h 387"/>
                <a:gd name="T12" fmla="*/ 15 w 579"/>
                <a:gd name="T13" fmla="*/ 0 h 387"/>
                <a:gd name="T14" fmla="*/ 9 w 579"/>
                <a:gd name="T15" fmla="*/ 1 h 387"/>
                <a:gd name="T16" fmla="*/ 9 w 579"/>
                <a:gd name="T17" fmla="*/ 1 h 387"/>
                <a:gd name="T18" fmla="*/ 4 w 579"/>
                <a:gd name="T19" fmla="*/ 5 h 387"/>
                <a:gd name="T20" fmla="*/ 0 w 579"/>
                <a:gd name="T21" fmla="*/ 11 h 387"/>
                <a:gd name="T22" fmla="*/ 0 w 579"/>
                <a:gd name="T23" fmla="*/ 16 h 387"/>
                <a:gd name="T24" fmla="*/ 1 w 579"/>
                <a:gd name="T25" fmla="*/ 22 h 387"/>
                <a:gd name="T26" fmla="*/ 158 w 579"/>
                <a:gd name="T27" fmla="*/ 364 h 387"/>
                <a:gd name="T28" fmla="*/ 158 w 579"/>
                <a:gd name="T29" fmla="*/ 364 h 387"/>
                <a:gd name="T30" fmla="*/ 157 w 579"/>
                <a:gd name="T31" fmla="*/ 368 h 387"/>
                <a:gd name="T32" fmla="*/ 155 w 579"/>
                <a:gd name="T33" fmla="*/ 372 h 387"/>
                <a:gd name="T34" fmla="*/ 155 w 579"/>
                <a:gd name="T35" fmla="*/ 372 h 387"/>
                <a:gd name="T36" fmla="*/ 157 w 579"/>
                <a:gd name="T37" fmla="*/ 378 h 387"/>
                <a:gd name="T38" fmla="*/ 160 w 579"/>
                <a:gd name="T39" fmla="*/ 383 h 387"/>
                <a:gd name="T40" fmla="*/ 165 w 579"/>
                <a:gd name="T41" fmla="*/ 386 h 387"/>
                <a:gd name="T42" fmla="*/ 171 w 579"/>
                <a:gd name="T43" fmla="*/ 387 h 387"/>
                <a:gd name="T44" fmla="*/ 563 w 579"/>
                <a:gd name="T45" fmla="*/ 387 h 387"/>
                <a:gd name="T46" fmla="*/ 563 w 579"/>
                <a:gd name="T47" fmla="*/ 387 h 387"/>
                <a:gd name="T48" fmla="*/ 569 w 579"/>
                <a:gd name="T49" fmla="*/ 386 h 387"/>
                <a:gd name="T50" fmla="*/ 574 w 579"/>
                <a:gd name="T51" fmla="*/ 383 h 387"/>
                <a:gd name="T52" fmla="*/ 578 w 579"/>
                <a:gd name="T53" fmla="*/ 378 h 387"/>
                <a:gd name="T54" fmla="*/ 579 w 579"/>
                <a:gd name="T55" fmla="*/ 372 h 387"/>
                <a:gd name="T56" fmla="*/ 579 w 579"/>
                <a:gd name="T57" fmla="*/ 372 h 387"/>
                <a:gd name="T58" fmla="*/ 578 w 579"/>
                <a:gd name="T59" fmla="*/ 366 h 387"/>
                <a:gd name="T60" fmla="*/ 574 w 579"/>
                <a:gd name="T61" fmla="*/ 362 h 387"/>
                <a:gd name="T62" fmla="*/ 569 w 579"/>
                <a:gd name="T63" fmla="*/ 358 h 387"/>
                <a:gd name="T64" fmla="*/ 563 w 579"/>
                <a:gd name="T65" fmla="*/ 357 h 387"/>
                <a:gd name="T66" fmla="*/ 563 w 579"/>
                <a:gd name="T67" fmla="*/ 357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579" h="387">
                  <a:moveTo>
                    <a:pt x="563" y="357"/>
                  </a:moveTo>
                  <a:lnTo>
                    <a:pt x="188" y="357"/>
                  </a:lnTo>
                  <a:lnTo>
                    <a:pt x="29" y="10"/>
                  </a:lnTo>
                  <a:lnTo>
                    <a:pt x="29" y="10"/>
                  </a:lnTo>
                  <a:lnTo>
                    <a:pt x="26" y="5"/>
                  </a:lnTo>
                  <a:lnTo>
                    <a:pt x="21" y="1"/>
                  </a:lnTo>
                  <a:lnTo>
                    <a:pt x="15" y="0"/>
                  </a:lnTo>
                  <a:lnTo>
                    <a:pt x="9" y="1"/>
                  </a:lnTo>
                  <a:lnTo>
                    <a:pt x="9" y="1"/>
                  </a:lnTo>
                  <a:lnTo>
                    <a:pt x="4" y="5"/>
                  </a:lnTo>
                  <a:lnTo>
                    <a:pt x="0" y="11"/>
                  </a:lnTo>
                  <a:lnTo>
                    <a:pt x="0" y="16"/>
                  </a:lnTo>
                  <a:lnTo>
                    <a:pt x="1" y="22"/>
                  </a:lnTo>
                  <a:lnTo>
                    <a:pt x="158" y="364"/>
                  </a:lnTo>
                  <a:lnTo>
                    <a:pt x="158" y="364"/>
                  </a:lnTo>
                  <a:lnTo>
                    <a:pt x="157" y="368"/>
                  </a:lnTo>
                  <a:lnTo>
                    <a:pt x="155" y="372"/>
                  </a:lnTo>
                  <a:lnTo>
                    <a:pt x="155" y="372"/>
                  </a:lnTo>
                  <a:lnTo>
                    <a:pt x="157" y="378"/>
                  </a:lnTo>
                  <a:lnTo>
                    <a:pt x="160" y="383"/>
                  </a:lnTo>
                  <a:lnTo>
                    <a:pt x="165" y="386"/>
                  </a:lnTo>
                  <a:lnTo>
                    <a:pt x="171" y="387"/>
                  </a:lnTo>
                  <a:lnTo>
                    <a:pt x="563" y="387"/>
                  </a:lnTo>
                  <a:lnTo>
                    <a:pt x="563" y="387"/>
                  </a:lnTo>
                  <a:lnTo>
                    <a:pt x="569" y="386"/>
                  </a:lnTo>
                  <a:lnTo>
                    <a:pt x="574" y="383"/>
                  </a:lnTo>
                  <a:lnTo>
                    <a:pt x="578" y="378"/>
                  </a:lnTo>
                  <a:lnTo>
                    <a:pt x="579" y="372"/>
                  </a:lnTo>
                  <a:lnTo>
                    <a:pt x="579" y="372"/>
                  </a:lnTo>
                  <a:lnTo>
                    <a:pt x="578" y="366"/>
                  </a:lnTo>
                  <a:lnTo>
                    <a:pt x="574" y="362"/>
                  </a:lnTo>
                  <a:lnTo>
                    <a:pt x="569" y="358"/>
                  </a:lnTo>
                  <a:lnTo>
                    <a:pt x="563" y="357"/>
                  </a:lnTo>
                  <a:lnTo>
                    <a:pt x="563" y="35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129" name="Group 61"/>
          <p:cNvGrpSpPr/>
          <p:nvPr/>
        </p:nvGrpSpPr>
        <p:grpSpPr>
          <a:xfrm>
            <a:off x="669925" y="4023546"/>
            <a:ext cx="854407" cy="755760"/>
            <a:chOff x="3867150" y="3536951"/>
            <a:chExt cx="852488" cy="754062"/>
          </a:xfrm>
          <a:solidFill>
            <a:schemeClr val="bg1"/>
          </a:solidFill>
        </p:grpSpPr>
        <p:sp>
          <p:nvSpPr>
            <p:cNvPr id="130" name="Freeform 469"/>
            <p:cNvSpPr/>
            <p:nvPr/>
          </p:nvSpPr>
          <p:spPr bwMode="auto">
            <a:xfrm>
              <a:off x="4387850" y="3929063"/>
              <a:ext cx="331788" cy="361950"/>
            </a:xfrm>
            <a:custGeom>
              <a:avLst/>
              <a:gdLst>
                <a:gd name="T0" fmla="*/ 293 w 629"/>
                <a:gd name="T1" fmla="*/ 226 h 683"/>
                <a:gd name="T2" fmla="*/ 285 w 629"/>
                <a:gd name="T3" fmla="*/ 224 h 683"/>
                <a:gd name="T4" fmla="*/ 268 w 629"/>
                <a:gd name="T5" fmla="*/ 226 h 683"/>
                <a:gd name="T6" fmla="*/ 242 w 629"/>
                <a:gd name="T7" fmla="*/ 240 h 683"/>
                <a:gd name="T8" fmla="*/ 225 w 629"/>
                <a:gd name="T9" fmla="*/ 253 h 683"/>
                <a:gd name="T10" fmla="*/ 184 w 629"/>
                <a:gd name="T11" fmla="*/ 291 h 683"/>
                <a:gd name="T12" fmla="*/ 142 w 629"/>
                <a:gd name="T13" fmla="*/ 337 h 683"/>
                <a:gd name="T14" fmla="*/ 96 w 629"/>
                <a:gd name="T15" fmla="*/ 391 h 683"/>
                <a:gd name="T16" fmla="*/ 60 w 629"/>
                <a:gd name="T17" fmla="*/ 683 h 683"/>
                <a:gd name="T18" fmla="*/ 0 w 629"/>
                <a:gd name="T19" fmla="*/ 378 h 683"/>
                <a:gd name="T20" fmla="*/ 0 w 629"/>
                <a:gd name="T21" fmla="*/ 359 h 683"/>
                <a:gd name="T22" fmla="*/ 3 w 629"/>
                <a:gd name="T23" fmla="*/ 339 h 683"/>
                <a:gd name="T24" fmla="*/ 12 w 629"/>
                <a:gd name="T25" fmla="*/ 315 h 683"/>
                <a:gd name="T26" fmla="*/ 23 w 629"/>
                <a:gd name="T27" fmla="*/ 298 h 683"/>
                <a:gd name="T28" fmla="*/ 87 w 629"/>
                <a:gd name="T29" fmla="*/ 209 h 683"/>
                <a:gd name="T30" fmla="*/ 153 w 629"/>
                <a:gd name="T31" fmla="*/ 0 h 683"/>
                <a:gd name="T32" fmla="*/ 296 w 629"/>
                <a:gd name="T33" fmla="*/ 46 h 683"/>
                <a:gd name="T34" fmla="*/ 316 w 629"/>
                <a:gd name="T35" fmla="*/ 49 h 683"/>
                <a:gd name="T36" fmla="*/ 326 w 629"/>
                <a:gd name="T37" fmla="*/ 49 h 683"/>
                <a:gd name="T38" fmla="*/ 337 w 629"/>
                <a:gd name="T39" fmla="*/ 48 h 683"/>
                <a:gd name="T40" fmla="*/ 357 w 629"/>
                <a:gd name="T41" fmla="*/ 43 h 683"/>
                <a:gd name="T42" fmla="*/ 373 w 629"/>
                <a:gd name="T43" fmla="*/ 34 h 683"/>
                <a:gd name="T44" fmla="*/ 382 w 629"/>
                <a:gd name="T45" fmla="*/ 27 h 683"/>
                <a:gd name="T46" fmla="*/ 389 w 629"/>
                <a:gd name="T47" fmla="*/ 21 h 683"/>
                <a:gd name="T48" fmla="*/ 390 w 629"/>
                <a:gd name="T49" fmla="*/ 57 h 683"/>
                <a:gd name="T50" fmla="*/ 398 w 629"/>
                <a:gd name="T51" fmla="*/ 93 h 683"/>
                <a:gd name="T52" fmla="*/ 407 w 629"/>
                <a:gd name="T53" fmla="*/ 131 h 683"/>
                <a:gd name="T54" fmla="*/ 435 w 629"/>
                <a:gd name="T55" fmla="*/ 260 h 683"/>
                <a:gd name="T56" fmla="*/ 629 w 629"/>
                <a:gd name="T57" fmla="*/ 647 h 683"/>
                <a:gd name="T58" fmla="*/ 393 w 629"/>
                <a:gd name="T59" fmla="*/ 417 h 683"/>
                <a:gd name="T60" fmla="*/ 332 w 629"/>
                <a:gd name="T61" fmla="*/ 307 h 683"/>
                <a:gd name="T62" fmla="*/ 312 w 629"/>
                <a:gd name="T63" fmla="*/ 266 h 683"/>
                <a:gd name="T64" fmla="*/ 293 w 629"/>
                <a:gd name="T65" fmla="*/ 226 h 6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29" h="683">
                  <a:moveTo>
                    <a:pt x="293" y="226"/>
                  </a:moveTo>
                  <a:lnTo>
                    <a:pt x="293" y="226"/>
                  </a:lnTo>
                  <a:lnTo>
                    <a:pt x="290" y="225"/>
                  </a:lnTo>
                  <a:lnTo>
                    <a:pt x="285" y="224"/>
                  </a:lnTo>
                  <a:lnTo>
                    <a:pt x="278" y="224"/>
                  </a:lnTo>
                  <a:lnTo>
                    <a:pt x="268" y="226"/>
                  </a:lnTo>
                  <a:lnTo>
                    <a:pt x="257" y="231"/>
                  </a:lnTo>
                  <a:lnTo>
                    <a:pt x="242" y="240"/>
                  </a:lnTo>
                  <a:lnTo>
                    <a:pt x="225" y="253"/>
                  </a:lnTo>
                  <a:lnTo>
                    <a:pt x="225" y="253"/>
                  </a:lnTo>
                  <a:lnTo>
                    <a:pt x="206" y="270"/>
                  </a:lnTo>
                  <a:lnTo>
                    <a:pt x="184" y="291"/>
                  </a:lnTo>
                  <a:lnTo>
                    <a:pt x="162" y="314"/>
                  </a:lnTo>
                  <a:lnTo>
                    <a:pt x="142" y="337"/>
                  </a:lnTo>
                  <a:lnTo>
                    <a:pt x="109" y="376"/>
                  </a:lnTo>
                  <a:lnTo>
                    <a:pt x="96" y="391"/>
                  </a:lnTo>
                  <a:lnTo>
                    <a:pt x="131" y="683"/>
                  </a:lnTo>
                  <a:lnTo>
                    <a:pt x="60" y="683"/>
                  </a:lnTo>
                  <a:lnTo>
                    <a:pt x="0" y="378"/>
                  </a:lnTo>
                  <a:lnTo>
                    <a:pt x="0" y="378"/>
                  </a:lnTo>
                  <a:lnTo>
                    <a:pt x="0" y="373"/>
                  </a:lnTo>
                  <a:lnTo>
                    <a:pt x="0" y="359"/>
                  </a:lnTo>
                  <a:lnTo>
                    <a:pt x="1" y="349"/>
                  </a:lnTo>
                  <a:lnTo>
                    <a:pt x="3" y="339"/>
                  </a:lnTo>
                  <a:lnTo>
                    <a:pt x="7" y="327"/>
                  </a:lnTo>
                  <a:lnTo>
                    <a:pt x="12" y="315"/>
                  </a:lnTo>
                  <a:lnTo>
                    <a:pt x="12" y="315"/>
                  </a:lnTo>
                  <a:lnTo>
                    <a:pt x="23" y="298"/>
                  </a:lnTo>
                  <a:lnTo>
                    <a:pt x="41" y="273"/>
                  </a:lnTo>
                  <a:lnTo>
                    <a:pt x="87" y="209"/>
                  </a:lnTo>
                  <a:lnTo>
                    <a:pt x="151" y="127"/>
                  </a:lnTo>
                  <a:lnTo>
                    <a:pt x="153" y="0"/>
                  </a:lnTo>
                  <a:lnTo>
                    <a:pt x="296" y="46"/>
                  </a:lnTo>
                  <a:lnTo>
                    <a:pt x="296" y="46"/>
                  </a:lnTo>
                  <a:lnTo>
                    <a:pt x="307" y="48"/>
                  </a:lnTo>
                  <a:lnTo>
                    <a:pt x="316" y="49"/>
                  </a:lnTo>
                  <a:lnTo>
                    <a:pt x="316" y="49"/>
                  </a:lnTo>
                  <a:lnTo>
                    <a:pt x="326" y="49"/>
                  </a:lnTo>
                  <a:lnTo>
                    <a:pt x="337" y="48"/>
                  </a:lnTo>
                  <a:lnTo>
                    <a:pt x="337" y="48"/>
                  </a:lnTo>
                  <a:lnTo>
                    <a:pt x="347" y="46"/>
                  </a:lnTo>
                  <a:lnTo>
                    <a:pt x="357" y="43"/>
                  </a:lnTo>
                  <a:lnTo>
                    <a:pt x="365" y="38"/>
                  </a:lnTo>
                  <a:lnTo>
                    <a:pt x="373" y="34"/>
                  </a:lnTo>
                  <a:lnTo>
                    <a:pt x="373" y="34"/>
                  </a:lnTo>
                  <a:lnTo>
                    <a:pt x="382" y="27"/>
                  </a:lnTo>
                  <a:lnTo>
                    <a:pt x="389" y="21"/>
                  </a:lnTo>
                  <a:lnTo>
                    <a:pt x="389" y="21"/>
                  </a:lnTo>
                  <a:lnTo>
                    <a:pt x="389" y="40"/>
                  </a:lnTo>
                  <a:lnTo>
                    <a:pt x="390" y="57"/>
                  </a:lnTo>
                  <a:lnTo>
                    <a:pt x="393" y="75"/>
                  </a:lnTo>
                  <a:lnTo>
                    <a:pt x="398" y="93"/>
                  </a:lnTo>
                  <a:lnTo>
                    <a:pt x="398" y="93"/>
                  </a:lnTo>
                  <a:lnTo>
                    <a:pt x="407" y="131"/>
                  </a:lnTo>
                  <a:lnTo>
                    <a:pt x="417" y="173"/>
                  </a:lnTo>
                  <a:lnTo>
                    <a:pt x="435" y="260"/>
                  </a:lnTo>
                  <a:lnTo>
                    <a:pt x="456" y="360"/>
                  </a:lnTo>
                  <a:lnTo>
                    <a:pt x="629" y="647"/>
                  </a:lnTo>
                  <a:lnTo>
                    <a:pt x="569" y="683"/>
                  </a:lnTo>
                  <a:lnTo>
                    <a:pt x="393" y="417"/>
                  </a:lnTo>
                  <a:lnTo>
                    <a:pt x="393" y="417"/>
                  </a:lnTo>
                  <a:lnTo>
                    <a:pt x="332" y="307"/>
                  </a:lnTo>
                  <a:lnTo>
                    <a:pt x="332" y="307"/>
                  </a:lnTo>
                  <a:lnTo>
                    <a:pt x="312" y="266"/>
                  </a:lnTo>
                  <a:lnTo>
                    <a:pt x="299" y="242"/>
                  </a:lnTo>
                  <a:lnTo>
                    <a:pt x="293" y="226"/>
                  </a:lnTo>
                  <a:lnTo>
                    <a:pt x="293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31" name="Freeform 470"/>
            <p:cNvSpPr/>
            <p:nvPr/>
          </p:nvSpPr>
          <p:spPr bwMode="auto">
            <a:xfrm>
              <a:off x="4456113" y="3670301"/>
              <a:ext cx="101600" cy="100013"/>
            </a:xfrm>
            <a:custGeom>
              <a:avLst/>
              <a:gdLst>
                <a:gd name="T0" fmla="*/ 94 w 190"/>
                <a:gd name="T1" fmla="*/ 0 h 190"/>
                <a:gd name="T2" fmla="*/ 114 w 190"/>
                <a:gd name="T3" fmla="*/ 2 h 190"/>
                <a:gd name="T4" fmla="*/ 132 w 190"/>
                <a:gd name="T5" fmla="*/ 8 h 190"/>
                <a:gd name="T6" fmla="*/ 148 w 190"/>
                <a:gd name="T7" fmla="*/ 17 h 190"/>
                <a:gd name="T8" fmla="*/ 162 w 190"/>
                <a:gd name="T9" fmla="*/ 27 h 190"/>
                <a:gd name="T10" fmla="*/ 173 w 190"/>
                <a:gd name="T11" fmla="*/ 42 h 190"/>
                <a:gd name="T12" fmla="*/ 182 w 190"/>
                <a:gd name="T13" fmla="*/ 58 h 190"/>
                <a:gd name="T14" fmla="*/ 188 w 190"/>
                <a:gd name="T15" fmla="*/ 76 h 190"/>
                <a:gd name="T16" fmla="*/ 190 w 190"/>
                <a:gd name="T17" fmla="*/ 95 h 190"/>
                <a:gd name="T18" fmla="*/ 189 w 190"/>
                <a:gd name="T19" fmla="*/ 105 h 190"/>
                <a:gd name="T20" fmla="*/ 185 w 190"/>
                <a:gd name="T21" fmla="*/ 123 h 190"/>
                <a:gd name="T22" fmla="*/ 178 w 190"/>
                <a:gd name="T23" fmla="*/ 140 h 190"/>
                <a:gd name="T24" fmla="*/ 168 w 190"/>
                <a:gd name="T25" fmla="*/ 156 h 190"/>
                <a:gd name="T26" fmla="*/ 155 w 190"/>
                <a:gd name="T27" fmla="*/ 168 h 190"/>
                <a:gd name="T28" fmla="*/ 139 w 190"/>
                <a:gd name="T29" fmla="*/ 179 h 190"/>
                <a:gd name="T30" fmla="*/ 122 w 190"/>
                <a:gd name="T31" fmla="*/ 186 h 190"/>
                <a:gd name="T32" fmla="*/ 104 w 190"/>
                <a:gd name="T33" fmla="*/ 190 h 190"/>
                <a:gd name="T34" fmla="*/ 94 w 190"/>
                <a:gd name="T35" fmla="*/ 190 h 190"/>
                <a:gd name="T36" fmla="*/ 75 w 190"/>
                <a:gd name="T37" fmla="*/ 189 h 190"/>
                <a:gd name="T38" fmla="*/ 57 w 190"/>
                <a:gd name="T39" fmla="*/ 183 h 190"/>
                <a:gd name="T40" fmla="*/ 41 w 190"/>
                <a:gd name="T41" fmla="*/ 174 h 190"/>
                <a:gd name="T42" fmla="*/ 28 w 190"/>
                <a:gd name="T43" fmla="*/ 162 h 190"/>
                <a:gd name="T44" fmla="*/ 16 w 190"/>
                <a:gd name="T45" fmla="*/ 149 h 190"/>
                <a:gd name="T46" fmla="*/ 7 w 190"/>
                <a:gd name="T47" fmla="*/ 132 h 190"/>
                <a:gd name="T48" fmla="*/ 1 w 190"/>
                <a:gd name="T49" fmla="*/ 115 h 190"/>
                <a:gd name="T50" fmla="*/ 0 w 190"/>
                <a:gd name="T51" fmla="*/ 95 h 190"/>
                <a:gd name="T52" fmla="*/ 0 w 190"/>
                <a:gd name="T53" fmla="*/ 86 h 190"/>
                <a:gd name="T54" fmla="*/ 3 w 190"/>
                <a:gd name="T55" fmla="*/ 67 h 190"/>
                <a:gd name="T56" fmla="*/ 11 w 190"/>
                <a:gd name="T57" fmla="*/ 49 h 190"/>
                <a:gd name="T58" fmla="*/ 20 w 190"/>
                <a:gd name="T59" fmla="*/ 35 h 190"/>
                <a:gd name="T60" fmla="*/ 34 w 190"/>
                <a:gd name="T61" fmla="*/ 21 h 190"/>
                <a:gd name="T62" fmla="*/ 50 w 190"/>
                <a:gd name="T63" fmla="*/ 12 h 190"/>
                <a:gd name="T64" fmla="*/ 67 w 190"/>
                <a:gd name="T65" fmla="*/ 4 h 190"/>
                <a:gd name="T66" fmla="*/ 85 w 190"/>
                <a:gd name="T67" fmla="*/ 1 h 190"/>
                <a:gd name="T68" fmla="*/ 94 w 190"/>
                <a:gd name="T69" fmla="*/ 0 h 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90" h="190">
                  <a:moveTo>
                    <a:pt x="94" y="0"/>
                  </a:moveTo>
                  <a:lnTo>
                    <a:pt x="94" y="0"/>
                  </a:lnTo>
                  <a:lnTo>
                    <a:pt x="104" y="1"/>
                  </a:lnTo>
                  <a:lnTo>
                    <a:pt x="114" y="2"/>
                  </a:lnTo>
                  <a:lnTo>
                    <a:pt x="122" y="4"/>
                  </a:lnTo>
                  <a:lnTo>
                    <a:pt x="132" y="8"/>
                  </a:lnTo>
                  <a:lnTo>
                    <a:pt x="139" y="12"/>
                  </a:lnTo>
                  <a:lnTo>
                    <a:pt x="148" y="17"/>
                  </a:lnTo>
                  <a:lnTo>
                    <a:pt x="155" y="21"/>
                  </a:lnTo>
                  <a:lnTo>
                    <a:pt x="162" y="27"/>
                  </a:lnTo>
                  <a:lnTo>
                    <a:pt x="168" y="35"/>
                  </a:lnTo>
                  <a:lnTo>
                    <a:pt x="173" y="42"/>
                  </a:lnTo>
                  <a:lnTo>
                    <a:pt x="178" y="49"/>
                  </a:lnTo>
                  <a:lnTo>
                    <a:pt x="182" y="58"/>
                  </a:lnTo>
                  <a:lnTo>
                    <a:pt x="185" y="67"/>
                  </a:lnTo>
                  <a:lnTo>
                    <a:pt x="188" y="76"/>
                  </a:lnTo>
                  <a:lnTo>
                    <a:pt x="189" y="86"/>
                  </a:lnTo>
                  <a:lnTo>
                    <a:pt x="190" y="95"/>
                  </a:lnTo>
                  <a:lnTo>
                    <a:pt x="190" y="95"/>
                  </a:lnTo>
                  <a:lnTo>
                    <a:pt x="189" y="105"/>
                  </a:lnTo>
                  <a:lnTo>
                    <a:pt x="188" y="115"/>
                  </a:lnTo>
                  <a:lnTo>
                    <a:pt x="185" y="123"/>
                  </a:lnTo>
                  <a:lnTo>
                    <a:pt x="182" y="132"/>
                  </a:lnTo>
                  <a:lnTo>
                    <a:pt x="178" y="140"/>
                  </a:lnTo>
                  <a:lnTo>
                    <a:pt x="173" y="149"/>
                  </a:lnTo>
                  <a:lnTo>
                    <a:pt x="168" y="156"/>
                  </a:lnTo>
                  <a:lnTo>
                    <a:pt x="162" y="162"/>
                  </a:lnTo>
                  <a:lnTo>
                    <a:pt x="155" y="168"/>
                  </a:lnTo>
                  <a:lnTo>
                    <a:pt x="148" y="174"/>
                  </a:lnTo>
                  <a:lnTo>
                    <a:pt x="139" y="179"/>
                  </a:lnTo>
                  <a:lnTo>
                    <a:pt x="132" y="183"/>
                  </a:lnTo>
                  <a:lnTo>
                    <a:pt x="122" y="186"/>
                  </a:lnTo>
                  <a:lnTo>
                    <a:pt x="114" y="189"/>
                  </a:lnTo>
                  <a:lnTo>
                    <a:pt x="104" y="190"/>
                  </a:lnTo>
                  <a:lnTo>
                    <a:pt x="94" y="190"/>
                  </a:lnTo>
                  <a:lnTo>
                    <a:pt x="94" y="190"/>
                  </a:lnTo>
                  <a:lnTo>
                    <a:pt x="85" y="190"/>
                  </a:lnTo>
                  <a:lnTo>
                    <a:pt x="75" y="189"/>
                  </a:lnTo>
                  <a:lnTo>
                    <a:pt x="67" y="186"/>
                  </a:lnTo>
                  <a:lnTo>
                    <a:pt x="57" y="183"/>
                  </a:lnTo>
                  <a:lnTo>
                    <a:pt x="50" y="179"/>
                  </a:lnTo>
                  <a:lnTo>
                    <a:pt x="41" y="174"/>
                  </a:lnTo>
                  <a:lnTo>
                    <a:pt x="34" y="168"/>
                  </a:lnTo>
                  <a:lnTo>
                    <a:pt x="28" y="162"/>
                  </a:lnTo>
                  <a:lnTo>
                    <a:pt x="20" y="156"/>
                  </a:lnTo>
                  <a:lnTo>
                    <a:pt x="16" y="149"/>
                  </a:lnTo>
                  <a:lnTo>
                    <a:pt x="11" y="140"/>
                  </a:lnTo>
                  <a:lnTo>
                    <a:pt x="7" y="132"/>
                  </a:lnTo>
                  <a:lnTo>
                    <a:pt x="3" y="123"/>
                  </a:lnTo>
                  <a:lnTo>
                    <a:pt x="1" y="115"/>
                  </a:lnTo>
                  <a:lnTo>
                    <a:pt x="0" y="105"/>
                  </a:lnTo>
                  <a:lnTo>
                    <a:pt x="0" y="95"/>
                  </a:lnTo>
                  <a:lnTo>
                    <a:pt x="0" y="95"/>
                  </a:lnTo>
                  <a:lnTo>
                    <a:pt x="0" y="86"/>
                  </a:lnTo>
                  <a:lnTo>
                    <a:pt x="1" y="76"/>
                  </a:lnTo>
                  <a:lnTo>
                    <a:pt x="3" y="67"/>
                  </a:lnTo>
                  <a:lnTo>
                    <a:pt x="7" y="58"/>
                  </a:lnTo>
                  <a:lnTo>
                    <a:pt x="11" y="49"/>
                  </a:lnTo>
                  <a:lnTo>
                    <a:pt x="16" y="42"/>
                  </a:lnTo>
                  <a:lnTo>
                    <a:pt x="20" y="35"/>
                  </a:lnTo>
                  <a:lnTo>
                    <a:pt x="28" y="27"/>
                  </a:lnTo>
                  <a:lnTo>
                    <a:pt x="34" y="21"/>
                  </a:lnTo>
                  <a:lnTo>
                    <a:pt x="41" y="17"/>
                  </a:lnTo>
                  <a:lnTo>
                    <a:pt x="50" y="12"/>
                  </a:lnTo>
                  <a:lnTo>
                    <a:pt x="57" y="8"/>
                  </a:lnTo>
                  <a:lnTo>
                    <a:pt x="67" y="4"/>
                  </a:lnTo>
                  <a:lnTo>
                    <a:pt x="75" y="2"/>
                  </a:lnTo>
                  <a:lnTo>
                    <a:pt x="85" y="1"/>
                  </a:lnTo>
                  <a:lnTo>
                    <a:pt x="94" y="0"/>
                  </a:lnTo>
                  <a:lnTo>
                    <a:pt x="9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32" name="Freeform 471"/>
            <p:cNvSpPr/>
            <p:nvPr/>
          </p:nvSpPr>
          <p:spPr bwMode="auto">
            <a:xfrm>
              <a:off x="4427538" y="3778251"/>
              <a:ext cx="192088" cy="166688"/>
            </a:xfrm>
            <a:custGeom>
              <a:avLst/>
              <a:gdLst>
                <a:gd name="T0" fmla="*/ 181 w 364"/>
                <a:gd name="T1" fmla="*/ 208 h 315"/>
                <a:gd name="T2" fmla="*/ 174 w 364"/>
                <a:gd name="T3" fmla="*/ 190 h 315"/>
                <a:gd name="T4" fmla="*/ 169 w 364"/>
                <a:gd name="T5" fmla="*/ 163 h 315"/>
                <a:gd name="T6" fmla="*/ 165 w 364"/>
                <a:gd name="T7" fmla="*/ 99 h 315"/>
                <a:gd name="T8" fmla="*/ 165 w 364"/>
                <a:gd name="T9" fmla="*/ 41 h 315"/>
                <a:gd name="T10" fmla="*/ 164 w 364"/>
                <a:gd name="T11" fmla="*/ 2 h 315"/>
                <a:gd name="T12" fmla="*/ 188 w 364"/>
                <a:gd name="T13" fmla="*/ 0 h 315"/>
                <a:gd name="T14" fmla="*/ 238 w 364"/>
                <a:gd name="T15" fmla="*/ 1 h 315"/>
                <a:gd name="T16" fmla="*/ 273 w 364"/>
                <a:gd name="T17" fmla="*/ 3 h 315"/>
                <a:gd name="T18" fmla="*/ 308 w 364"/>
                <a:gd name="T19" fmla="*/ 11 h 315"/>
                <a:gd name="T20" fmla="*/ 337 w 364"/>
                <a:gd name="T21" fmla="*/ 24 h 315"/>
                <a:gd name="T22" fmla="*/ 348 w 364"/>
                <a:gd name="T23" fmla="*/ 32 h 315"/>
                <a:gd name="T24" fmla="*/ 357 w 364"/>
                <a:gd name="T25" fmla="*/ 43 h 315"/>
                <a:gd name="T26" fmla="*/ 363 w 364"/>
                <a:gd name="T27" fmla="*/ 55 h 315"/>
                <a:gd name="T28" fmla="*/ 364 w 364"/>
                <a:gd name="T29" fmla="*/ 70 h 315"/>
                <a:gd name="T30" fmla="*/ 362 w 364"/>
                <a:gd name="T31" fmla="*/ 86 h 315"/>
                <a:gd name="T32" fmla="*/ 348 w 364"/>
                <a:gd name="T33" fmla="*/ 137 h 315"/>
                <a:gd name="T34" fmla="*/ 324 w 364"/>
                <a:gd name="T35" fmla="*/ 231 h 315"/>
                <a:gd name="T36" fmla="*/ 315 w 364"/>
                <a:gd name="T37" fmla="*/ 275 h 315"/>
                <a:gd name="T38" fmla="*/ 309 w 364"/>
                <a:gd name="T39" fmla="*/ 282 h 315"/>
                <a:gd name="T40" fmla="*/ 296 w 364"/>
                <a:gd name="T41" fmla="*/ 297 h 315"/>
                <a:gd name="T42" fmla="*/ 289 w 364"/>
                <a:gd name="T43" fmla="*/ 302 h 315"/>
                <a:gd name="T44" fmla="*/ 274 w 364"/>
                <a:gd name="T45" fmla="*/ 309 h 315"/>
                <a:gd name="T46" fmla="*/ 258 w 364"/>
                <a:gd name="T47" fmla="*/ 314 h 315"/>
                <a:gd name="T48" fmla="*/ 250 w 364"/>
                <a:gd name="T49" fmla="*/ 315 h 315"/>
                <a:gd name="T50" fmla="*/ 243 w 364"/>
                <a:gd name="T51" fmla="*/ 315 h 315"/>
                <a:gd name="T52" fmla="*/ 227 w 364"/>
                <a:gd name="T53" fmla="*/ 313 h 315"/>
                <a:gd name="T54" fmla="*/ 227 w 364"/>
                <a:gd name="T55" fmla="*/ 313 h 315"/>
                <a:gd name="T56" fmla="*/ 0 w 364"/>
                <a:gd name="T57" fmla="*/ 239 h 315"/>
                <a:gd name="T58" fmla="*/ 74 w 364"/>
                <a:gd name="T59" fmla="*/ 197 h 315"/>
                <a:gd name="T60" fmla="*/ 229 w 364"/>
                <a:gd name="T61" fmla="*/ 240 h 315"/>
                <a:gd name="T62" fmla="*/ 232 w 364"/>
                <a:gd name="T63" fmla="*/ 210 h 315"/>
                <a:gd name="T64" fmla="*/ 234 w 364"/>
                <a:gd name="T65" fmla="*/ 190 h 315"/>
                <a:gd name="T66" fmla="*/ 238 w 364"/>
                <a:gd name="T67" fmla="*/ 172 h 315"/>
                <a:gd name="T68" fmla="*/ 243 w 364"/>
                <a:gd name="T69" fmla="*/ 154 h 315"/>
                <a:gd name="T70" fmla="*/ 255 w 364"/>
                <a:gd name="T71" fmla="*/ 117 h 315"/>
                <a:gd name="T72" fmla="*/ 271 w 364"/>
                <a:gd name="T73" fmla="*/ 83 h 315"/>
                <a:gd name="T74" fmla="*/ 255 w 364"/>
                <a:gd name="T75" fmla="*/ 74 h 315"/>
                <a:gd name="T76" fmla="*/ 237 w 364"/>
                <a:gd name="T77" fmla="*/ 110 h 315"/>
                <a:gd name="T78" fmla="*/ 224 w 364"/>
                <a:gd name="T79" fmla="*/ 149 h 315"/>
                <a:gd name="T80" fmla="*/ 220 w 364"/>
                <a:gd name="T81" fmla="*/ 168 h 315"/>
                <a:gd name="T82" fmla="*/ 216 w 364"/>
                <a:gd name="T83" fmla="*/ 188 h 315"/>
                <a:gd name="T84" fmla="*/ 212 w 364"/>
                <a:gd name="T85" fmla="*/ 217 h 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364" h="315">
                  <a:moveTo>
                    <a:pt x="181" y="208"/>
                  </a:moveTo>
                  <a:lnTo>
                    <a:pt x="181" y="208"/>
                  </a:lnTo>
                  <a:lnTo>
                    <a:pt x="177" y="201"/>
                  </a:lnTo>
                  <a:lnTo>
                    <a:pt x="174" y="190"/>
                  </a:lnTo>
                  <a:lnTo>
                    <a:pt x="171" y="177"/>
                  </a:lnTo>
                  <a:lnTo>
                    <a:pt x="169" y="163"/>
                  </a:lnTo>
                  <a:lnTo>
                    <a:pt x="166" y="132"/>
                  </a:lnTo>
                  <a:lnTo>
                    <a:pt x="165" y="99"/>
                  </a:lnTo>
                  <a:lnTo>
                    <a:pt x="165" y="68"/>
                  </a:lnTo>
                  <a:lnTo>
                    <a:pt x="165" y="41"/>
                  </a:lnTo>
                  <a:lnTo>
                    <a:pt x="166" y="17"/>
                  </a:lnTo>
                  <a:lnTo>
                    <a:pt x="164" y="2"/>
                  </a:lnTo>
                  <a:lnTo>
                    <a:pt x="164" y="2"/>
                  </a:lnTo>
                  <a:lnTo>
                    <a:pt x="188" y="0"/>
                  </a:lnTo>
                  <a:lnTo>
                    <a:pt x="220" y="0"/>
                  </a:lnTo>
                  <a:lnTo>
                    <a:pt x="238" y="1"/>
                  </a:lnTo>
                  <a:lnTo>
                    <a:pt x="256" y="2"/>
                  </a:lnTo>
                  <a:lnTo>
                    <a:pt x="273" y="3"/>
                  </a:lnTo>
                  <a:lnTo>
                    <a:pt x="291" y="7"/>
                  </a:lnTo>
                  <a:lnTo>
                    <a:pt x="308" y="11"/>
                  </a:lnTo>
                  <a:lnTo>
                    <a:pt x="323" y="17"/>
                  </a:lnTo>
                  <a:lnTo>
                    <a:pt x="337" y="24"/>
                  </a:lnTo>
                  <a:lnTo>
                    <a:pt x="342" y="28"/>
                  </a:lnTo>
                  <a:lnTo>
                    <a:pt x="348" y="32"/>
                  </a:lnTo>
                  <a:lnTo>
                    <a:pt x="353" y="37"/>
                  </a:lnTo>
                  <a:lnTo>
                    <a:pt x="357" y="43"/>
                  </a:lnTo>
                  <a:lnTo>
                    <a:pt x="360" y="48"/>
                  </a:lnTo>
                  <a:lnTo>
                    <a:pt x="363" y="55"/>
                  </a:lnTo>
                  <a:lnTo>
                    <a:pt x="364" y="61"/>
                  </a:lnTo>
                  <a:lnTo>
                    <a:pt x="364" y="70"/>
                  </a:lnTo>
                  <a:lnTo>
                    <a:pt x="364" y="77"/>
                  </a:lnTo>
                  <a:lnTo>
                    <a:pt x="362" y="86"/>
                  </a:lnTo>
                  <a:lnTo>
                    <a:pt x="362" y="86"/>
                  </a:lnTo>
                  <a:lnTo>
                    <a:pt x="348" y="137"/>
                  </a:lnTo>
                  <a:lnTo>
                    <a:pt x="335" y="185"/>
                  </a:lnTo>
                  <a:lnTo>
                    <a:pt x="324" y="231"/>
                  </a:lnTo>
                  <a:lnTo>
                    <a:pt x="319" y="253"/>
                  </a:lnTo>
                  <a:lnTo>
                    <a:pt x="315" y="275"/>
                  </a:lnTo>
                  <a:lnTo>
                    <a:pt x="315" y="275"/>
                  </a:lnTo>
                  <a:lnTo>
                    <a:pt x="309" y="282"/>
                  </a:lnTo>
                  <a:lnTo>
                    <a:pt x="303" y="290"/>
                  </a:lnTo>
                  <a:lnTo>
                    <a:pt x="296" y="297"/>
                  </a:lnTo>
                  <a:lnTo>
                    <a:pt x="289" y="302"/>
                  </a:lnTo>
                  <a:lnTo>
                    <a:pt x="289" y="302"/>
                  </a:lnTo>
                  <a:lnTo>
                    <a:pt x="282" y="307"/>
                  </a:lnTo>
                  <a:lnTo>
                    <a:pt x="274" y="309"/>
                  </a:lnTo>
                  <a:lnTo>
                    <a:pt x="267" y="313"/>
                  </a:lnTo>
                  <a:lnTo>
                    <a:pt x="258" y="314"/>
                  </a:lnTo>
                  <a:lnTo>
                    <a:pt x="258" y="314"/>
                  </a:lnTo>
                  <a:lnTo>
                    <a:pt x="250" y="315"/>
                  </a:lnTo>
                  <a:lnTo>
                    <a:pt x="243" y="315"/>
                  </a:lnTo>
                  <a:lnTo>
                    <a:pt x="243" y="315"/>
                  </a:lnTo>
                  <a:lnTo>
                    <a:pt x="234" y="314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227" y="313"/>
                  </a:lnTo>
                  <a:lnTo>
                    <a:pt x="70" y="263"/>
                  </a:lnTo>
                  <a:lnTo>
                    <a:pt x="0" y="239"/>
                  </a:lnTo>
                  <a:lnTo>
                    <a:pt x="4" y="178"/>
                  </a:lnTo>
                  <a:lnTo>
                    <a:pt x="74" y="197"/>
                  </a:lnTo>
                  <a:lnTo>
                    <a:pt x="229" y="240"/>
                  </a:lnTo>
                  <a:lnTo>
                    <a:pt x="229" y="240"/>
                  </a:lnTo>
                  <a:lnTo>
                    <a:pt x="231" y="220"/>
                  </a:lnTo>
                  <a:lnTo>
                    <a:pt x="232" y="210"/>
                  </a:lnTo>
                  <a:lnTo>
                    <a:pt x="232" y="210"/>
                  </a:lnTo>
                  <a:lnTo>
                    <a:pt x="234" y="190"/>
                  </a:lnTo>
                  <a:lnTo>
                    <a:pt x="234" y="190"/>
                  </a:lnTo>
                  <a:lnTo>
                    <a:pt x="238" y="172"/>
                  </a:lnTo>
                  <a:lnTo>
                    <a:pt x="243" y="154"/>
                  </a:lnTo>
                  <a:lnTo>
                    <a:pt x="243" y="154"/>
                  </a:lnTo>
                  <a:lnTo>
                    <a:pt x="248" y="134"/>
                  </a:lnTo>
                  <a:lnTo>
                    <a:pt x="255" y="117"/>
                  </a:lnTo>
                  <a:lnTo>
                    <a:pt x="262" y="99"/>
                  </a:lnTo>
                  <a:lnTo>
                    <a:pt x="271" y="83"/>
                  </a:lnTo>
                  <a:lnTo>
                    <a:pt x="255" y="74"/>
                  </a:lnTo>
                  <a:lnTo>
                    <a:pt x="255" y="74"/>
                  </a:lnTo>
                  <a:lnTo>
                    <a:pt x="245" y="92"/>
                  </a:lnTo>
                  <a:lnTo>
                    <a:pt x="237" y="110"/>
                  </a:lnTo>
                  <a:lnTo>
                    <a:pt x="231" y="129"/>
                  </a:lnTo>
                  <a:lnTo>
                    <a:pt x="224" y="149"/>
                  </a:lnTo>
                  <a:lnTo>
                    <a:pt x="224" y="149"/>
                  </a:lnTo>
                  <a:lnTo>
                    <a:pt x="220" y="168"/>
                  </a:lnTo>
                  <a:lnTo>
                    <a:pt x="216" y="188"/>
                  </a:lnTo>
                  <a:lnTo>
                    <a:pt x="216" y="188"/>
                  </a:lnTo>
                  <a:lnTo>
                    <a:pt x="214" y="207"/>
                  </a:lnTo>
                  <a:lnTo>
                    <a:pt x="212" y="217"/>
                  </a:lnTo>
                  <a:lnTo>
                    <a:pt x="181" y="2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33" name="Freeform 472"/>
            <p:cNvSpPr/>
            <p:nvPr/>
          </p:nvSpPr>
          <p:spPr bwMode="auto">
            <a:xfrm>
              <a:off x="3867150" y="3749676"/>
              <a:ext cx="474663" cy="325438"/>
            </a:xfrm>
            <a:custGeom>
              <a:avLst/>
              <a:gdLst>
                <a:gd name="T0" fmla="*/ 841 w 898"/>
                <a:gd name="T1" fmla="*/ 502 h 615"/>
                <a:gd name="T2" fmla="*/ 898 w 898"/>
                <a:gd name="T3" fmla="*/ 615 h 615"/>
                <a:gd name="T4" fmla="*/ 772 w 898"/>
                <a:gd name="T5" fmla="*/ 605 h 615"/>
                <a:gd name="T6" fmla="*/ 794 w 898"/>
                <a:gd name="T7" fmla="*/ 573 h 615"/>
                <a:gd name="T8" fmla="*/ 0 w 898"/>
                <a:gd name="T9" fmla="*/ 38 h 615"/>
                <a:gd name="T10" fmla="*/ 26 w 898"/>
                <a:gd name="T11" fmla="*/ 0 h 615"/>
                <a:gd name="T12" fmla="*/ 819 w 898"/>
                <a:gd name="T13" fmla="*/ 535 h 615"/>
                <a:gd name="T14" fmla="*/ 841 w 898"/>
                <a:gd name="T15" fmla="*/ 502 h 6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98" h="615">
                  <a:moveTo>
                    <a:pt x="841" y="502"/>
                  </a:moveTo>
                  <a:lnTo>
                    <a:pt x="898" y="615"/>
                  </a:lnTo>
                  <a:lnTo>
                    <a:pt x="772" y="605"/>
                  </a:lnTo>
                  <a:lnTo>
                    <a:pt x="794" y="573"/>
                  </a:lnTo>
                  <a:lnTo>
                    <a:pt x="0" y="38"/>
                  </a:lnTo>
                  <a:lnTo>
                    <a:pt x="26" y="0"/>
                  </a:lnTo>
                  <a:lnTo>
                    <a:pt x="819" y="535"/>
                  </a:lnTo>
                  <a:lnTo>
                    <a:pt x="841" y="5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34" name="Freeform 473"/>
            <p:cNvSpPr/>
            <p:nvPr/>
          </p:nvSpPr>
          <p:spPr bwMode="auto">
            <a:xfrm>
              <a:off x="4121150" y="3636963"/>
              <a:ext cx="231775" cy="261938"/>
            </a:xfrm>
            <a:custGeom>
              <a:avLst/>
              <a:gdLst>
                <a:gd name="T0" fmla="*/ 438 w 438"/>
                <a:gd name="T1" fmla="*/ 36 h 496"/>
                <a:gd name="T2" fmla="*/ 421 w 438"/>
                <a:gd name="T3" fmla="*/ 43 h 496"/>
                <a:gd name="T4" fmla="*/ 404 w 438"/>
                <a:gd name="T5" fmla="*/ 51 h 496"/>
                <a:gd name="T6" fmla="*/ 388 w 438"/>
                <a:gd name="T7" fmla="*/ 64 h 496"/>
                <a:gd name="T8" fmla="*/ 373 w 438"/>
                <a:gd name="T9" fmla="*/ 79 h 496"/>
                <a:gd name="T10" fmla="*/ 365 w 438"/>
                <a:gd name="T11" fmla="*/ 91 h 496"/>
                <a:gd name="T12" fmla="*/ 351 w 438"/>
                <a:gd name="T13" fmla="*/ 118 h 496"/>
                <a:gd name="T14" fmla="*/ 347 w 438"/>
                <a:gd name="T15" fmla="*/ 146 h 496"/>
                <a:gd name="T16" fmla="*/ 348 w 438"/>
                <a:gd name="T17" fmla="*/ 173 h 496"/>
                <a:gd name="T18" fmla="*/ 350 w 438"/>
                <a:gd name="T19" fmla="*/ 186 h 496"/>
                <a:gd name="T20" fmla="*/ 321 w 438"/>
                <a:gd name="T21" fmla="*/ 192 h 496"/>
                <a:gd name="T22" fmla="*/ 293 w 438"/>
                <a:gd name="T23" fmla="*/ 203 h 496"/>
                <a:gd name="T24" fmla="*/ 266 w 438"/>
                <a:gd name="T25" fmla="*/ 220 h 496"/>
                <a:gd name="T26" fmla="*/ 242 w 438"/>
                <a:gd name="T27" fmla="*/ 243 h 496"/>
                <a:gd name="T28" fmla="*/ 337 w 438"/>
                <a:gd name="T29" fmla="*/ 341 h 496"/>
                <a:gd name="T30" fmla="*/ 231 w 438"/>
                <a:gd name="T31" fmla="*/ 258 h 496"/>
                <a:gd name="T32" fmla="*/ 214 w 438"/>
                <a:gd name="T33" fmla="*/ 286 h 496"/>
                <a:gd name="T34" fmla="*/ 203 w 438"/>
                <a:gd name="T35" fmla="*/ 315 h 496"/>
                <a:gd name="T36" fmla="*/ 199 w 438"/>
                <a:gd name="T37" fmla="*/ 345 h 496"/>
                <a:gd name="T38" fmla="*/ 200 w 438"/>
                <a:gd name="T39" fmla="*/ 374 h 496"/>
                <a:gd name="T40" fmla="*/ 186 w 438"/>
                <a:gd name="T41" fmla="*/ 374 h 496"/>
                <a:gd name="T42" fmla="*/ 160 w 438"/>
                <a:gd name="T43" fmla="*/ 379 h 496"/>
                <a:gd name="T44" fmla="*/ 134 w 438"/>
                <a:gd name="T45" fmla="*/ 391 h 496"/>
                <a:gd name="T46" fmla="*/ 112 w 438"/>
                <a:gd name="T47" fmla="*/ 409 h 496"/>
                <a:gd name="T48" fmla="*/ 101 w 438"/>
                <a:gd name="T49" fmla="*/ 420 h 496"/>
                <a:gd name="T50" fmla="*/ 89 w 438"/>
                <a:gd name="T51" fmla="*/ 438 h 496"/>
                <a:gd name="T52" fmla="*/ 81 w 438"/>
                <a:gd name="T53" fmla="*/ 457 h 496"/>
                <a:gd name="T54" fmla="*/ 76 w 438"/>
                <a:gd name="T55" fmla="*/ 476 h 496"/>
                <a:gd name="T56" fmla="*/ 75 w 438"/>
                <a:gd name="T57" fmla="*/ 496 h 496"/>
                <a:gd name="T58" fmla="*/ 58 w 438"/>
                <a:gd name="T59" fmla="*/ 475 h 496"/>
                <a:gd name="T60" fmla="*/ 31 w 438"/>
                <a:gd name="T61" fmla="*/ 432 h 496"/>
                <a:gd name="T62" fmla="*/ 13 w 438"/>
                <a:gd name="T63" fmla="*/ 386 h 496"/>
                <a:gd name="T64" fmla="*/ 2 w 438"/>
                <a:gd name="T65" fmla="*/ 338 h 496"/>
                <a:gd name="T66" fmla="*/ 0 w 438"/>
                <a:gd name="T67" fmla="*/ 288 h 496"/>
                <a:gd name="T68" fmla="*/ 6 w 438"/>
                <a:gd name="T69" fmla="*/ 239 h 496"/>
                <a:gd name="T70" fmla="*/ 19 w 438"/>
                <a:gd name="T71" fmla="*/ 191 h 496"/>
                <a:gd name="T72" fmla="*/ 42 w 438"/>
                <a:gd name="T73" fmla="*/ 145 h 496"/>
                <a:gd name="T74" fmla="*/ 50 w 438"/>
                <a:gd name="T75" fmla="*/ 118 h 496"/>
                <a:gd name="T76" fmla="*/ 47 w 438"/>
                <a:gd name="T77" fmla="*/ 115 h 496"/>
                <a:gd name="T78" fmla="*/ 46 w 438"/>
                <a:gd name="T79" fmla="*/ 105 h 496"/>
                <a:gd name="T80" fmla="*/ 48 w 438"/>
                <a:gd name="T81" fmla="*/ 100 h 496"/>
                <a:gd name="T82" fmla="*/ 57 w 438"/>
                <a:gd name="T83" fmla="*/ 96 h 496"/>
                <a:gd name="T84" fmla="*/ 66 w 438"/>
                <a:gd name="T85" fmla="*/ 99 h 496"/>
                <a:gd name="T86" fmla="*/ 72 w 438"/>
                <a:gd name="T87" fmla="*/ 104 h 496"/>
                <a:gd name="T88" fmla="*/ 109 w 438"/>
                <a:gd name="T89" fmla="*/ 67 h 496"/>
                <a:gd name="T90" fmla="*/ 151 w 438"/>
                <a:gd name="T91" fmla="*/ 38 h 496"/>
                <a:gd name="T92" fmla="*/ 196 w 438"/>
                <a:gd name="T93" fmla="*/ 17 h 496"/>
                <a:gd name="T94" fmla="*/ 245 w 438"/>
                <a:gd name="T95" fmla="*/ 5 h 496"/>
                <a:gd name="T96" fmla="*/ 293 w 438"/>
                <a:gd name="T97" fmla="*/ 0 h 496"/>
                <a:gd name="T98" fmla="*/ 343 w 438"/>
                <a:gd name="T99" fmla="*/ 4 h 496"/>
                <a:gd name="T100" fmla="*/ 391 w 438"/>
                <a:gd name="T101" fmla="*/ 16 h 496"/>
                <a:gd name="T102" fmla="*/ 438 w 438"/>
                <a:gd name="T103" fmla="*/ 36 h 4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438" h="496">
                  <a:moveTo>
                    <a:pt x="438" y="36"/>
                  </a:moveTo>
                  <a:lnTo>
                    <a:pt x="438" y="36"/>
                  </a:lnTo>
                  <a:lnTo>
                    <a:pt x="429" y="39"/>
                  </a:lnTo>
                  <a:lnTo>
                    <a:pt x="421" y="43"/>
                  </a:lnTo>
                  <a:lnTo>
                    <a:pt x="412" y="47"/>
                  </a:lnTo>
                  <a:lnTo>
                    <a:pt x="404" y="51"/>
                  </a:lnTo>
                  <a:lnTo>
                    <a:pt x="395" y="57"/>
                  </a:lnTo>
                  <a:lnTo>
                    <a:pt x="388" y="64"/>
                  </a:lnTo>
                  <a:lnTo>
                    <a:pt x="380" y="71"/>
                  </a:lnTo>
                  <a:lnTo>
                    <a:pt x="373" y="79"/>
                  </a:lnTo>
                  <a:lnTo>
                    <a:pt x="373" y="79"/>
                  </a:lnTo>
                  <a:lnTo>
                    <a:pt x="365" y="91"/>
                  </a:lnTo>
                  <a:lnTo>
                    <a:pt x="357" y="105"/>
                  </a:lnTo>
                  <a:lnTo>
                    <a:pt x="351" y="118"/>
                  </a:lnTo>
                  <a:lnTo>
                    <a:pt x="348" y="133"/>
                  </a:lnTo>
                  <a:lnTo>
                    <a:pt x="347" y="146"/>
                  </a:lnTo>
                  <a:lnTo>
                    <a:pt x="347" y="159"/>
                  </a:lnTo>
                  <a:lnTo>
                    <a:pt x="348" y="173"/>
                  </a:lnTo>
                  <a:lnTo>
                    <a:pt x="350" y="186"/>
                  </a:lnTo>
                  <a:lnTo>
                    <a:pt x="350" y="186"/>
                  </a:lnTo>
                  <a:lnTo>
                    <a:pt x="336" y="189"/>
                  </a:lnTo>
                  <a:lnTo>
                    <a:pt x="321" y="192"/>
                  </a:lnTo>
                  <a:lnTo>
                    <a:pt x="308" y="197"/>
                  </a:lnTo>
                  <a:lnTo>
                    <a:pt x="293" y="203"/>
                  </a:lnTo>
                  <a:lnTo>
                    <a:pt x="280" y="212"/>
                  </a:lnTo>
                  <a:lnTo>
                    <a:pt x="266" y="220"/>
                  </a:lnTo>
                  <a:lnTo>
                    <a:pt x="254" y="231"/>
                  </a:lnTo>
                  <a:lnTo>
                    <a:pt x="242" y="243"/>
                  </a:lnTo>
                  <a:lnTo>
                    <a:pt x="348" y="327"/>
                  </a:lnTo>
                  <a:lnTo>
                    <a:pt x="337" y="341"/>
                  </a:lnTo>
                  <a:lnTo>
                    <a:pt x="231" y="258"/>
                  </a:lnTo>
                  <a:lnTo>
                    <a:pt x="231" y="258"/>
                  </a:lnTo>
                  <a:lnTo>
                    <a:pt x="223" y="271"/>
                  </a:lnTo>
                  <a:lnTo>
                    <a:pt x="214" y="286"/>
                  </a:lnTo>
                  <a:lnTo>
                    <a:pt x="208" y="300"/>
                  </a:lnTo>
                  <a:lnTo>
                    <a:pt x="203" y="315"/>
                  </a:lnTo>
                  <a:lnTo>
                    <a:pt x="201" y="330"/>
                  </a:lnTo>
                  <a:lnTo>
                    <a:pt x="199" y="345"/>
                  </a:lnTo>
                  <a:lnTo>
                    <a:pt x="199" y="360"/>
                  </a:lnTo>
                  <a:lnTo>
                    <a:pt x="200" y="374"/>
                  </a:lnTo>
                  <a:lnTo>
                    <a:pt x="200" y="374"/>
                  </a:lnTo>
                  <a:lnTo>
                    <a:pt x="186" y="374"/>
                  </a:lnTo>
                  <a:lnTo>
                    <a:pt x="173" y="375"/>
                  </a:lnTo>
                  <a:lnTo>
                    <a:pt x="160" y="379"/>
                  </a:lnTo>
                  <a:lnTo>
                    <a:pt x="148" y="384"/>
                  </a:lnTo>
                  <a:lnTo>
                    <a:pt x="134" y="391"/>
                  </a:lnTo>
                  <a:lnTo>
                    <a:pt x="123" y="400"/>
                  </a:lnTo>
                  <a:lnTo>
                    <a:pt x="112" y="409"/>
                  </a:lnTo>
                  <a:lnTo>
                    <a:pt x="101" y="420"/>
                  </a:lnTo>
                  <a:lnTo>
                    <a:pt x="101" y="420"/>
                  </a:lnTo>
                  <a:lnTo>
                    <a:pt x="95" y="429"/>
                  </a:lnTo>
                  <a:lnTo>
                    <a:pt x="89" y="438"/>
                  </a:lnTo>
                  <a:lnTo>
                    <a:pt x="86" y="447"/>
                  </a:lnTo>
                  <a:lnTo>
                    <a:pt x="81" y="457"/>
                  </a:lnTo>
                  <a:lnTo>
                    <a:pt x="78" y="466"/>
                  </a:lnTo>
                  <a:lnTo>
                    <a:pt x="76" y="476"/>
                  </a:lnTo>
                  <a:lnTo>
                    <a:pt x="75" y="486"/>
                  </a:lnTo>
                  <a:lnTo>
                    <a:pt x="75" y="496"/>
                  </a:lnTo>
                  <a:lnTo>
                    <a:pt x="75" y="496"/>
                  </a:lnTo>
                  <a:lnTo>
                    <a:pt x="58" y="475"/>
                  </a:lnTo>
                  <a:lnTo>
                    <a:pt x="44" y="454"/>
                  </a:lnTo>
                  <a:lnTo>
                    <a:pt x="31" y="432"/>
                  </a:lnTo>
                  <a:lnTo>
                    <a:pt x="21" y="409"/>
                  </a:lnTo>
                  <a:lnTo>
                    <a:pt x="13" y="386"/>
                  </a:lnTo>
                  <a:lnTo>
                    <a:pt x="7" y="362"/>
                  </a:lnTo>
                  <a:lnTo>
                    <a:pt x="2" y="338"/>
                  </a:lnTo>
                  <a:lnTo>
                    <a:pt x="0" y="314"/>
                  </a:lnTo>
                  <a:lnTo>
                    <a:pt x="0" y="288"/>
                  </a:lnTo>
                  <a:lnTo>
                    <a:pt x="1" y="264"/>
                  </a:lnTo>
                  <a:lnTo>
                    <a:pt x="6" y="239"/>
                  </a:lnTo>
                  <a:lnTo>
                    <a:pt x="10" y="214"/>
                  </a:lnTo>
                  <a:lnTo>
                    <a:pt x="19" y="191"/>
                  </a:lnTo>
                  <a:lnTo>
                    <a:pt x="30" y="167"/>
                  </a:lnTo>
                  <a:lnTo>
                    <a:pt x="42" y="145"/>
                  </a:lnTo>
                  <a:lnTo>
                    <a:pt x="57" y="123"/>
                  </a:lnTo>
                  <a:lnTo>
                    <a:pt x="50" y="118"/>
                  </a:lnTo>
                  <a:lnTo>
                    <a:pt x="50" y="118"/>
                  </a:lnTo>
                  <a:lnTo>
                    <a:pt x="47" y="115"/>
                  </a:lnTo>
                  <a:lnTo>
                    <a:pt x="46" y="110"/>
                  </a:lnTo>
                  <a:lnTo>
                    <a:pt x="46" y="105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52" y="98"/>
                  </a:lnTo>
                  <a:lnTo>
                    <a:pt x="57" y="96"/>
                  </a:lnTo>
                  <a:lnTo>
                    <a:pt x="61" y="96"/>
                  </a:lnTo>
                  <a:lnTo>
                    <a:pt x="66" y="99"/>
                  </a:lnTo>
                  <a:lnTo>
                    <a:pt x="72" y="104"/>
                  </a:lnTo>
                  <a:lnTo>
                    <a:pt x="72" y="104"/>
                  </a:lnTo>
                  <a:lnTo>
                    <a:pt x="89" y="84"/>
                  </a:lnTo>
                  <a:lnTo>
                    <a:pt x="109" y="67"/>
                  </a:lnTo>
                  <a:lnTo>
                    <a:pt x="129" y="51"/>
                  </a:lnTo>
                  <a:lnTo>
                    <a:pt x="151" y="38"/>
                  </a:lnTo>
                  <a:lnTo>
                    <a:pt x="173" y="27"/>
                  </a:lnTo>
                  <a:lnTo>
                    <a:pt x="196" y="17"/>
                  </a:lnTo>
                  <a:lnTo>
                    <a:pt x="220" y="10"/>
                  </a:lnTo>
                  <a:lnTo>
                    <a:pt x="245" y="5"/>
                  </a:lnTo>
                  <a:lnTo>
                    <a:pt x="269" y="2"/>
                  </a:lnTo>
                  <a:lnTo>
                    <a:pt x="293" y="0"/>
                  </a:lnTo>
                  <a:lnTo>
                    <a:pt x="317" y="2"/>
                  </a:lnTo>
                  <a:lnTo>
                    <a:pt x="343" y="4"/>
                  </a:lnTo>
                  <a:lnTo>
                    <a:pt x="367" y="9"/>
                  </a:lnTo>
                  <a:lnTo>
                    <a:pt x="391" y="16"/>
                  </a:lnTo>
                  <a:lnTo>
                    <a:pt x="414" y="25"/>
                  </a:lnTo>
                  <a:lnTo>
                    <a:pt x="438" y="36"/>
                  </a:lnTo>
                  <a:lnTo>
                    <a:pt x="438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35" name="Freeform 474"/>
            <p:cNvSpPr/>
            <p:nvPr/>
          </p:nvSpPr>
          <p:spPr bwMode="auto">
            <a:xfrm>
              <a:off x="4297363" y="3779838"/>
              <a:ext cx="217488" cy="100013"/>
            </a:xfrm>
            <a:custGeom>
              <a:avLst/>
              <a:gdLst>
                <a:gd name="T0" fmla="*/ 352 w 410"/>
                <a:gd name="T1" fmla="*/ 189 h 189"/>
                <a:gd name="T2" fmla="*/ 322 w 410"/>
                <a:gd name="T3" fmla="*/ 182 h 189"/>
                <a:gd name="T4" fmla="*/ 300 w 410"/>
                <a:gd name="T5" fmla="*/ 137 h 189"/>
                <a:gd name="T6" fmla="*/ 300 w 410"/>
                <a:gd name="T7" fmla="*/ 137 h 189"/>
                <a:gd name="T8" fmla="*/ 274 w 410"/>
                <a:gd name="T9" fmla="*/ 148 h 189"/>
                <a:gd name="T10" fmla="*/ 249 w 410"/>
                <a:gd name="T11" fmla="*/ 158 h 189"/>
                <a:gd name="T12" fmla="*/ 219 w 410"/>
                <a:gd name="T13" fmla="*/ 167 h 189"/>
                <a:gd name="T14" fmla="*/ 187 w 410"/>
                <a:gd name="T15" fmla="*/ 178 h 189"/>
                <a:gd name="T16" fmla="*/ 158 w 410"/>
                <a:gd name="T17" fmla="*/ 186 h 189"/>
                <a:gd name="T18" fmla="*/ 146 w 410"/>
                <a:gd name="T19" fmla="*/ 188 h 189"/>
                <a:gd name="T20" fmla="*/ 135 w 410"/>
                <a:gd name="T21" fmla="*/ 189 h 189"/>
                <a:gd name="T22" fmla="*/ 126 w 410"/>
                <a:gd name="T23" fmla="*/ 188 h 189"/>
                <a:gd name="T24" fmla="*/ 120 w 410"/>
                <a:gd name="T25" fmla="*/ 187 h 189"/>
                <a:gd name="T26" fmla="*/ 120 w 410"/>
                <a:gd name="T27" fmla="*/ 187 h 189"/>
                <a:gd name="T28" fmla="*/ 52 w 410"/>
                <a:gd name="T29" fmla="*/ 136 h 189"/>
                <a:gd name="T30" fmla="*/ 0 w 410"/>
                <a:gd name="T31" fmla="*/ 98 h 189"/>
                <a:gd name="T32" fmla="*/ 39 w 410"/>
                <a:gd name="T33" fmla="*/ 47 h 189"/>
                <a:gd name="T34" fmla="*/ 39 w 410"/>
                <a:gd name="T35" fmla="*/ 47 h 189"/>
                <a:gd name="T36" fmla="*/ 54 w 410"/>
                <a:gd name="T37" fmla="*/ 58 h 189"/>
                <a:gd name="T38" fmla="*/ 88 w 410"/>
                <a:gd name="T39" fmla="*/ 81 h 189"/>
                <a:gd name="T40" fmla="*/ 107 w 410"/>
                <a:gd name="T41" fmla="*/ 93 h 189"/>
                <a:gd name="T42" fmla="*/ 126 w 410"/>
                <a:gd name="T43" fmla="*/ 104 h 189"/>
                <a:gd name="T44" fmla="*/ 136 w 410"/>
                <a:gd name="T45" fmla="*/ 109 h 189"/>
                <a:gd name="T46" fmla="*/ 145 w 410"/>
                <a:gd name="T47" fmla="*/ 112 h 189"/>
                <a:gd name="T48" fmla="*/ 152 w 410"/>
                <a:gd name="T49" fmla="*/ 114 h 189"/>
                <a:gd name="T50" fmla="*/ 158 w 410"/>
                <a:gd name="T51" fmla="*/ 114 h 189"/>
                <a:gd name="T52" fmla="*/ 158 w 410"/>
                <a:gd name="T53" fmla="*/ 114 h 189"/>
                <a:gd name="T54" fmla="*/ 164 w 410"/>
                <a:gd name="T55" fmla="*/ 113 h 189"/>
                <a:gd name="T56" fmla="*/ 174 w 410"/>
                <a:gd name="T57" fmla="*/ 109 h 189"/>
                <a:gd name="T58" fmla="*/ 196 w 410"/>
                <a:gd name="T59" fmla="*/ 96 h 189"/>
                <a:gd name="T60" fmla="*/ 257 w 410"/>
                <a:gd name="T61" fmla="*/ 57 h 189"/>
                <a:gd name="T62" fmla="*/ 291 w 410"/>
                <a:gd name="T63" fmla="*/ 36 h 189"/>
                <a:gd name="T64" fmla="*/ 310 w 410"/>
                <a:gd name="T65" fmla="*/ 27 h 189"/>
                <a:gd name="T66" fmla="*/ 328 w 410"/>
                <a:gd name="T67" fmla="*/ 18 h 189"/>
                <a:gd name="T68" fmla="*/ 345 w 410"/>
                <a:gd name="T69" fmla="*/ 11 h 189"/>
                <a:gd name="T70" fmla="*/ 362 w 410"/>
                <a:gd name="T71" fmla="*/ 6 h 189"/>
                <a:gd name="T72" fmla="*/ 379 w 410"/>
                <a:gd name="T73" fmla="*/ 2 h 189"/>
                <a:gd name="T74" fmla="*/ 394 w 410"/>
                <a:gd name="T75" fmla="*/ 1 h 189"/>
                <a:gd name="T76" fmla="*/ 394 w 410"/>
                <a:gd name="T77" fmla="*/ 1 h 189"/>
                <a:gd name="T78" fmla="*/ 408 w 410"/>
                <a:gd name="T79" fmla="*/ 0 h 189"/>
                <a:gd name="T80" fmla="*/ 410 w 410"/>
                <a:gd name="T81" fmla="*/ 15 h 189"/>
                <a:gd name="T82" fmla="*/ 352 w 410"/>
                <a:gd name="T83" fmla="*/ 189 h 1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10" h="189">
                  <a:moveTo>
                    <a:pt x="352" y="189"/>
                  </a:moveTo>
                  <a:lnTo>
                    <a:pt x="322" y="182"/>
                  </a:lnTo>
                  <a:lnTo>
                    <a:pt x="300" y="137"/>
                  </a:lnTo>
                  <a:lnTo>
                    <a:pt x="300" y="137"/>
                  </a:lnTo>
                  <a:lnTo>
                    <a:pt x="274" y="148"/>
                  </a:lnTo>
                  <a:lnTo>
                    <a:pt x="249" y="158"/>
                  </a:lnTo>
                  <a:lnTo>
                    <a:pt x="219" y="167"/>
                  </a:lnTo>
                  <a:lnTo>
                    <a:pt x="187" y="178"/>
                  </a:lnTo>
                  <a:lnTo>
                    <a:pt x="158" y="186"/>
                  </a:lnTo>
                  <a:lnTo>
                    <a:pt x="146" y="188"/>
                  </a:lnTo>
                  <a:lnTo>
                    <a:pt x="135" y="189"/>
                  </a:lnTo>
                  <a:lnTo>
                    <a:pt x="126" y="188"/>
                  </a:lnTo>
                  <a:lnTo>
                    <a:pt x="120" y="187"/>
                  </a:lnTo>
                  <a:lnTo>
                    <a:pt x="120" y="187"/>
                  </a:lnTo>
                  <a:lnTo>
                    <a:pt x="52" y="136"/>
                  </a:lnTo>
                  <a:lnTo>
                    <a:pt x="0" y="98"/>
                  </a:lnTo>
                  <a:lnTo>
                    <a:pt x="39" y="47"/>
                  </a:lnTo>
                  <a:lnTo>
                    <a:pt x="39" y="47"/>
                  </a:lnTo>
                  <a:lnTo>
                    <a:pt x="54" y="58"/>
                  </a:lnTo>
                  <a:lnTo>
                    <a:pt x="88" y="81"/>
                  </a:lnTo>
                  <a:lnTo>
                    <a:pt x="107" y="93"/>
                  </a:lnTo>
                  <a:lnTo>
                    <a:pt x="126" y="104"/>
                  </a:lnTo>
                  <a:lnTo>
                    <a:pt x="136" y="109"/>
                  </a:lnTo>
                  <a:lnTo>
                    <a:pt x="145" y="112"/>
                  </a:lnTo>
                  <a:lnTo>
                    <a:pt x="152" y="114"/>
                  </a:lnTo>
                  <a:lnTo>
                    <a:pt x="158" y="114"/>
                  </a:lnTo>
                  <a:lnTo>
                    <a:pt x="158" y="114"/>
                  </a:lnTo>
                  <a:lnTo>
                    <a:pt x="164" y="113"/>
                  </a:lnTo>
                  <a:lnTo>
                    <a:pt x="174" y="109"/>
                  </a:lnTo>
                  <a:lnTo>
                    <a:pt x="196" y="96"/>
                  </a:lnTo>
                  <a:lnTo>
                    <a:pt x="257" y="57"/>
                  </a:lnTo>
                  <a:lnTo>
                    <a:pt x="291" y="36"/>
                  </a:lnTo>
                  <a:lnTo>
                    <a:pt x="310" y="27"/>
                  </a:lnTo>
                  <a:lnTo>
                    <a:pt x="328" y="18"/>
                  </a:lnTo>
                  <a:lnTo>
                    <a:pt x="345" y="11"/>
                  </a:lnTo>
                  <a:lnTo>
                    <a:pt x="362" y="6"/>
                  </a:lnTo>
                  <a:lnTo>
                    <a:pt x="379" y="2"/>
                  </a:lnTo>
                  <a:lnTo>
                    <a:pt x="394" y="1"/>
                  </a:lnTo>
                  <a:lnTo>
                    <a:pt x="394" y="1"/>
                  </a:lnTo>
                  <a:lnTo>
                    <a:pt x="408" y="0"/>
                  </a:lnTo>
                  <a:lnTo>
                    <a:pt x="410" y="15"/>
                  </a:lnTo>
                  <a:lnTo>
                    <a:pt x="352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36" name="Freeform 475"/>
            <p:cNvSpPr/>
            <p:nvPr/>
          </p:nvSpPr>
          <p:spPr bwMode="auto">
            <a:xfrm>
              <a:off x="3927475" y="3536951"/>
              <a:ext cx="206375" cy="144463"/>
            </a:xfrm>
            <a:custGeom>
              <a:avLst/>
              <a:gdLst>
                <a:gd name="T0" fmla="*/ 332 w 391"/>
                <a:gd name="T1" fmla="*/ 161 h 273"/>
                <a:gd name="T2" fmla="*/ 391 w 391"/>
                <a:gd name="T3" fmla="*/ 273 h 273"/>
                <a:gd name="T4" fmla="*/ 263 w 391"/>
                <a:gd name="T5" fmla="*/ 264 h 273"/>
                <a:gd name="T6" fmla="*/ 285 w 391"/>
                <a:gd name="T7" fmla="*/ 230 h 273"/>
                <a:gd name="T8" fmla="*/ 0 w 391"/>
                <a:gd name="T9" fmla="*/ 38 h 273"/>
                <a:gd name="T10" fmla="*/ 25 w 391"/>
                <a:gd name="T11" fmla="*/ 0 h 273"/>
                <a:gd name="T12" fmla="*/ 311 w 391"/>
                <a:gd name="T13" fmla="*/ 193 h 273"/>
                <a:gd name="T14" fmla="*/ 332 w 391"/>
                <a:gd name="T15" fmla="*/ 16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91" h="273">
                  <a:moveTo>
                    <a:pt x="332" y="161"/>
                  </a:moveTo>
                  <a:lnTo>
                    <a:pt x="391" y="273"/>
                  </a:lnTo>
                  <a:lnTo>
                    <a:pt x="263" y="264"/>
                  </a:lnTo>
                  <a:lnTo>
                    <a:pt x="285" y="230"/>
                  </a:lnTo>
                  <a:lnTo>
                    <a:pt x="0" y="38"/>
                  </a:lnTo>
                  <a:lnTo>
                    <a:pt x="25" y="0"/>
                  </a:lnTo>
                  <a:lnTo>
                    <a:pt x="311" y="193"/>
                  </a:lnTo>
                  <a:lnTo>
                    <a:pt x="332" y="16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37" name="Freeform 476"/>
            <p:cNvSpPr/>
            <p:nvPr/>
          </p:nvSpPr>
          <p:spPr bwMode="auto">
            <a:xfrm>
              <a:off x="3930650" y="3673476"/>
              <a:ext cx="174625" cy="122238"/>
            </a:xfrm>
            <a:custGeom>
              <a:avLst/>
              <a:gdLst>
                <a:gd name="T0" fmla="*/ 271 w 328"/>
                <a:gd name="T1" fmla="*/ 118 h 230"/>
                <a:gd name="T2" fmla="*/ 328 w 328"/>
                <a:gd name="T3" fmla="*/ 230 h 230"/>
                <a:gd name="T4" fmla="*/ 201 w 328"/>
                <a:gd name="T5" fmla="*/ 221 h 230"/>
                <a:gd name="T6" fmla="*/ 224 w 328"/>
                <a:gd name="T7" fmla="*/ 188 h 230"/>
                <a:gd name="T8" fmla="*/ 0 w 328"/>
                <a:gd name="T9" fmla="*/ 37 h 230"/>
                <a:gd name="T10" fmla="*/ 26 w 328"/>
                <a:gd name="T11" fmla="*/ 0 h 230"/>
                <a:gd name="T12" fmla="*/ 248 w 328"/>
                <a:gd name="T13" fmla="*/ 150 h 230"/>
                <a:gd name="T14" fmla="*/ 271 w 328"/>
                <a:gd name="T15" fmla="*/ 118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8" h="230">
                  <a:moveTo>
                    <a:pt x="271" y="118"/>
                  </a:moveTo>
                  <a:lnTo>
                    <a:pt x="328" y="230"/>
                  </a:lnTo>
                  <a:lnTo>
                    <a:pt x="201" y="221"/>
                  </a:lnTo>
                  <a:lnTo>
                    <a:pt x="224" y="188"/>
                  </a:lnTo>
                  <a:lnTo>
                    <a:pt x="0" y="37"/>
                  </a:lnTo>
                  <a:lnTo>
                    <a:pt x="26" y="0"/>
                  </a:lnTo>
                  <a:lnTo>
                    <a:pt x="248" y="150"/>
                  </a:lnTo>
                  <a:lnTo>
                    <a:pt x="271" y="1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182880" tIns="91440" rIns="182880" bIns="91440" numCol="1" anchor="t" anchorCtr="0" compatLnSpc="1"/>
            <a:lstStyle/>
            <a:p>
              <a:pPr algn="l" defTabSz="1828800" rtl="0"/>
              <a:endParaRPr lang="en-US" sz="3600" kern="1200">
                <a:solidFill>
                  <a:prstClr val="black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</p:grpSp>
      <p:grpSp>
        <p:nvGrpSpPr>
          <p:cNvPr id="138" name="Group 16"/>
          <p:cNvGrpSpPr/>
          <p:nvPr/>
        </p:nvGrpSpPr>
        <p:grpSpPr>
          <a:xfrm>
            <a:off x="5824710" y="1897295"/>
            <a:ext cx="1817693" cy="1817694"/>
            <a:chOff x="5779061" y="2238615"/>
            <a:chExt cx="1813611" cy="1813611"/>
          </a:xfrm>
        </p:grpSpPr>
        <p:sp>
          <p:nvSpPr>
            <p:cNvPr id="139" name="Freeform 12"/>
            <p:cNvSpPr/>
            <p:nvPr/>
          </p:nvSpPr>
          <p:spPr bwMode="auto">
            <a:xfrm>
              <a:off x="5779061" y="2238615"/>
              <a:ext cx="1813611" cy="1813611"/>
            </a:xfrm>
            <a:custGeom>
              <a:avLst/>
              <a:gdLst/>
              <a:ahLst/>
              <a:cxnLst>
                <a:cxn ang="0">
                  <a:pos x="425" y="369"/>
                </a:cxn>
                <a:cxn ang="0">
                  <a:pos x="425" y="371"/>
                </a:cxn>
                <a:cxn ang="0">
                  <a:pos x="317" y="408"/>
                </a:cxn>
                <a:cxn ang="0">
                  <a:pos x="113" y="424"/>
                </a:cxn>
                <a:cxn ang="0">
                  <a:pos x="57" y="425"/>
                </a:cxn>
                <a:cxn ang="0">
                  <a:pos x="1" y="424"/>
                </a:cxn>
                <a:cxn ang="0">
                  <a:pos x="0" y="368"/>
                </a:cxn>
                <a:cxn ang="0">
                  <a:pos x="1" y="312"/>
                </a:cxn>
                <a:cxn ang="0">
                  <a:pos x="17" y="108"/>
                </a:cxn>
                <a:cxn ang="0">
                  <a:pos x="55" y="0"/>
                </a:cxn>
                <a:cxn ang="0">
                  <a:pos x="57" y="0"/>
                </a:cxn>
                <a:cxn ang="0">
                  <a:pos x="59" y="0"/>
                </a:cxn>
                <a:cxn ang="0">
                  <a:pos x="317" y="108"/>
                </a:cxn>
                <a:cxn ang="0">
                  <a:pos x="425" y="365"/>
                </a:cxn>
                <a:cxn ang="0">
                  <a:pos x="425" y="368"/>
                </a:cxn>
                <a:cxn ang="0">
                  <a:pos x="425" y="369"/>
                </a:cxn>
              </a:cxnLst>
              <a:rect l="0" t="0" r="r" b="b"/>
              <a:pathLst>
                <a:path w="425" h="425">
                  <a:moveTo>
                    <a:pt x="425" y="369"/>
                  </a:moveTo>
                  <a:cubicBezTo>
                    <a:pt x="425" y="370"/>
                    <a:pt x="425" y="370"/>
                    <a:pt x="425" y="371"/>
                  </a:cubicBezTo>
                  <a:cubicBezTo>
                    <a:pt x="420" y="385"/>
                    <a:pt x="385" y="398"/>
                    <a:pt x="317" y="408"/>
                  </a:cubicBezTo>
                  <a:cubicBezTo>
                    <a:pt x="259" y="417"/>
                    <a:pt x="191" y="422"/>
                    <a:pt x="113" y="424"/>
                  </a:cubicBezTo>
                  <a:cubicBezTo>
                    <a:pt x="95" y="425"/>
                    <a:pt x="76" y="425"/>
                    <a:pt x="57" y="425"/>
                  </a:cubicBezTo>
                  <a:cubicBezTo>
                    <a:pt x="37" y="425"/>
                    <a:pt x="19" y="425"/>
                    <a:pt x="1" y="424"/>
                  </a:cubicBezTo>
                  <a:cubicBezTo>
                    <a:pt x="0" y="406"/>
                    <a:pt x="0" y="387"/>
                    <a:pt x="0" y="368"/>
                  </a:cubicBezTo>
                  <a:cubicBezTo>
                    <a:pt x="0" y="349"/>
                    <a:pt x="0" y="330"/>
                    <a:pt x="1" y="312"/>
                  </a:cubicBezTo>
                  <a:cubicBezTo>
                    <a:pt x="2" y="234"/>
                    <a:pt x="8" y="166"/>
                    <a:pt x="17" y="108"/>
                  </a:cubicBezTo>
                  <a:cubicBezTo>
                    <a:pt x="27" y="39"/>
                    <a:pt x="40" y="3"/>
                    <a:pt x="55" y="0"/>
                  </a:cubicBezTo>
                  <a:cubicBezTo>
                    <a:pt x="55" y="0"/>
                    <a:pt x="56" y="0"/>
                    <a:pt x="57" y="0"/>
                  </a:cubicBezTo>
                  <a:cubicBezTo>
                    <a:pt x="57" y="0"/>
                    <a:pt x="58" y="0"/>
                    <a:pt x="59" y="0"/>
                  </a:cubicBezTo>
                  <a:cubicBezTo>
                    <a:pt x="159" y="1"/>
                    <a:pt x="245" y="36"/>
                    <a:pt x="317" y="108"/>
                  </a:cubicBezTo>
                  <a:cubicBezTo>
                    <a:pt x="388" y="179"/>
                    <a:pt x="424" y="265"/>
                    <a:pt x="425" y="365"/>
                  </a:cubicBezTo>
                  <a:cubicBezTo>
                    <a:pt x="425" y="366"/>
                    <a:pt x="425" y="367"/>
                    <a:pt x="425" y="368"/>
                  </a:cubicBezTo>
                  <a:cubicBezTo>
                    <a:pt x="425" y="368"/>
                    <a:pt x="425" y="369"/>
                    <a:pt x="425" y="369"/>
                  </a:cubicBezTo>
                  <a:close/>
                </a:path>
              </a:pathLst>
            </a:custGeom>
            <a:solidFill>
              <a:schemeClr val="lt1">
                <a:lumMod val="100000"/>
              </a:schemeClr>
            </a:solidFill>
            <a:ln w="12700">
              <a:solidFill>
                <a:schemeClr val="lt1">
                  <a:lumMod val="75000"/>
                </a:schemeClr>
              </a:solidFill>
              <a:headEnd type="none" w="med" len="med"/>
              <a:tailEnd type="none" w="med" len="med"/>
            </a:ln>
            <a:effectLst>
              <a:outerShdw blurRad="76200" dir="18900000" sy="23000" kx="-1200000" algn="bl" rotWithShape="0">
                <a:schemeClr val="lt1">
                  <a:alpha val="20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defTabSz="1828800" rtl="0"/>
              <a:endParaRPr lang="en-US" sz="3600" kern="1200">
                <a:solidFill>
                  <a:srgbClr val="ED7D31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40" name="Rectangle 85"/>
            <p:cNvSpPr/>
            <p:nvPr>
              <p:custDataLst>
                <p:tags r:id="rId1"/>
              </p:custDataLst>
            </p:nvPr>
          </p:nvSpPr>
          <p:spPr>
            <a:xfrm>
              <a:off x="6174202" y="2706304"/>
              <a:ext cx="791908" cy="878234"/>
            </a:xfrm>
            <a:prstGeom prst="rect">
              <a:avLst/>
            </a:prstGeom>
            <a:noFill/>
            <a:ln w="63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0" tIns="0" rIns="0" bIns="0" rtlCol="0" anchor="ctr" anchorCtr="0">
              <a:noAutofit/>
            </a:bodyPr>
            <a:lstStyle/>
            <a:p>
              <a:pPr defTabSz="1828800" rtl="0"/>
              <a:r>
                <a:rPr lang="en-US" sz="5000" b="1" kern="1200" spc="-1000" dirty="0">
                  <a:solidFill>
                    <a:srgbClr val="7030A0"/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cs typeface="Open Sans Semibold" panose="020B0706030804020204" pitchFamily="34" charset="0"/>
                  <a:sym typeface="思源宋体 CN Medium" panose="02020500000000000000" pitchFamily="18" charset="-122"/>
                </a:rPr>
                <a:t>w</a:t>
              </a:r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1607795" y="1821499"/>
            <a:ext cx="2188701" cy="1507212"/>
            <a:chOff x="2676067" y="1799802"/>
            <a:chExt cx="2188701" cy="1507212"/>
          </a:xfrm>
        </p:grpSpPr>
        <p:sp>
          <p:nvSpPr>
            <p:cNvPr id="142" name="TextBox 53"/>
            <p:cNvSpPr txBox="1"/>
            <p:nvPr/>
          </p:nvSpPr>
          <p:spPr>
            <a:xfrm>
              <a:off x="2676067" y="2374451"/>
              <a:ext cx="2188701" cy="9325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43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144" name="组合 143"/>
          <p:cNvGrpSpPr/>
          <p:nvPr/>
        </p:nvGrpSpPr>
        <p:grpSpPr>
          <a:xfrm>
            <a:off x="8423921" y="1821499"/>
            <a:ext cx="2188701" cy="1507212"/>
            <a:chOff x="2676067" y="1799802"/>
            <a:chExt cx="2188701" cy="1507212"/>
          </a:xfrm>
        </p:grpSpPr>
        <p:sp>
          <p:nvSpPr>
            <p:cNvPr id="145" name="TextBox 53"/>
            <p:cNvSpPr txBox="1"/>
            <p:nvPr/>
          </p:nvSpPr>
          <p:spPr>
            <a:xfrm>
              <a:off x="2676067" y="2374451"/>
              <a:ext cx="2188701" cy="9325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46" name="TextBox 42"/>
            <p:cNvSpPr txBox="1"/>
            <p:nvPr/>
          </p:nvSpPr>
          <p:spPr>
            <a:xfrm>
              <a:off x="3224640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147" name="组合 146"/>
          <p:cNvGrpSpPr/>
          <p:nvPr/>
        </p:nvGrpSpPr>
        <p:grpSpPr>
          <a:xfrm>
            <a:off x="1607795" y="3906550"/>
            <a:ext cx="2188701" cy="1507212"/>
            <a:chOff x="2676067" y="1799802"/>
            <a:chExt cx="2188701" cy="1507212"/>
          </a:xfrm>
        </p:grpSpPr>
        <p:sp>
          <p:nvSpPr>
            <p:cNvPr id="148" name="TextBox 53"/>
            <p:cNvSpPr txBox="1"/>
            <p:nvPr/>
          </p:nvSpPr>
          <p:spPr>
            <a:xfrm>
              <a:off x="2676067" y="2374451"/>
              <a:ext cx="2188701" cy="9325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l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49" name="TextBox 42"/>
            <p:cNvSpPr txBox="1"/>
            <p:nvPr/>
          </p:nvSpPr>
          <p:spPr>
            <a:xfrm>
              <a:off x="2676067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grpSp>
        <p:nvGrpSpPr>
          <p:cNvPr id="150" name="组合 149"/>
          <p:cNvGrpSpPr/>
          <p:nvPr/>
        </p:nvGrpSpPr>
        <p:grpSpPr>
          <a:xfrm>
            <a:off x="8423921" y="3906550"/>
            <a:ext cx="2188701" cy="1507212"/>
            <a:chOff x="2676067" y="1799802"/>
            <a:chExt cx="2188701" cy="1507212"/>
          </a:xfrm>
        </p:grpSpPr>
        <p:sp>
          <p:nvSpPr>
            <p:cNvPr id="151" name="TextBox 53"/>
            <p:cNvSpPr txBox="1"/>
            <p:nvPr/>
          </p:nvSpPr>
          <p:spPr>
            <a:xfrm>
              <a:off x="2676067" y="2374451"/>
              <a:ext cx="2188701" cy="932563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 algn="just">
                <a:lnSpc>
                  <a:spcPts val="2000"/>
                </a:lnSpc>
                <a:defRPr sz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微软雅黑 Light" panose="020B0502040204020203" pitchFamily="34" charset="-122"/>
                  <a:ea typeface="微软雅黑 Light" panose="020B0502040204020203" pitchFamily="34" charset="-122"/>
                </a:defRPr>
              </a:lvl1pPr>
            </a:lstStyle>
            <a:p>
              <a:pPr algn="r">
                <a:lnSpc>
                  <a:spcPct val="150000"/>
                </a:lnSpc>
              </a:pPr>
              <a:r>
                <a:rPr lang="zh-CN" altLang="en-US" sz="1400" dirty="0">
                  <a:solidFill>
                    <a:schemeClr val="lt1">
                      <a:lumMod val="75000"/>
                      <a:lumOff val="2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点击输入简要文字内容，文字内容需概括精炼，不用多余的文字修饰</a:t>
              </a:r>
              <a:endParaRPr lang="en-US" altLang="zh-CN" sz="14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endParaRPr>
            </a:p>
          </p:txBody>
        </p:sp>
        <p:sp>
          <p:nvSpPr>
            <p:cNvPr id="152" name="TextBox 42"/>
            <p:cNvSpPr txBox="1"/>
            <p:nvPr/>
          </p:nvSpPr>
          <p:spPr>
            <a:xfrm>
              <a:off x="3224640" y="1799802"/>
              <a:ext cx="1640128" cy="36933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zh-CN"/>
              </a:defPPr>
              <a:lvl1pPr>
                <a:defRPr sz="2000" b="1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defRPr>
              </a:lvl1pPr>
            </a:lstStyle>
            <a:p>
              <a:pPr algn="r"/>
              <a:r>
                <a:rPr lang="zh-CN" altLang="en-US" sz="2400" b="0" dirty="0">
                  <a:solidFill>
                    <a:schemeClr val="lt1">
                      <a:lumMod val="85000"/>
                      <a:lumOff val="15000"/>
                    </a:schemeClr>
                  </a:solidFill>
                  <a:latin typeface="思源宋体 CN Medium" panose="02020500000000000000" pitchFamily="18" charset="-122"/>
                  <a:ea typeface="思源宋体 CN Medium" panose="02020500000000000000" pitchFamily="18" charset="-122"/>
                  <a:sym typeface="思源宋体 CN Medium" panose="02020500000000000000" pitchFamily="18" charset="-122"/>
                </a:rPr>
                <a:t>添加标题</a:t>
              </a:r>
            </a:p>
          </p:txBody>
        </p:sp>
      </p:grpSp>
      <p:sp>
        <p:nvSpPr>
          <p:cNvPr id="153" name="文本框 152"/>
          <p:cNvSpPr txBox="1"/>
          <p:nvPr/>
        </p:nvSpPr>
        <p:spPr>
          <a:xfrm>
            <a:off x="862613" y="238968"/>
            <a:ext cx="1780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/>
            <a:r>
              <a:rPr lang="zh-CN" altLang="en-US" sz="28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工作概述</a:t>
            </a:r>
          </a:p>
        </p:txBody>
      </p:sp>
      <p:sp>
        <p:nvSpPr>
          <p:cNvPr id="154" name="文本框 153"/>
          <p:cNvSpPr txBox="1"/>
          <p:nvPr/>
        </p:nvSpPr>
        <p:spPr>
          <a:xfrm>
            <a:off x="2619249" y="445145"/>
            <a:ext cx="178012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dist">
              <a:spcBef>
                <a:spcPct val="0"/>
              </a:spcBef>
            </a:pPr>
            <a:r>
              <a:rPr lang="en-US" altLang="zh-CN" sz="1100" dirty="0">
                <a:solidFill>
                  <a:schemeClr val="lt1">
                    <a:lumMod val="75000"/>
                    <a:lumOff val="2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OVERVIEW OF WORK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conveyor dir="l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52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9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53" presetClass="entr" presetSubtype="528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53" presetClass="entr" presetSubtype="528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53" presetClass="entr" presetSubtype="528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1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500"/>
                            </p:stCondLst>
                            <p:childTnLst>
                              <p:par>
                                <p:cTn id="3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6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4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7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64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1500"/>
                            </p:stCondLst>
                            <p:childTnLst>
                              <p:par>
                                <p:cTn id="68" presetID="14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5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3" dur="500"/>
                                        <p:tgtEl>
                                          <p:spTgt spid="1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6" dur="500"/>
                                        <p:tgtEl>
                                          <p:spTgt spid="1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9" dur="500"/>
                                        <p:tgtEl>
                                          <p:spTgt spid="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图片 16" descr="white Android smartphone near black smartpho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331" y="0"/>
            <a:ext cx="7068669" cy="6858000"/>
          </a:xfrm>
          <a:custGeom>
            <a:avLst/>
            <a:gdLst>
              <a:gd name="connsiteX0" fmla="*/ 0 w 5301502"/>
              <a:gd name="connsiteY0" fmla="*/ 0 h 5143500"/>
              <a:gd name="connsiteX1" fmla="*/ 5301502 w 5301502"/>
              <a:gd name="connsiteY1" fmla="*/ 0 h 5143500"/>
              <a:gd name="connsiteX2" fmla="*/ 5301502 w 5301502"/>
              <a:gd name="connsiteY2" fmla="*/ 5143500 h 5143500"/>
              <a:gd name="connsiteX3" fmla="*/ 1510794 w 5301502"/>
              <a:gd name="connsiteY3" fmla="*/ 5143500 h 5143500"/>
              <a:gd name="connsiteX4" fmla="*/ 1557348 w 5301502"/>
              <a:gd name="connsiteY4" fmla="*/ 4941791 h 5143500"/>
              <a:gd name="connsiteX5" fmla="*/ 1665606 w 5301502"/>
              <a:gd name="connsiteY5" fmla="*/ 3867894 h 5143500"/>
              <a:gd name="connsiteX6" fmla="*/ 104898 w 5301502"/>
              <a:gd name="connsiteY6" fmla="*/ 100011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301502" h="5143500">
                <a:moveTo>
                  <a:pt x="0" y="0"/>
                </a:moveTo>
                <a:lnTo>
                  <a:pt x="5301502" y="0"/>
                </a:lnTo>
                <a:lnTo>
                  <a:pt x="5301502" y="5143500"/>
                </a:lnTo>
                <a:lnTo>
                  <a:pt x="1510794" y="5143500"/>
                </a:lnTo>
                <a:lnTo>
                  <a:pt x="1557348" y="4941791"/>
                </a:lnTo>
                <a:cubicBezTo>
                  <a:pt x="1628330" y="4594913"/>
                  <a:pt x="1665606" y="4235757"/>
                  <a:pt x="1665606" y="3867894"/>
                </a:cubicBezTo>
                <a:cubicBezTo>
                  <a:pt x="1665606" y="2396444"/>
                  <a:pt x="1069183" y="1064296"/>
                  <a:pt x="104898" y="100011"/>
                </a:cubicBez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图形 8"/>
          <p:cNvSpPr/>
          <p:nvPr/>
        </p:nvSpPr>
        <p:spPr>
          <a:xfrm>
            <a:off x="10417472" y="0"/>
            <a:ext cx="1774528" cy="1267520"/>
          </a:xfrm>
          <a:custGeom>
            <a:avLst/>
            <a:gdLst>
              <a:gd name="connsiteX0" fmla="*/ 7144 w 5867400"/>
              <a:gd name="connsiteY0" fmla="*/ 7144 h 4191000"/>
              <a:gd name="connsiteX1" fmla="*/ 2483644 w 5867400"/>
              <a:gd name="connsiteY1" fmla="*/ 1731169 h 4191000"/>
              <a:gd name="connsiteX2" fmla="*/ 5865019 w 5867400"/>
              <a:gd name="connsiteY2" fmla="*/ 4188619 h 4191000"/>
              <a:gd name="connsiteX3" fmla="*/ 5865019 w 5867400"/>
              <a:gd name="connsiteY3" fmla="*/ 7144 h 4191000"/>
              <a:gd name="connsiteX4" fmla="*/ 7144 w 5867400"/>
              <a:gd name="connsiteY4" fmla="*/ 7144 h 4191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867400" h="4191000">
                <a:moveTo>
                  <a:pt x="7144" y="7144"/>
                </a:moveTo>
                <a:cubicBezTo>
                  <a:pt x="7144" y="7144"/>
                  <a:pt x="7144" y="931069"/>
                  <a:pt x="2483644" y="1731169"/>
                </a:cubicBezTo>
                <a:cubicBezTo>
                  <a:pt x="2483644" y="1731169"/>
                  <a:pt x="4998244" y="2378869"/>
                  <a:pt x="5865019" y="4188619"/>
                </a:cubicBezTo>
                <a:lnTo>
                  <a:pt x="5865019" y="7144"/>
                </a:lnTo>
                <a:lnTo>
                  <a:pt x="7144" y="7144"/>
                </a:lnTo>
                <a:close/>
              </a:path>
            </a:pathLst>
          </a:custGeom>
          <a:solidFill>
            <a:schemeClr val="lt1">
              <a:lumMod val="100000"/>
            </a:schemeClr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zh-CN" altLang="en-US" sz="2400" dirty="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4" name="文本框 13"/>
          <p:cNvSpPr txBox="1"/>
          <p:nvPr/>
        </p:nvSpPr>
        <p:spPr>
          <a:xfrm>
            <a:off x="857633" y="964042"/>
            <a:ext cx="1744388" cy="132343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8000" b="1" dirty="0">
                <a:solidFill>
                  <a:schemeClr val="lt1">
                    <a:lumMod val="100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02.</a:t>
            </a:r>
            <a:endParaRPr lang="zh-CN" altLang="en-US" sz="8000" b="1" dirty="0">
              <a:solidFill>
                <a:schemeClr val="lt1">
                  <a:lumMod val="100000"/>
                </a:schemeClr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19" name="文本框 18"/>
          <p:cNvSpPr txBox="1"/>
          <p:nvPr/>
        </p:nvSpPr>
        <p:spPr>
          <a:xfrm>
            <a:off x="857634" y="2032972"/>
            <a:ext cx="4568430" cy="107721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6400" dirty="0">
                <a:solidFill>
                  <a:schemeClr val="bg1"/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PART TWO</a:t>
            </a:r>
            <a:endParaRPr lang="zh-CN" altLang="en-US" sz="6400" dirty="0">
              <a:solidFill>
                <a:schemeClr val="bg1"/>
              </a:solidFill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  <p:sp>
        <p:nvSpPr>
          <p:cNvPr id="20" name="矩形 19"/>
          <p:cNvSpPr/>
          <p:nvPr/>
        </p:nvSpPr>
        <p:spPr>
          <a:xfrm>
            <a:off x="857633" y="4485117"/>
            <a:ext cx="5333617" cy="7875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chemeClr val="lt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单击此处添加文字阐述，添加简短问题说明文字，具体添加文字在此处添加单击</a:t>
            </a:r>
          </a:p>
        </p:txBody>
      </p:sp>
      <p:sp>
        <p:nvSpPr>
          <p:cNvPr id="21" name="TextBox 7"/>
          <p:cNvSpPr txBox="1"/>
          <p:nvPr/>
        </p:nvSpPr>
        <p:spPr>
          <a:xfrm>
            <a:off x="1005094" y="3705418"/>
            <a:ext cx="1906057" cy="564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3070" dirty="0">
                <a:solidFill>
                  <a:schemeClr val="lt1">
                    <a:lumMod val="85000"/>
                    <a:lumOff val="15000"/>
                  </a:schemeClr>
                </a:solidFill>
                <a:latin typeface="思源宋体 CN Medium" panose="02020500000000000000" pitchFamily="18" charset="-122"/>
                <a:ea typeface="思源宋体 CN Medium" panose="02020500000000000000" pitchFamily="18" charset="-122"/>
                <a:sym typeface="思源宋体 CN Medium" panose="02020500000000000000" pitchFamily="18" charset="-122"/>
              </a:rPr>
              <a:t>完成情况</a:t>
            </a:r>
          </a:p>
        </p:txBody>
      </p:sp>
      <p:sp>
        <p:nvSpPr>
          <p:cNvPr id="16" name="矩形 15"/>
          <p:cNvSpPr/>
          <p:nvPr/>
        </p:nvSpPr>
        <p:spPr>
          <a:xfrm>
            <a:off x="1005094" y="3609406"/>
            <a:ext cx="1654540" cy="96012"/>
          </a:xfrm>
          <a:prstGeom prst="rect">
            <a:avLst/>
          </a:prstGeom>
          <a:solidFill>
            <a:schemeClr val="lt1">
              <a:lumMod val="10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latin typeface="思源宋体 CN Medium" panose="02020500000000000000" pitchFamily="18" charset="-122"/>
              <a:ea typeface="思源宋体 CN Medium" panose="02020500000000000000" pitchFamily="18" charset="-122"/>
              <a:sym typeface="思源宋体 CN Medium" panose="02020500000000000000" pitchFamily="18" charset="-122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600" advClick="0" advTm="0">
        <p14:prism isContent="1" isInverted="1"/>
      </p:transition>
    </mc:Choice>
    <mc:Fallback xmlns="">
      <p:transition spd="slow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18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1" dur="75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5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24" dur="75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500"/>
                            </p:stCondLst>
                            <p:childTnLst>
                              <p:par>
                                <p:cTn id="26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9" grpId="0"/>
      <p:bldP spid="20" grpId="0"/>
      <p:bldP spid="21" grpId="0"/>
      <p:bldP spid="16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IDE.GUIDESSETTING" val="{&quot;Id&quot;:null,&quot;Name&quot;:&quot;无&quot;,&quot;HeaderHeight&quot;:0.0,&quot;FooterHeight&quot;:0.0,&quot;SideMargin&quot;:0.0,&quot;TopMargin&quot;:0.0,&quot;BottomMargin&quot;:0.0,&quot;IntervalMargin&quot;:0.0,&quot;SettingType&quot;:&quot;System&quot;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_L0l0C6gUmpYmek4kB0oA"/>
</p:tagLst>
</file>

<file path=ppt/theme/theme1.xml><?xml version="1.0" encoding="utf-8"?>
<a:theme xmlns:a="http://schemas.openxmlformats.org/drawingml/2006/main" name="办公资源网: www.bangongziyuan.com">
  <a:themeElements>
    <a:clrScheme name="灰度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 主题​​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主题​​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377</Words>
  <Application>Microsoft Office PowerPoint</Application>
  <PresentationFormat>宽屏</PresentationFormat>
  <Paragraphs>226</Paragraphs>
  <Slides>25</Slides>
  <Notes>23</Notes>
  <HiddenSlides>0</HiddenSlides>
  <MMClips>0</MMClips>
  <ScaleCrop>false</ScaleCrop>
  <HeadingPairs>
    <vt:vector size="6" baseType="variant">
      <vt:variant>
        <vt:lpstr>已用的字体</vt:lpstr>
      </vt:variant>
      <vt:variant>
        <vt:i4>2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25</vt:i4>
      </vt:variant>
    </vt:vector>
  </HeadingPairs>
  <TitlesOfParts>
    <vt:vector size="28" baseType="lpstr">
      <vt:lpstr>思源宋体 CN Medium</vt:lpstr>
      <vt:lpstr>Arial</vt:lpstr>
      <vt:lpstr>办公资源网: www.bangongziyuan.com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Manager>办公资源</Manager>
  <Company>办公资源网:www.bangongziyuan.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办公资源网</dc:creator>
  <cp:keywords>www.bangongziyuan.com</cp:keywords>
  <cp:lastModifiedBy>天 下</cp:lastModifiedBy>
  <cp:revision>72</cp:revision>
  <dcterms:created xsi:type="dcterms:W3CDTF">2019-07-12T07:49:00Z</dcterms:created>
  <dcterms:modified xsi:type="dcterms:W3CDTF">2021-01-06T03:16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1.1.0.9022</vt:lpwstr>
  </property>
</Properties>
</file>